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626" r:id="rId2"/>
    <p:sldId id="726" r:id="rId3"/>
    <p:sldId id="759" r:id="rId4"/>
    <p:sldId id="760" r:id="rId5"/>
    <p:sldId id="757" r:id="rId6"/>
    <p:sldId id="758" r:id="rId7"/>
    <p:sldId id="752" r:id="rId8"/>
    <p:sldId id="761" r:id="rId9"/>
    <p:sldId id="762" r:id="rId10"/>
    <p:sldId id="816" r:id="rId11"/>
    <p:sldId id="766" r:id="rId12"/>
    <p:sldId id="769" r:id="rId13"/>
    <p:sldId id="765" r:id="rId14"/>
    <p:sldId id="770" r:id="rId15"/>
    <p:sldId id="817" r:id="rId16"/>
    <p:sldId id="767" r:id="rId17"/>
    <p:sldId id="763" r:id="rId18"/>
    <p:sldId id="771" r:id="rId19"/>
    <p:sldId id="680" r:id="rId20"/>
    <p:sldId id="734" r:id="rId21"/>
    <p:sldId id="681" r:id="rId22"/>
    <p:sldId id="682" r:id="rId23"/>
    <p:sldId id="772" r:id="rId24"/>
    <p:sldId id="683" r:id="rId25"/>
    <p:sldId id="732" r:id="rId26"/>
    <p:sldId id="793" r:id="rId27"/>
    <p:sldId id="753" r:id="rId28"/>
    <p:sldId id="815" r:id="rId29"/>
  </p:sldIdLst>
  <p:sldSz cx="9144000" cy="6858000" type="screen4x3"/>
  <p:notesSz cx="6797675" cy="9926638"/>
  <p:custDataLst>
    <p:tags r:id="rId3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FF10FAB7-0AC4-4392-9F59-6B6EF52F191C}">
          <p14:sldIdLst>
            <p14:sldId id="626"/>
            <p14:sldId id="726"/>
            <p14:sldId id="759"/>
            <p14:sldId id="760"/>
            <p14:sldId id="757"/>
            <p14:sldId id="758"/>
            <p14:sldId id="752"/>
            <p14:sldId id="761"/>
            <p14:sldId id="762"/>
            <p14:sldId id="816"/>
            <p14:sldId id="766"/>
            <p14:sldId id="769"/>
            <p14:sldId id="765"/>
            <p14:sldId id="770"/>
            <p14:sldId id="817"/>
            <p14:sldId id="767"/>
            <p14:sldId id="763"/>
            <p14:sldId id="771"/>
            <p14:sldId id="680"/>
            <p14:sldId id="734"/>
            <p14:sldId id="681"/>
            <p14:sldId id="682"/>
            <p14:sldId id="772"/>
            <p14:sldId id="683"/>
            <p14:sldId id="732"/>
            <p14:sldId id="793"/>
            <p14:sldId id="753"/>
            <p14:sldId id="81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963">
          <p15:clr>
            <a:srgbClr val="A4A3A4"/>
          </p15:clr>
        </p15:guide>
        <p15:guide id="2" orient="horz" pos="3893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3654">
          <p15:clr>
            <a:srgbClr val="A4A3A4"/>
          </p15:clr>
        </p15:guide>
        <p15:guide id="5" orient="horz" pos="2978">
          <p15:clr>
            <a:srgbClr val="A4A3A4"/>
          </p15:clr>
        </p15:guide>
        <p15:guide id="6" pos="295">
          <p15:clr>
            <a:srgbClr val="A4A3A4"/>
          </p15:clr>
        </p15:guide>
        <p15:guide id="7" pos="5462">
          <p15:clr>
            <a:srgbClr val="A4A3A4"/>
          </p15:clr>
        </p15:guide>
        <p15:guide id="8" pos="5076">
          <p15:clr>
            <a:srgbClr val="A4A3A4"/>
          </p15:clr>
        </p15:guide>
        <p15:guide id="9" pos="5753">
          <p15:clr>
            <a:srgbClr val="A4A3A4"/>
          </p15:clr>
        </p15:guide>
        <p15:guide id="10" pos="363">
          <p15:clr>
            <a:srgbClr val="A4A3A4"/>
          </p15:clr>
        </p15:guide>
        <p15:guide id="11" pos="923">
          <p15:clr>
            <a:srgbClr val="A4A3A4"/>
          </p15:clr>
        </p15:guide>
        <p15:guide id="12" pos="1323">
          <p15:clr>
            <a:srgbClr val="A4A3A4"/>
          </p15:clr>
        </p15:guide>
        <p15:guide id="13" pos="1687">
          <p15:clr>
            <a:srgbClr val="A4A3A4"/>
          </p15:clr>
        </p15:guide>
        <p15:guide id="14" pos="2687">
          <p15:clr>
            <a:srgbClr val="A4A3A4"/>
          </p15:clr>
        </p15:guide>
        <p15:guide id="15" pos="3467">
          <p15:clr>
            <a:srgbClr val="A4A3A4"/>
          </p15:clr>
        </p15:guide>
        <p15:guide id="16" pos="4395">
          <p15:clr>
            <a:srgbClr val="A4A3A4"/>
          </p15:clr>
        </p15:guide>
        <p15:guide id="17" pos="539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iderbeck, Ute" initials="BB" lastIdx="10" clrIdx="0"/>
  <p:cmAuthor id="1" name="Mgbor, Kelly" initials="MK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33"/>
    <a:srgbClr val="CE0033"/>
    <a:srgbClr val="515D69"/>
    <a:srgbClr val="777777"/>
    <a:srgbClr val="82909E"/>
    <a:srgbClr val="4D1E62"/>
    <a:srgbClr val="DADFE3"/>
    <a:srgbClr val="00698E"/>
    <a:srgbClr val="A4AEB8"/>
    <a:srgbClr val="C4CB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8" autoAdjust="0"/>
    <p:restoredTop sz="96797" autoAdjust="0"/>
  </p:normalViewPr>
  <p:slideViewPr>
    <p:cSldViewPr snapToGrid="0" showGuides="1">
      <p:cViewPr>
        <p:scale>
          <a:sx n="91" d="100"/>
          <a:sy n="91" d="100"/>
        </p:scale>
        <p:origin x="-1301" y="-58"/>
      </p:cViewPr>
      <p:guideLst>
        <p:guide orient="horz" pos="963"/>
        <p:guide orient="horz" pos="3893"/>
        <p:guide orient="horz" pos="255"/>
        <p:guide orient="horz" pos="3654"/>
        <p:guide orient="horz" pos="2978"/>
        <p:guide pos="295"/>
        <p:guide pos="5462"/>
        <p:guide pos="5076"/>
        <p:guide pos="5753"/>
        <p:guide pos="363"/>
        <p:guide pos="923"/>
        <p:guide pos="1323"/>
        <p:guide pos="1687"/>
        <p:guide pos="2687"/>
        <p:guide pos="3467"/>
        <p:guide pos="4395"/>
        <p:guide pos="53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782"/>
    </p:cViewPr>
  </p:sorterViewPr>
  <p:notesViewPr>
    <p:cSldViewPr snapToGrid="0" showGuides="1">
      <p:cViewPr>
        <p:scale>
          <a:sx n="90" d="100"/>
          <a:sy n="90" d="100"/>
        </p:scale>
        <p:origin x="-2558" y="1685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1098" y="0"/>
            <a:ext cx="294495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30A9425-FDD3-46C5-8B2F-4868B91F750E}" type="datetimeFigureOut">
              <a:rPr lang="en-GB" smtClean="0"/>
              <a:pPr>
                <a:defRPr/>
              </a:pPr>
              <a:t>16/0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606" y="4714877"/>
            <a:ext cx="5438464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4495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1098" y="9428164"/>
            <a:ext cx="294495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1ACBAB5-002F-416B-B072-5C2A5DA9CE3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07024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7050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r-Latn-RS" sz="1000" dirty="0" smtClean="0">
                <a:solidFill>
                  <a:prstClr val="black"/>
                </a:solidFill>
              </a:rPr>
              <a:t>-Osnovni cilj akcije: sprečavanje </a:t>
            </a:r>
            <a:r>
              <a:rPr lang="sr-Latn-RS" sz="1000" dirty="0">
                <a:solidFill>
                  <a:prstClr val="black"/>
                </a:solidFill>
              </a:rPr>
              <a:t>prekomernog umanjenja poreske osnovice putem </a:t>
            </a:r>
            <a:r>
              <a:rPr lang="sr-Latn-RS" sz="1000" dirty="0" smtClean="0">
                <a:solidFill>
                  <a:prstClr val="black"/>
                </a:solidFill>
              </a:rPr>
              <a:t>duga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Kako ograničiti?: Ideja </a:t>
            </a:r>
            <a:r>
              <a:rPr lang="sr-Latn-RS" sz="1000" dirty="0">
                <a:solidFill>
                  <a:prstClr val="black"/>
                </a:solidFill>
              </a:rPr>
              <a:t>ove akcije je da se rashodi kamata priznaju do određene procentualne vrednosti u EBITDA, a da se ostatak ne priznaje, ali da se može iskoristiti u narednom poreskom periodu. </a:t>
            </a:r>
            <a:r>
              <a:rPr lang="sr-Latn-RS" sz="1000" dirty="0" smtClean="0">
                <a:solidFill>
                  <a:prstClr val="black"/>
                </a:solidFill>
              </a:rPr>
              <a:t>Ovo pravilo je primarno namenjeno za multinacionalne grupacije, ali BEPS regulativa preporučuje primenu i za domaće grupacije i lokalne nezavisne kompanije.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U </a:t>
            </a:r>
            <a:r>
              <a:rPr lang="sr-Latn-RS" sz="1000" dirty="0">
                <a:solidFill>
                  <a:prstClr val="black"/>
                </a:solidFill>
              </a:rPr>
              <a:t>rashode kamata se uključuju: 1) rashodi kamata po osnovu duga i od povezanih i od nepovezanih lica 2) prateći troškovi finansiranja putem kredita 3) finansijska plaćanja koja predstavljaju kamatu po svom ekonomskom </a:t>
            </a:r>
            <a:r>
              <a:rPr lang="sr-Latn-RS" sz="1000" dirty="0" smtClean="0">
                <a:solidFill>
                  <a:prstClr val="black"/>
                </a:solidFill>
              </a:rPr>
              <a:t>karakteru</a:t>
            </a:r>
          </a:p>
          <a:p>
            <a:pPr marL="171450" lvl="0" indent="-171450">
              <a:buFontTx/>
              <a:buChar char="-"/>
            </a:pPr>
            <a:r>
              <a:rPr lang="sr-Latn-RS" sz="1000" dirty="0" smtClean="0">
                <a:solidFill>
                  <a:prstClr val="black"/>
                </a:solidFill>
              </a:rPr>
              <a:t>Da li postoje izuzeci?: Da. Predviđaju se izuzeci za finansijski sektor (planira se naknadno uvođenje nove regulative) i finansiranje projekata od javnog značaja (kreditiranje u ovom slučaju definitivno nije primarno motivisano umanjenjem poreske osnovice)</a:t>
            </a:r>
            <a:endParaRPr lang="sr-Latn-RS" sz="1000" dirty="0">
              <a:solidFill>
                <a:prstClr val="black"/>
              </a:solidFill>
            </a:endParaRP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ACBAB5-002F-416B-B072-5C2A5DA9CE3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9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74967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8" descr="primaerlogo-wts-rgb-rot.png"/>
          <p:cNvPicPr>
            <a:picLocks noChangeAspect="1"/>
          </p:cNvPicPr>
          <p:nvPr userDrawn="1"/>
        </p:nvPicPr>
        <p:blipFill rotWithShape="1">
          <a:blip r:embed="rId7" cstate="print"/>
          <a:srcRect r="59127"/>
          <a:stretch/>
        </p:blipFill>
        <p:spPr bwMode="gray">
          <a:xfrm>
            <a:off x="439738" y="514350"/>
            <a:ext cx="112641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712" y="606425"/>
            <a:ext cx="1857375" cy="2216150"/>
          </a:xfrm>
          <a:prstGeom prst="rect">
            <a:avLst/>
          </a:prstGeom>
        </p:spPr>
      </p:pic>
      <p:sp>
        <p:nvSpPr>
          <p:cNvPr id="7" name="Freeform 50"/>
          <p:cNvSpPr>
            <a:spLocks/>
          </p:cNvSpPr>
          <p:nvPr userDrawn="1"/>
        </p:nvSpPr>
        <p:spPr bwMode="auto">
          <a:xfrm>
            <a:off x="-6673269" y="2604674"/>
            <a:ext cx="13334479" cy="3384550"/>
          </a:xfrm>
          <a:custGeom>
            <a:avLst/>
            <a:gdLst>
              <a:gd name="T0" fmla="*/ 2457 w 5760"/>
              <a:gd name="T1" fmla="*/ 1278 h 1462"/>
              <a:gd name="T2" fmla="*/ 2601 w 5760"/>
              <a:gd name="T3" fmla="*/ 1266 h 1462"/>
              <a:gd name="T4" fmla="*/ 2656 w 5760"/>
              <a:gd name="T5" fmla="*/ 1257 h 1462"/>
              <a:gd name="T6" fmla="*/ 2732 w 5760"/>
              <a:gd name="T7" fmla="*/ 1252 h 1462"/>
              <a:gd name="T8" fmla="*/ 3014 w 5760"/>
              <a:gd name="T9" fmla="*/ 1222 h 1462"/>
              <a:gd name="T10" fmla="*/ 3175 w 5760"/>
              <a:gd name="T11" fmla="*/ 1204 h 1462"/>
              <a:gd name="T12" fmla="*/ 3282 w 5760"/>
              <a:gd name="T13" fmla="*/ 1193 h 1462"/>
              <a:gd name="T14" fmla="*/ 3479 w 5760"/>
              <a:gd name="T15" fmla="*/ 1172 h 1462"/>
              <a:gd name="T16" fmla="*/ 3533 w 5760"/>
              <a:gd name="T17" fmla="*/ 1168 h 1462"/>
              <a:gd name="T18" fmla="*/ 3653 w 5760"/>
              <a:gd name="T19" fmla="*/ 1154 h 1462"/>
              <a:gd name="T20" fmla="*/ 3945 w 5760"/>
              <a:gd name="T21" fmla="*/ 1118 h 1462"/>
              <a:gd name="T22" fmla="*/ 4049 w 5760"/>
              <a:gd name="T23" fmla="*/ 1098 h 1462"/>
              <a:gd name="T24" fmla="*/ 4198 w 5760"/>
              <a:gd name="T25" fmla="*/ 1065 h 1462"/>
              <a:gd name="T26" fmla="*/ 4336 w 5760"/>
              <a:gd name="T27" fmla="*/ 1033 h 1462"/>
              <a:gd name="T28" fmla="*/ 4401 w 5760"/>
              <a:gd name="T29" fmla="*/ 1013 h 1462"/>
              <a:gd name="T30" fmla="*/ 4726 w 5760"/>
              <a:gd name="T31" fmla="*/ 877 h 1462"/>
              <a:gd name="T32" fmla="*/ 4872 w 5760"/>
              <a:gd name="T33" fmla="*/ 799 h 1462"/>
              <a:gd name="T34" fmla="*/ 4913 w 5760"/>
              <a:gd name="T35" fmla="*/ 770 h 1462"/>
              <a:gd name="T36" fmla="*/ 5019 w 5760"/>
              <a:gd name="T37" fmla="*/ 696 h 1462"/>
              <a:gd name="T38" fmla="*/ 5127 w 5760"/>
              <a:gd name="T39" fmla="*/ 618 h 1462"/>
              <a:gd name="T40" fmla="*/ 5168 w 5760"/>
              <a:gd name="T41" fmla="*/ 583 h 1462"/>
              <a:gd name="T42" fmla="*/ 5335 w 5760"/>
              <a:gd name="T43" fmla="*/ 439 h 1462"/>
              <a:gd name="T44" fmla="*/ 5462 w 5760"/>
              <a:gd name="T45" fmla="*/ 320 h 1462"/>
              <a:gd name="T46" fmla="*/ 5570 w 5760"/>
              <a:gd name="T47" fmla="*/ 207 h 1462"/>
              <a:gd name="T48" fmla="*/ 5625 w 5760"/>
              <a:gd name="T49" fmla="*/ 145 h 1462"/>
              <a:gd name="T50" fmla="*/ 5508 w 5760"/>
              <a:gd name="T51" fmla="*/ 264 h 1462"/>
              <a:gd name="T52" fmla="*/ 5676 w 5760"/>
              <a:gd name="T53" fmla="*/ 95 h 1462"/>
              <a:gd name="T54" fmla="*/ 5720 w 5760"/>
              <a:gd name="T55" fmla="*/ 41 h 1462"/>
              <a:gd name="T56" fmla="*/ 5708 w 5760"/>
              <a:gd name="T57" fmla="*/ 51 h 1462"/>
              <a:gd name="T58" fmla="*/ 5657 w 5760"/>
              <a:gd name="T59" fmla="*/ 99 h 1462"/>
              <a:gd name="T60" fmla="*/ 5555 w 5760"/>
              <a:gd name="T61" fmla="*/ 208 h 1462"/>
              <a:gd name="T62" fmla="*/ 5501 w 5760"/>
              <a:gd name="T63" fmla="*/ 264 h 1462"/>
              <a:gd name="T64" fmla="*/ 5269 w 5760"/>
              <a:gd name="T65" fmla="*/ 487 h 1462"/>
              <a:gd name="T66" fmla="*/ 5314 w 5760"/>
              <a:gd name="T67" fmla="*/ 442 h 1462"/>
              <a:gd name="T68" fmla="*/ 5204 w 5760"/>
              <a:gd name="T69" fmla="*/ 540 h 1462"/>
              <a:gd name="T70" fmla="*/ 5138 w 5760"/>
              <a:gd name="T71" fmla="*/ 588 h 1462"/>
              <a:gd name="T72" fmla="*/ 4907 w 5760"/>
              <a:gd name="T73" fmla="*/ 760 h 1462"/>
              <a:gd name="T74" fmla="*/ 4751 w 5760"/>
              <a:gd name="T75" fmla="*/ 849 h 1462"/>
              <a:gd name="T76" fmla="*/ 4599 w 5760"/>
              <a:gd name="T77" fmla="*/ 920 h 1462"/>
              <a:gd name="T78" fmla="*/ 4318 w 5760"/>
              <a:gd name="T79" fmla="*/ 1019 h 1462"/>
              <a:gd name="T80" fmla="*/ 4283 w 5760"/>
              <a:gd name="T81" fmla="*/ 1031 h 1462"/>
              <a:gd name="T82" fmla="*/ 4180 w 5760"/>
              <a:gd name="T83" fmla="*/ 1059 h 1462"/>
              <a:gd name="T84" fmla="*/ 4053 w 5760"/>
              <a:gd name="T85" fmla="*/ 1080 h 1462"/>
              <a:gd name="T86" fmla="*/ 3512 w 5760"/>
              <a:gd name="T87" fmla="*/ 1151 h 1462"/>
              <a:gd name="T88" fmla="*/ 2844 w 5760"/>
              <a:gd name="T89" fmla="*/ 1224 h 1462"/>
              <a:gd name="T90" fmla="*/ 2655 w 5760"/>
              <a:gd name="T91" fmla="*/ 1239 h 1462"/>
              <a:gd name="T92" fmla="*/ 2159 w 5760"/>
              <a:gd name="T93" fmla="*/ 1288 h 1462"/>
              <a:gd name="T94" fmla="*/ 1983 w 5760"/>
              <a:gd name="T95" fmla="*/ 1305 h 1462"/>
              <a:gd name="T96" fmla="*/ 1693 w 5760"/>
              <a:gd name="T97" fmla="*/ 1331 h 1462"/>
              <a:gd name="T98" fmla="*/ 889 w 5760"/>
              <a:gd name="T99" fmla="*/ 1403 h 1462"/>
              <a:gd name="T100" fmla="*/ 372 w 5760"/>
              <a:gd name="T101" fmla="*/ 1442 h 1462"/>
              <a:gd name="T102" fmla="*/ 26 w 5760"/>
              <a:gd name="T103" fmla="*/ 1456 h 1462"/>
              <a:gd name="T104" fmla="*/ 148 w 5760"/>
              <a:gd name="T105" fmla="*/ 1461 h 1462"/>
              <a:gd name="T106" fmla="*/ 346 w 5760"/>
              <a:gd name="T107" fmla="*/ 1451 h 1462"/>
              <a:gd name="T108" fmla="*/ 525 w 5760"/>
              <a:gd name="T109" fmla="*/ 1442 h 1462"/>
              <a:gd name="T110" fmla="*/ 733 w 5760"/>
              <a:gd name="T111" fmla="*/ 1427 h 1462"/>
              <a:gd name="T112" fmla="*/ 1009 w 5760"/>
              <a:gd name="T113" fmla="*/ 1410 h 1462"/>
              <a:gd name="T114" fmla="*/ 1146 w 5760"/>
              <a:gd name="T115" fmla="*/ 1399 h 1462"/>
              <a:gd name="T116" fmla="*/ 1338 w 5760"/>
              <a:gd name="T117" fmla="*/ 1383 h 1462"/>
              <a:gd name="T118" fmla="*/ 1575 w 5760"/>
              <a:gd name="T119" fmla="*/ 1358 h 1462"/>
              <a:gd name="T120" fmla="*/ 1812 w 5760"/>
              <a:gd name="T121" fmla="*/ 1341 h 1462"/>
              <a:gd name="T122" fmla="*/ 2162 w 5760"/>
              <a:gd name="T123" fmla="*/ 1303 h 1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60" h="1462">
                <a:moveTo>
                  <a:pt x="2242" y="1298"/>
                </a:moveTo>
                <a:lnTo>
                  <a:pt x="2242" y="1298"/>
                </a:lnTo>
                <a:lnTo>
                  <a:pt x="2224" y="1300"/>
                </a:lnTo>
                <a:lnTo>
                  <a:pt x="2230" y="1300"/>
                </a:lnTo>
                <a:lnTo>
                  <a:pt x="2241" y="1300"/>
                </a:lnTo>
                <a:lnTo>
                  <a:pt x="2245" y="1300"/>
                </a:lnTo>
                <a:lnTo>
                  <a:pt x="2245" y="1300"/>
                </a:lnTo>
                <a:lnTo>
                  <a:pt x="2267" y="1298"/>
                </a:lnTo>
                <a:lnTo>
                  <a:pt x="2274" y="1298"/>
                </a:lnTo>
                <a:lnTo>
                  <a:pt x="2272" y="1296"/>
                </a:lnTo>
                <a:lnTo>
                  <a:pt x="2272" y="1296"/>
                </a:lnTo>
                <a:lnTo>
                  <a:pt x="2294" y="1295"/>
                </a:lnTo>
                <a:lnTo>
                  <a:pt x="2320" y="1292"/>
                </a:lnTo>
                <a:lnTo>
                  <a:pt x="2348" y="1289"/>
                </a:lnTo>
                <a:lnTo>
                  <a:pt x="2372" y="1288"/>
                </a:lnTo>
                <a:lnTo>
                  <a:pt x="2372" y="1288"/>
                </a:lnTo>
                <a:lnTo>
                  <a:pt x="2366" y="1288"/>
                </a:lnTo>
                <a:lnTo>
                  <a:pt x="2375" y="1286"/>
                </a:lnTo>
                <a:lnTo>
                  <a:pt x="2375" y="1286"/>
                </a:lnTo>
                <a:lnTo>
                  <a:pt x="2400" y="1284"/>
                </a:lnTo>
                <a:lnTo>
                  <a:pt x="2411" y="1284"/>
                </a:lnTo>
                <a:lnTo>
                  <a:pt x="2411" y="1284"/>
                </a:lnTo>
                <a:lnTo>
                  <a:pt x="2457" y="1278"/>
                </a:lnTo>
                <a:lnTo>
                  <a:pt x="2457" y="1278"/>
                </a:lnTo>
                <a:lnTo>
                  <a:pt x="2461" y="1278"/>
                </a:lnTo>
                <a:lnTo>
                  <a:pt x="2457" y="1278"/>
                </a:lnTo>
                <a:lnTo>
                  <a:pt x="2454" y="1277"/>
                </a:lnTo>
                <a:lnTo>
                  <a:pt x="2463" y="1275"/>
                </a:lnTo>
                <a:lnTo>
                  <a:pt x="2463" y="1275"/>
                </a:lnTo>
                <a:lnTo>
                  <a:pt x="2492" y="1273"/>
                </a:lnTo>
                <a:lnTo>
                  <a:pt x="2523" y="1270"/>
                </a:lnTo>
                <a:lnTo>
                  <a:pt x="2523" y="1270"/>
                </a:lnTo>
                <a:lnTo>
                  <a:pt x="2529" y="1270"/>
                </a:lnTo>
                <a:lnTo>
                  <a:pt x="2518" y="1270"/>
                </a:lnTo>
                <a:lnTo>
                  <a:pt x="2489" y="1274"/>
                </a:lnTo>
                <a:lnTo>
                  <a:pt x="2557" y="1267"/>
                </a:lnTo>
                <a:lnTo>
                  <a:pt x="2557" y="1267"/>
                </a:lnTo>
                <a:lnTo>
                  <a:pt x="2564" y="1266"/>
                </a:lnTo>
                <a:lnTo>
                  <a:pt x="2557" y="1267"/>
                </a:lnTo>
                <a:lnTo>
                  <a:pt x="2528" y="1270"/>
                </a:lnTo>
                <a:lnTo>
                  <a:pt x="2528" y="1270"/>
                </a:lnTo>
                <a:lnTo>
                  <a:pt x="2570" y="1266"/>
                </a:lnTo>
                <a:lnTo>
                  <a:pt x="2598" y="1263"/>
                </a:lnTo>
                <a:lnTo>
                  <a:pt x="2598" y="1263"/>
                </a:lnTo>
                <a:lnTo>
                  <a:pt x="2641" y="1259"/>
                </a:lnTo>
                <a:lnTo>
                  <a:pt x="2641" y="1259"/>
                </a:lnTo>
                <a:lnTo>
                  <a:pt x="2624" y="1261"/>
                </a:lnTo>
                <a:lnTo>
                  <a:pt x="2601" y="1266"/>
                </a:lnTo>
                <a:lnTo>
                  <a:pt x="2601" y="1266"/>
                </a:lnTo>
                <a:lnTo>
                  <a:pt x="2585" y="1267"/>
                </a:lnTo>
                <a:lnTo>
                  <a:pt x="2588" y="1266"/>
                </a:lnTo>
                <a:lnTo>
                  <a:pt x="2592" y="1264"/>
                </a:lnTo>
                <a:lnTo>
                  <a:pt x="2581" y="1266"/>
                </a:lnTo>
                <a:lnTo>
                  <a:pt x="2577" y="1267"/>
                </a:lnTo>
                <a:lnTo>
                  <a:pt x="2577" y="1267"/>
                </a:lnTo>
                <a:lnTo>
                  <a:pt x="2556" y="1268"/>
                </a:lnTo>
                <a:lnTo>
                  <a:pt x="2534" y="1271"/>
                </a:lnTo>
                <a:lnTo>
                  <a:pt x="2534" y="1271"/>
                </a:lnTo>
                <a:lnTo>
                  <a:pt x="2531" y="1271"/>
                </a:lnTo>
                <a:lnTo>
                  <a:pt x="2532" y="1271"/>
                </a:lnTo>
                <a:lnTo>
                  <a:pt x="2542" y="1270"/>
                </a:lnTo>
                <a:lnTo>
                  <a:pt x="2542" y="1270"/>
                </a:lnTo>
                <a:lnTo>
                  <a:pt x="2503" y="1274"/>
                </a:lnTo>
                <a:lnTo>
                  <a:pt x="2468" y="1278"/>
                </a:lnTo>
                <a:lnTo>
                  <a:pt x="2468" y="1278"/>
                </a:lnTo>
                <a:lnTo>
                  <a:pt x="2534" y="1273"/>
                </a:lnTo>
                <a:lnTo>
                  <a:pt x="2584" y="1267"/>
                </a:lnTo>
                <a:lnTo>
                  <a:pt x="2662" y="1259"/>
                </a:lnTo>
                <a:lnTo>
                  <a:pt x="2662" y="1259"/>
                </a:lnTo>
                <a:lnTo>
                  <a:pt x="2651" y="1259"/>
                </a:lnTo>
                <a:lnTo>
                  <a:pt x="2648" y="1259"/>
                </a:lnTo>
                <a:lnTo>
                  <a:pt x="2656" y="1257"/>
                </a:lnTo>
                <a:lnTo>
                  <a:pt x="2656" y="1257"/>
                </a:lnTo>
                <a:lnTo>
                  <a:pt x="2680" y="1256"/>
                </a:lnTo>
                <a:lnTo>
                  <a:pt x="2719" y="1253"/>
                </a:lnTo>
                <a:lnTo>
                  <a:pt x="2719" y="1253"/>
                </a:lnTo>
                <a:lnTo>
                  <a:pt x="2718" y="1253"/>
                </a:lnTo>
                <a:lnTo>
                  <a:pt x="2722" y="1252"/>
                </a:lnTo>
                <a:lnTo>
                  <a:pt x="2737" y="1250"/>
                </a:lnTo>
                <a:lnTo>
                  <a:pt x="2751" y="1247"/>
                </a:lnTo>
                <a:lnTo>
                  <a:pt x="2754" y="1247"/>
                </a:lnTo>
                <a:lnTo>
                  <a:pt x="2752" y="1247"/>
                </a:lnTo>
                <a:lnTo>
                  <a:pt x="2752" y="1247"/>
                </a:lnTo>
                <a:lnTo>
                  <a:pt x="2736" y="1249"/>
                </a:lnTo>
                <a:lnTo>
                  <a:pt x="2729" y="1249"/>
                </a:lnTo>
                <a:lnTo>
                  <a:pt x="2729" y="1249"/>
                </a:lnTo>
                <a:lnTo>
                  <a:pt x="2741" y="1247"/>
                </a:lnTo>
                <a:lnTo>
                  <a:pt x="2744" y="1247"/>
                </a:lnTo>
                <a:lnTo>
                  <a:pt x="2743" y="1246"/>
                </a:lnTo>
                <a:lnTo>
                  <a:pt x="2748" y="1246"/>
                </a:lnTo>
                <a:lnTo>
                  <a:pt x="2748" y="1246"/>
                </a:lnTo>
                <a:lnTo>
                  <a:pt x="2775" y="1243"/>
                </a:lnTo>
                <a:lnTo>
                  <a:pt x="2798" y="1242"/>
                </a:lnTo>
                <a:lnTo>
                  <a:pt x="2798" y="1242"/>
                </a:lnTo>
                <a:lnTo>
                  <a:pt x="2732" y="1252"/>
                </a:lnTo>
                <a:lnTo>
                  <a:pt x="2732" y="1252"/>
                </a:lnTo>
                <a:lnTo>
                  <a:pt x="2772" y="1247"/>
                </a:lnTo>
                <a:lnTo>
                  <a:pt x="2772" y="1247"/>
                </a:lnTo>
                <a:lnTo>
                  <a:pt x="2766" y="1247"/>
                </a:lnTo>
                <a:lnTo>
                  <a:pt x="2771" y="1247"/>
                </a:lnTo>
                <a:lnTo>
                  <a:pt x="2775" y="1246"/>
                </a:lnTo>
                <a:lnTo>
                  <a:pt x="2771" y="1246"/>
                </a:lnTo>
                <a:lnTo>
                  <a:pt x="2771" y="1246"/>
                </a:lnTo>
                <a:lnTo>
                  <a:pt x="2913" y="1231"/>
                </a:lnTo>
                <a:lnTo>
                  <a:pt x="2913" y="1231"/>
                </a:lnTo>
                <a:lnTo>
                  <a:pt x="2896" y="1234"/>
                </a:lnTo>
                <a:lnTo>
                  <a:pt x="2868" y="1236"/>
                </a:lnTo>
                <a:lnTo>
                  <a:pt x="2846" y="1239"/>
                </a:lnTo>
                <a:lnTo>
                  <a:pt x="2840" y="1240"/>
                </a:lnTo>
                <a:lnTo>
                  <a:pt x="2843" y="1240"/>
                </a:lnTo>
                <a:lnTo>
                  <a:pt x="2843" y="1240"/>
                </a:lnTo>
                <a:lnTo>
                  <a:pt x="2867" y="1238"/>
                </a:lnTo>
                <a:lnTo>
                  <a:pt x="2888" y="1235"/>
                </a:lnTo>
                <a:lnTo>
                  <a:pt x="2888" y="1235"/>
                </a:lnTo>
                <a:lnTo>
                  <a:pt x="2928" y="1232"/>
                </a:lnTo>
                <a:lnTo>
                  <a:pt x="2981" y="1227"/>
                </a:lnTo>
                <a:lnTo>
                  <a:pt x="2966" y="1227"/>
                </a:lnTo>
                <a:lnTo>
                  <a:pt x="2966" y="1227"/>
                </a:lnTo>
                <a:lnTo>
                  <a:pt x="3019" y="1222"/>
                </a:lnTo>
                <a:lnTo>
                  <a:pt x="3014" y="1222"/>
                </a:lnTo>
                <a:lnTo>
                  <a:pt x="3030" y="1221"/>
                </a:lnTo>
                <a:lnTo>
                  <a:pt x="3030" y="1221"/>
                </a:lnTo>
                <a:lnTo>
                  <a:pt x="3033" y="1221"/>
                </a:lnTo>
                <a:lnTo>
                  <a:pt x="3033" y="1221"/>
                </a:lnTo>
                <a:lnTo>
                  <a:pt x="3122" y="1211"/>
                </a:lnTo>
                <a:lnTo>
                  <a:pt x="3122" y="1211"/>
                </a:lnTo>
                <a:lnTo>
                  <a:pt x="3104" y="1213"/>
                </a:lnTo>
                <a:lnTo>
                  <a:pt x="3076" y="1215"/>
                </a:lnTo>
                <a:lnTo>
                  <a:pt x="3076" y="1215"/>
                </a:lnTo>
                <a:lnTo>
                  <a:pt x="3059" y="1217"/>
                </a:lnTo>
                <a:lnTo>
                  <a:pt x="3054" y="1217"/>
                </a:lnTo>
                <a:lnTo>
                  <a:pt x="3056" y="1217"/>
                </a:lnTo>
                <a:lnTo>
                  <a:pt x="3056" y="1217"/>
                </a:lnTo>
                <a:lnTo>
                  <a:pt x="3166" y="1204"/>
                </a:lnTo>
                <a:lnTo>
                  <a:pt x="3152" y="1206"/>
                </a:lnTo>
                <a:lnTo>
                  <a:pt x="3152" y="1206"/>
                </a:lnTo>
                <a:lnTo>
                  <a:pt x="3207" y="1199"/>
                </a:lnTo>
                <a:lnTo>
                  <a:pt x="3207" y="1199"/>
                </a:lnTo>
                <a:lnTo>
                  <a:pt x="3219" y="1199"/>
                </a:lnTo>
                <a:lnTo>
                  <a:pt x="3210" y="1200"/>
                </a:lnTo>
                <a:lnTo>
                  <a:pt x="3198" y="1201"/>
                </a:lnTo>
                <a:lnTo>
                  <a:pt x="3203" y="1201"/>
                </a:lnTo>
                <a:lnTo>
                  <a:pt x="3203" y="1201"/>
                </a:lnTo>
                <a:lnTo>
                  <a:pt x="3175" y="1204"/>
                </a:lnTo>
                <a:lnTo>
                  <a:pt x="3157" y="1207"/>
                </a:lnTo>
                <a:lnTo>
                  <a:pt x="3182" y="1206"/>
                </a:lnTo>
                <a:lnTo>
                  <a:pt x="3182" y="1206"/>
                </a:lnTo>
                <a:lnTo>
                  <a:pt x="3211" y="1203"/>
                </a:lnTo>
                <a:lnTo>
                  <a:pt x="3237" y="1200"/>
                </a:lnTo>
                <a:lnTo>
                  <a:pt x="3222" y="1201"/>
                </a:lnTo>
                <a:lnTo>
                  <a:pt x="3222" y="1201"/>
                </a:lnTo>
                <a:lnTo>
                  <a:pt x="3233" y="1200"/>
                </a:lnTo>
                <a:lnTo>
                  <a:pt x="3247" y="1199"/>
                </a:lnTo>
                <a:lnTo>
                  <a:pt x="3236" y="1199"/>
                </a:lnTo>
                <a:lnTo>
                  <a:pt x="3236" y="1199"/>
                </a:lnTo>
                <a:lnTo>
                  <a:pt x="3207" y="1201"/>
                </a:lnTo>
                <a:lnTo>
                  <a:pt x="3183" y="1204"/>
                </a:lnTo>
                <a:lnTo>
                  <a:pt x="3183" y="1204"/>
                </a:lnTo>
                <a:lnTo>
                  <a:pt x="3218" y="1200"/>
                </a:lnTo>
                <a:lnTo>
                  <a:pt x="3260" y="1194"/>
                </a:lnTo>
                <a:lnTo>
                  <a:pt x="3260" y="1194"/>
                </a:lnTo>
                <a:lnTo>
                  <a:pt x="3256" y="1196"/>
                </a:lnTo>
                <a:lnTo>
                  <a:pt x="3246" y="1197"/>
                </a:lnTo>
                <a:lnTo>
                  <a:pt x="3246" y="1197"/>
                </a:lnTo>
                <a:lnTo>
                  <a:pt x="3272" y="1194"/>
                </a:lnTo>
                <a:lnTo>
                  <a:pt x="3306" y="1190"/>
                </a:lnTo>
                <a:lnTo>
                  <a:pt x="3306" y="1190"/>
                </a:lnTo>
                <a:lnTo>
                  <a:pt x="3282" y="1193"/>
                </a:lnTo>
                <a:lnTo>
                  <a:pt x="3278" y="1194"/>
                </a:lnTo>
                <a:lnTo>
                  <a:pt x="3286" y="1194"/>
                </a:lnTo>
                <a:lnTo>
                  <a:pt x="3299" y="1192"/>
                </a:lnTo>
                <a:lnTo>
                  <a:pt x="3299" y="1192"/>
                </a:lnTo>
                <a:lnTo>
                  <a:pt x="3311" y="1190"/>
                </a:lnTo>
                <a:lnTo>
                  <a:pt x="3311" y="1190"/>
                </a:lnTo>
                <a:lnTo>
                  <a:pt x="3318" y="1190"/>
                </a:lnTo>
                <a:lnTo>
                  <a:pt x="3320" y="1190"/>
                </a:lnTo>
                <a:lnTo>
                  <a:pt x="3335" y="1188"/>
                </a:lnTo>
                <a:lnTo>
                  <a:pt x="3335" y="1188"/>
                </a:lnTo>
                <a:lnTo>
                  <a:pt x="3342" y="1188"/>
                </a:lnTo>
                <a:lnTo>
                  <a:pt x="3345" y="1188"/>
                </a:lnTo>
                <a:lnTo>
                  <a:pt x="3343" y="1188"/>
                </a:lnTo>
                <a:lnTo>
                  <a:pt x="3343" y="1188"/>
                </a:lnTo>
                <a:lnTo>
                  <a:pt x="3367" y="1185"/>
                </a:lnTo>
                <a:lnTo>
                  <a:pt x="3388" y="1182"/>
                </a:lnTo>
                <a:lnTo>
                  <a:pt x="3388" y="1182"/>
                </a:lnTo>
                <a:lnTo>
                  <a:pt x="3373" y="1183"/>
                </a:lnTo>
                <a:lnTo>
                  <a:pt x="3367" y="1183"/>
                </a:lnTo>
                <a:lnTo>
                  <a:pt x="3373" y="1182"/>
                </a:lnTo>
                <a:lnTo>
                  <a:pt x="3388" y="1181"/>
                </a:lnTo>
                <a:lnTo>
                  <a:pt x="3388" y="1181"/>
                </a:lnTo>
                <a:lnTo>
                  <a:pt x="3437" y="1175"/>
                </a:lnTo>
                <a:lnTo>
                  <a:pt x="3479" y="1172"/>
                </a:lnTo>
                <a:lnTo>
                  <a:pt x="3495" y="1169"/>
                </a:lnTo>
                <a:lnTo>
                  <a:pt x="3495" y="1169"/>
                </a:lnTo>
                <a:lnTo>
                  <a:pt x="3493" y="1169"/>
                </a:lnTo>
                <a:lnTo>
                  <a:pt x="3494" y="1169"/>
                </a:lnTo>
                <a:lnTo>
                  <a:pt x="3505" y="1169"/>
                </a:lnTo>
                <a:lnTo>
                  <a:pt x="3532" y="1167"/>
                </a:lnTo>
                <a:lnTo>
                  <a:pt x="3532" y="1167"/>
                </a:lnTo>
                <a:lnTo>
                  <a:pt x="3525" y="1167"/>
                </a:lnTo>
                <a:lnTo>
                  <a:pt x="3504" y="1169"/>
                </a:lnTo>
                <a:lnTo>
                  <a:pt x="3484" y="1172"/>
                </a:lnTo>
                <a:lnTo>
                  <a:pt x="3474" y="1174"/>
                </a:lnTo>
                <a:lnTo>
                  <a:pt x="3474" y="1174"/>
                </a:lnTo>
                <a:lnTo>
                  <a:pt x="3490" y="1172"/>
                </a:lnTo>
                <a:lnTo>
                  <a:pt x="3480" y="1175"/>
                </a:lnTo>
                <a:lnTo>
                  <a:pt x="3480" y="1175"/>
                </a:lnTo>
                <a:lnTo>
                  <a:pt x="3494" y="1172"/>
                </a:lnTo>
                <a:lnTo>
                  <a:pt x="3497" y="1172"/>
                </a:lnTo>
                <a:lnTo>
                  <a:pt x="3498" y="1171"/>
                </a:lnTo>
                <a:lnTo>
                  <a:pt x="3502" y="1169"/>
                </a:lnTo>
                <a:lnTo>
                  <a:pt x="3502" y="1169"/>
                </a:lnTo>
                <a:lnTo>
                  <a:pt x="3523" y="1168"/>
                </a:lnTo>
                <a:lnTo>
                  <a:pt x="3534" y="1167"/>
                </a:lnTo>
                <a:lnTo>
                  <a:pt x="3536" y="1168"/>
                </a:lnTo>
                <a:lnTo>
                  <a:pt x="3533" y="1168"/>
                </a:lnTo>
                <a:lnTo>
                  <a:pt x="3533" y="1168"/>
                </a:lnTo>
                <a:lnTo>
                  <a:pt x="3557" y="1165"/>
                </a:lnTo>
                <a:lnTo>
                  <a:pt x="3576" y="1162"/>
                </a:lnTo>
                <a:lnTo>
                  <a:pt x="3576" y="1162"/>
                </a:lnTo>
                <a:lnTo>
                  <a:pt x="3573" y="1164"/>
                </a:lnTo>
                <a:lnTo>
                  <a:pt x="3572" y="1164"/>
                </a:lnTo>
                <a:lnTo>
                  <a:pt x="3573" y="1165"/>
                </a:lnTo>
                <a:lnTo>
                  <a:pt x="3573" y="1165"/>
                </a:lnTo>
                <a:lnTo>
                  <a:pt x="3601" y="1162"/>
                </a:lnTo>
                <a:lnTo>
                  <a:pt x="3601" y="1162"/>
                </a:lnTo>
                <a:lnTo>
                  <a:pt x="3600" y="1161"/>
                </a:lnTo>
                <a:lnTo>
                  <a:pt x="3601" y="1161"/>
                </a:lnTo>
                <a:lnTo>
                  <a:pt x="3589" y="1162"/>
                </a:lnTo>
                <a:lnTo>
                  <a:pt x="3589" y="1162"/>
                </a:lnTo>
                <a:lnTo>
                  <a:pt x="3614" y="1160"/>
                </a:lnTo>
                <a:lnTo>
                  <a:pt x="3635" y="1157"/>
                </a:lnTo>
                <a:lnTo>
                  <a:pt x="3635" y="1157"/>
                </a:lnTo>
                <a:lnTo>
                  <a:pt x="3660" y="1155"/>
                </a:lnTo>
                <a:lnTo>
                  <a:pt x="3699" y="1151"/>
                </a:lnTo>
                <a:lnTo>
                  <a:pt x="3699" y="1151"/>
                </a:lnTo>
                <a:lnTo>
                  <a:pt x="3692" y="1151"/>
                </a:lnTo>
                <a:lnTo>
                  <a:pt x="3678" y="1153"/>
                </a:lnTo>
                <a:lnTo>
                  <a:pt x="3663" y="1154"/>
                </a:lnTo>
                <a:lnTo>
                  <a:pt x="3653" y="1154"/>
                </a:lnTo>
                <a:lnTo>
                  <a:pt x="3653" y="1154"/>
                </a:lnTo>
                <a:lnTo>
                  <a:pt x="3717" y="1147"/>
                </a:lnTo>
                <a:lnTo>
                  <a:pt x="3792" y="1137"/>
                </a:lnTo>
                <a:lnTo>
                  <a:pt x="3792" y="1137"/>
                </a:lnTo>
                <a:lnTo>
                  <a:pt x="3809" y="1136"/>
                </a:lnTo>
                <a:lnTo>
                  <a:pt x="3810" y="1136"/>
                </a:lnTo>
                <a:lnTo>
                  <a:pt x="3807" y="1136"/>
                </a:lnTo>
                <a:lnTo>
                  <a:pt x="3802" y="1137"/>
                </a:lnTo>
                <a:lnTo>
                  <a:pt x="3799" y="1139"/>
                </a:lnTo>
                <a:lnTo>
                  <a:pt x="3801" y="1139"/>
                </a:lnTo>
                <a:lnTo>
                  <a:pt x="3801" y="1139"/>
                </a:lnTo>
                <a:lnTo>
                  <a:pt x="3724" y="1147"/>
                </a:lnTo>
                <a:lnTo>
                  <a:pt x="3724" y="1147"/>
                </a:lnTo>
                <a:lnTo>
                  <a:pt x="3785" y="1140"/>
                </a:lnTo>
                <a:lnTo>
                  <a:pt x="3840" y="1133"/>
                </a:lnTo>
                <a:lnTo>
                  <a:pt x="3840" y="1133"/>
                </a:lnTo>
                <a:lnTo>
                  <a:pt x="3880" y="1128"/>
                </a:lnTo>
                <a:lnTo>
                  <a:pt x="3899" y="1126"/>
                </a:lnTo>
                <a:lnTo>
                  <a:pt x="3926" y="1122"/>
                </a:lnTo>
                <a:lnTo>
                  <a:pt x="3926" y="1122"/>
                </a:lnTo>
                <a:lnTo>
                  <a:pt x="3919" y="1122"/>
                </a:lnTo>
                <a:lnTo>
                  <a:pt x="3906" y="1123"/>
                </a:lnTo>
                <a:lnTo>
                  <a:pt x="3906" y="1123"/>
                </a:lnTo>
                <a:lnTo>
                  <a:pt x="3945" y="1118"/>
                </a:lnTo>
                <a:lnTo>
                  <a:pt x="3945" y="1118"/>
                </a:lnTo>
                <a:lnTo>
                  <a:pt x="3947" y="1118"/>
                </a:lnTo>
                <a:lnTo>
                  <a:pt x="3947" y="1118"/>
                </a:lnTo>
                <a:lnTo>
                  <a:pt x="3941" y="1118"/>
                </a:lnTo>
                <a:lnTo>
                  <a:pt x="3937" y="1118"/>
                </a:lnTo>
                <a:lnTo>
                  <a:pt x="3944" y="1116"/>
                </a:lnTo>
                <a:lnTo>
                  <a:pt x="3944" y="1116"/>
                </a:lnTo>
                <a:lnTo>
                  <a:pt x="3957" y="1115"/>
                </a:lnTo>
                <a:lnTo>
                  <a:pt x="3962" y="1115"/>
                </a:lnTo>
                <a:lnTo>
                  <a:pt x="3959" y="1115"/>
                </a:lnTo>
                <a:lnTo>
                  <a:pt x="3959" y="1115"/>
                </a:lnTo>
                <a:lnTo>
                  <a:pt x="3983" y="1111"/>
                </a:lnTo>
                <a:lnTo>
                  <a:pt x="3996" y="1110"/>
                </a:lnTo>
                <a:lnTo>
                  <a:pt x="4008" y="1108"/>
                </a:lnTo>
                <a:lnTo>
                  <a:pt x="4028" y="1104"/>
                </a:lnTo>
                <a:lnTo>
                  <a:pt x="4028" y="1104"/>
                </a:lnTo>
                <a:lnTo>
                  <a:pt x="4008" y="1108"/>
                </a:lnTo>
                <a:lnTo>
                  <a:pt x="4008" y="1108"/>
                </a:lnTo>
                <a:lnTo>
                  <a:pt x="4007" y="1108"/>
                </a:lnTo>
                <a:lnTo>
                  <a:pt x="4007" y="1107"/>
                </a:lnTo>
                <a:lnTo>
                  <a:pt x="4015" y="1105"/>
                </a:lnTo>
                <a:lnTo>
                  <a:pt x="4040" y="1100"/>
                </a:lnTo>
                <a:lnTo>
                  <a:pt x="4040" y="1100"/>
                </a:lnTo>
                <a:lnTo>
                  <a:pt x="4049" y="1098"/>
                </a:lnTo>
                <a:lnTo>
                  <a:pt x="4067" y="1096"/>
                </a:lnTo>
                <a:lnTo>
                  <a:pt x="4067" y="1096"/>
                </a:lnTo>
                <a:lnTo>
                  <a:pt x="4068" y="1096"/>
                </a:lnTo>
                <a:lnTo>
                  <a:pt x="4065" y="1096"/>
                </a:lnTo>
                <a:lnTo>
                  <a:pt x="4054" y="1098"/>
                </a:lnTo>
                <a:lnTo>
                  <a:pt x="4032" y="1103"/>
                </a:lnTo>
                <a:lnTo>
                  <a:pt x="4064" y="1097"/>
                </a:lnTo>
                <a:lnTo>
                  <a:pt x="4057" y="1098"/>
                </a:lnTo>
                <a:lnTo>
                  <a:pt x="4093" y="1090"/>
                </a:lnTo>
                <a:lnTo>
                  <a:pt x="4093" y="1090"/>
                </a:lnTo>
                <a:lnTo>
                  <a:pt x="4081" y="1093"/>
                </a:lnTo>
                <a:lnTo>
                  <a:pt x="4079" y="1093"/>
                </a:lnTo>
                <a:lnTo>
                  <a:pt x="4092" y="1089"/>
                </a:lnTo>
                <a:lnTo>
                  <a:pt x="4092" y="1089"/>
                </a:lnTo>
                <a:lnTo>
                  <a:pt x="4125" y="1083"/>
                </a:lnTo>
                <a:lnTo>
                  <a:pt x="4136" y="1080"/>
                </a:lnTo>
                <a:lnTo>
                  <a:pt x="4139" y="1080"/>
                </a:lnTo>
                <a:lnTo>
                  <a:pt x="4139" y="1080"/>
                </a:lnTo>
                <a:lnTo>
                  <a:pt x="4159" y="1076"/>
                </a:lnTo>
                <a:lnTo>
                  <a:pt x="4194" y="1068"/>
                </a:lnTo>
                <a:lnTo>
                  <a:pt x="4194" y="1068"/>
                </a:lnTo>
                <a:lnTo>
                  <a:pt x="4184" y="1069"/>
                </a:lnTo>
                <a:lnTo>
                  <a:pt x="4184" y="1069"/>
                </a:lnTo>
                <a:lnTo>
                  <a:pt x="4198" y="1065"/>
                </a:lnTo>
                <a:lnTo>
                  <a:pt x="4233" y="1058"/>
                </a:lnTo>
                <a:lnTo>
                  <a:pt x="4233" y="1058"/>
                </a:lnTo>
                <a:lnTo>
                  <a:pt x="4219" y="1062"/>
                </a:lnTo>
                <a:lnTo>
                  <a:pt x="4221" y="1061"/>
                </a:lnTo>
                <a:lnTo>
                  <a:pt x="4231" y="1059"/>
                </a:lnTo>
                <a:lnTo>
                  <a:pt x="4234" y="1059"/>
                </a:lnTo>
                <a:lnTo>
                  <a:pt x="4233" y="1059"/>
                </a:lnTo>
                <a:lnTo>
                  <a:pt x="4233" y="1059"/>
                </a:lnTo>
                <a:lnTo>
                  <a:pt x="4209" y="1066"/>
                </a:lnTo>
                <a:lnTo>
                  <a:pt x="4180" y="1073"/>
                </a:lnTo>
                <a:lnTo>
                  <a:pt x="4180" y="1073"/>
                </a:lnTo>
                <a:lnTo>
                  <a:pt x="4205" y="1068"/>
                </a:lnTo>
                <a:lnTo>
                  <a:pt x="4226" y="1062"/>
                </a:lnTo>
                <a:lnTo>
                  <a:pt x="4267" y="1051"/>
                </a:lnTo>
                <a:lnTo>
                  <a:pt x="4267" y="1051"/>
                </a:lnTo>
                <a:lnTo>
                  <a:pt x="4263" y="1052"/>
                </a:lnTo>
                <a:lnTo>
                  <a:pt x="4249" y="1057"/>
                </a:lnTo>
                <a:lnTo>
                  <a:pt x="4249" y="1057"/>
                </a:lnTo>
                <a:lnTo>
                  <a:pt x="4302" y="1043"/>
                </a:lnTo>
                <a:lnTo>
                  <a:pt x="4302" y="1043"/>
                </a:lnTo>
                <a:lnTo>
                  <a:pt x="4294" y="1044"/>
                </a:lnTo>
                <a:lnTo>
                  <a:pt x="4295" y="1043"/>
                </a:lnTo>
                <a:lnTo>
                  <a:pt x="4305" y="1040"/>
                </a:lnTo>
                <a:lnTo>
                  <a:pt x="4336" y="1033"/>
                </a:lnTo>
                <a:lnTo>
                  <a:pt x="4336" y="1033"/>
                </a:lnTo>
                <a:lnTo>
                  <a:pt x="4352" y="1027"/>
                </a:lnTo>
                <a:lnTo>
                  <a:pt x="4357" y="1026"/>
                </a:lnTo>
                <a:lnTo>
                  <a:pt x="4361" y="1025"/>
                </a:lnTo>
                <a:lnTo>
                  <a:pt x="4375" y="1019"/>
                </a:lnTo>
                <a:lnTo>
                  <a:pt x="4355" y="1025"/>
                </a:lnTo>
                <a:lnTo>
                  <a:pt x="4355" y="1025"/>
                </a:lnTo>
                <a:lnTo>
                  <a:pt x="4376" y="1018"/>
                </a:lnTo>
                <a:lnTo>
                  <a:pt x="4389" y="1013"/>
                </a:lnTo>
                <a:lnTo>
                  <a:pt x="4394" y="1012"/>
                </a:lnTo>
                <a:lnTo>
                  <a:pt x="4394" y="1012"/>
                </a:lnTo>
                <a:lnTo>
                  <a:pt x="4372" y="1019"/>
                </a:lnTo>
                <a:lnTo>
                  <a:pt x="4348" y="1026"/>
                </a:lnTo>
                <a:lnTo>
                  <a:pt x="4348" y="1026"/>
                </a:lnTo>
                <a:lnTo>
                  <a:pt x="4348" y="1026"/>
                </a:lnTo>
                <a:lnTo>
                  <a:pt x="4350" y="1025"/>
                </a:lnTo>
                <a:lnTo>
                  <a:pt x="4359" y="1022"/>
                </a:lnTo>
                <a:lnTo>
                  <a:pt x="4382" y="1015"/>
                </a:lnTo>
                <a:lnTo>
                  <a:pt x="4440" y="997"/>
                </a:lnTo>
                <a:lnTo>
                  <a:pt x="4440" y="997"/>
                </a:lnTo>
                <a:lnTo>
                  <a:pt x="4435" y="1001"/>
                </a:lnTo>
                <a:lnTo>
                  <a:pt x="4419" y="1006"/>
                </a:lnTo>
                <a:lnTo>
                  <a:pt x="4405" y="1012"/>
                </a:lnTo>
                <a:lnTo>
                  <a:pt x="4401" y="1013"/>
                </a:lnTo>
                <a:lnTo>
                  <a:pt x="4401" y="1015"/>
                </a:lnTo>
                <a:lnTo>
                  <a:pt x="4401" y="1015"/>
                </a:lnTo>
                <a:lnTo>
                  <a:pt x="4401" y="1015"/>
                </a:lnTo>
                <a:lnTo>
                  <a:pt x="4463" y="994"/>
                </a:lnTo>
                <a:lnTo>
                  <a:pt x="4514" y="976"/>
                </a:lnTo>
                <a:lnTo>
                  <a:pt x="4514" y="976"/>
                </a:lnTo>
                <a:lnTo>
                  <a:pt x="4541" y="965"/>
                </a:lnTo>
                <a:lnTo>
                  <a:pt x="4542" y="963"/>
                </a:lnTo>
                <a:lnTo>
                  <a:pt x="4541" y="963"/>
                </a:lnTo>
                <a:lnTo>
                  <a:pt x="4538" y="963"/>
                </a:lnTo>
                <a:lnTo>
                  <a:pt x="4538" y="963"/>
                </a:lnTo>
                <a:lnTo>
                  <a:pt x="4567" y="952"/>
                </a:lnTo>
                <a:lnTo>
                  <a:pt x="4552" y="959"/>
                </a:lnTo>
                <a:lnTo>
                  <a:pt x="4552" y="959"/>
                </a:lnTo>
                <a:lnTo>
                  <a:pt x="4602" y="938"/>
                </a:lnTo>
                <a:lnTo>
                  <a:pt x="4653" y="914"/>
                </a:lnTo>
                <a:lnTo>
                  <a:pt x="4653" y="914"/>
                </a:lnTo>
                <a:lnTo>
                  <a:pt x="4669" y="907"/>
                </a:lnTo>
                <a:lnTo>
                  <a:pt x="4662" y="909"/>
                </a:lnTo>
                <a:lnTo>
                  <a:pt x="4685" y="898"/>
                </a:lnTo>
                <a:lnTo>
                  <a:pt x="4681" y="899"/>
                </a:lnTo>
                <a:lnTo>
                  <a:pt x="4681" y="899"/>
                </a:lnTo>
                <a:lnTo>
                  <a:pt x="4699" y="889"/>
                </a:lnTo>
                <a:lnTo>
                  <a:pt x="4726" y="877"/>
                </a:lnTo>
                <a:lnTo>
                  <a:pt x="4726" y="877"/>
                </a:lnTo>
                <a:lnTo>
                  <a:pt x="4716" y="882"/>
                </a:lnTo>
                <a:lnTo>
                  <a:pt x="4716" y="882"/>
                </a:lnTo>
                <a:lnTo>
                  <a:pt x="4741" y="870"/>
                </a:lnTo>
                <a:lnTo>
                  <a:pt x="4764" y="857"/>
                </a:lnTo>
                <a:lnTo>
                  <a:pt x="4764" y="857"/>
                </a:lnTo>
                <a:lnTo>
                  <a:pt x="4758" y="862"/>
                </a:lnTo>
                <a:lnTo>
                  <a:pt x="4738" y="873"/>
                </a:lnTo>
                <a:lnTo>
                  <a:pt x="4738" y="873"/>
                </a:lnTo>
                <a:lnTo>
                  <a:pt x="4736" y="874"/>
                </a:lnTo>
                <a:lnTo>
                  <a:pt x="4706" y="888"/>
                </a:lnTo>
                <a:lnTo>
                  <a:pt x="4706" y="888"/>
                </a:lnTo>
                <a:lnTo>
                  <a:pt x="4745" y="868"/>
                </a:lnTo>
                <a:lnTo>
                  <a:pt x="4757" y="864"/>
                </a:lnTo>
                <a:lnTo>
                  <a:pt x="4759" y="863"/>
                </a:lnTo>
                <a:lnTo>
                  <a:pt x="4759" y="863"/>
                </a:lnTo>
                <a:lnTo>
                  <a:pt x="4769" y="857"/>
                </a:lnTo>
                <a:lnTo>
                  <a:pt x="4764" y="860"/>
                </a:lnTo>
                <a:lnTo>
                  <a:pt x="4758" y="863"/>
                </a:lnTo>
                <a:lnTo>
                  <a:pt x="4772" y="856"/>
                </a:lnTo>
                <a:lnTo>
                  <a:pt x="4772" y="856"/>
                </a:lnTo>
                <a:lnTo>
                  <a:pt x="4810" y="836"/>
                </a:lnTo>
                <a:lnTo>
                  <a:pt x="4843" y="817"/>
                </a:lnTo>
                <a:lnTo>
                  <a:pt x="4872" y="799"/>
                </a:lnTo>
                <a:lnTo>
                  <a:pt x="4897" y="786"/>
                </a:lnTo>
                <a:lnTo>
                  <a:pt x="4897" y="786"/>
                </a:lnTo>
                <a:lnTo>
                  <a:pt x="4981" y="728"/>
                </a:lnTo>
                <a:lnTo>
                  <a:pt x="4981" y="728"/>
                </a:lnTo>
                <a:lnTo>
                  <a:pt x="4992" y="719"/>
                </a:lnTo>
                <a:lnTo>
                  <a:pt x="4999" y="715"/>
                </a:lnTo>
                <a:lnTo>
                  <a:pt x="5000" y="714"/>
                </a:lnTo>
                <a:lnTo>
                  <a:pt x="5000" y="712"/>
                </a:lnTo>
                <a:lnTo>
                  <a:pt x="5000" y="712"/>
                </a:lnTo>
                <a:lnTo>
                  <a:pt x="4953" y="746"/>
                </a:lnTo>
                <a:lnTo>
                  <a:pt x="4932" y="760"/>
                </a:lnTo>
                <a:lnTo>
                  <a:pt x="4910" y="774"/>
                </a:lnTo>
                <a:lnTo>
                  <a:pt x="4910" y="774"/>
                </a:lnTo>
                <a:lnTo>
                  <a:pt x="4899" y="781"/>
                </a:lnTo>
                <a:lnTo>
                  <a:pt x="4895" y="785"/>
                </a:lnTo>
                <a:lnTo>
                  <a:pt x="4895" y="785"/>
                </a:lnTo>
                <a:lnTo>
                  <a:pt x="4875" y="797"/>
                </a:lnTo>
                <a:lnTo>
                  <a:pt x="4865" y="803"/>
                </a:lnTo>
                <a:lnTo>
                  <a:pt x="4865" y="803"/>
                </a:lnTo>
                <a:lnTo>
                  <a:pt x="4881" y="792"/>
                </a:lnTo>
                <a:lnTo>
                  <a:pt x="4886" y="788"/>
                </a:lnTo>
                <a:lnTo>
                  <a:pt x="4893" y="783"/>
                </a:lnTo>
                <a:lnTo>
                  <a:pt x="4913" y="770"/>
                </a:lnTo>
                <a:lnTo>
                  <a:pt x="4913" y="770"/>
                </a:lnTo>
                <a:lnTo>
                  <a:pt x="4861" y="802"/>
                </a:lnTo>
                <a:lnTo>
                  <a:pt x="4861" y="802"/>
                </a:lnTo>
                <a:lnTo>
                  <a:pt x="4862" y="800"/>
                </a:lnTo>
                <a:lnTo>
                  <a:pt x="4861" y="802"/>
                </a:lnTo>
                <a:lnTo>
                  <a:pt x="4850" y="807"/>
                </a:lnTo>
                <a:lnTo>
                  <a:pt x="4850" y="807"/>
                </a:lnTo>
                <a:lnTo>
                  <a:pt x="4895" y="777"/>
                </a:lnTo>
                <a:lnTo>
                  <a:pt x="4895" y="777"/>
                </a:lnTo>
                <a:lnTo>
                  <a:pt x="4893" y="778"/>
                </a:lnTo>
                <a:lnTo>
                  <a:pt x="4895" y="778"/>
                </a:lnTo>
                <a:lnTo>
                  <a:pt x="4896" y="777"/>
                </a:lnTo>
                <a:lnTo>
                  <a:pt x="4896" y="778"/>
                </a:lnTo>
                <a:lnTo>
                  <a:pt x="4896" y="778"/>
                </a:lnTo>
                <a:lnTo>
                  <a:pt x="4936" y="750"/>
                </a:lnTo>
                <a:lnTo>
                  <a:pt x="4936" y="750"/>
                </a:lnTo>
                <a:lnTo>
                  <a:pt x="4949" y="743"/>
                </a:lnTo>
                <a:lnTo>
                  <a:pt x="4949" y="743"/>
                </a:lnTo>
                <a:lnTo>
                  <a:pt x="4946" y="746"/>
                </a:lnTo>
                <a:lnTo>
                  <a:pt x="4946" y="746"/>
                </a:lnTo>
                <a:lnTo>
                  <a:pt x="4985" y="718"/>
                </a:lnTo>
                <a:lnTo>
                  <a:pt x="5000" y="708"/>
                </a:lnTo>
                <a:lnTo>
                  <a:pt x="5007" y="704"/>
                </a:lnTo>
                <a:lnTo>
                  <a:pt x="5007" y="704"/>
                </a:lnTo>
                <a:lnTo>
                  <a:pt x="5019" y="696"/>
                </a:lnTo>
                <a:lnTo>
                  <a:pt x="5013" y="698"/>
                </a:lnTo>
                <a:lnTo>
                  <a:pt x="4995" y="711"/>
                </a:lnTo>
                <a:lnTo>
                  <a:pt x="4998" y="710"/>
                </a:lnTo>
                <a:lnTo>
                  <a:pt x="4967" y="731"/>
                </a:lnTo>
                <a:lnTo>
                  <a:pt x="4967" y="731"/>
                </a:lnTo>
                <a:lnTo>
                  <a:pt x="4971" y="728"/>
                </a:lnTo>
                <a:lnTo>
                  <a:pt x="4984" y="718"/>
                </a:lnTo>
                <a:lnTo>
                  <a:pt x="4998" y="708"/>
                </a:lnTo>
                <a:lnTo>
                  <a:pt x="5006" y="703"/>
                </a:lnTo>
                <a:lnTo>
                  <a:pt x="5006" y="703"/>
                </a:lnTo>
                <a:lnTo>
                  <a:pt x="5009" y="698"/>
                </a:lnTo>
                <a:lnTo>
                  <a:pt x="5014" y="694"/>
                </a:lnTo>
                <a:lnTo>
                  <a:pt x="5031" y="683"/>
                </a:lnTo>
                <a:lnTo>
                  <a:pt x="5052" y="669"/>
                </a:lnTo>
                <a:lnTo>
                  <a:pt x="5070" y="655"/>
                </a:lnTo>
                <a:lnTo>
                  <a:pt x="5046" y="676"/>
                </a:lnTo>
                <a:lnTo>
                  <a:pt x="5067" y="659"/>
                </a:lnTo>
                <a:lnTo>
                  <a:pt x="5067" y="659"/>
                </a:lnTo>
                <a:lnTo>
                  <a:pt x="5056" y="671"/>
                </a:lnTo>
                <a:lnTo>
                  <a:pt x="5038" y="685"/>
                </a:lnTo>
                <a:lnTo>
                  <a:pt x="5038" y="685"/>
                </a:lnTo>
                <a:lnTo>
                  <a:pt x="5087" y="648"/>
                </a:lnTo>
                <a:lnTo>
                  <a:pt x="5127" y="618"/>
                </a:lnTo>
                <a:lnTo>
                  <a:pt x="5127" y="618"/>
                </a:lnTo>
                <a:lnTo>
                  <a:pt x="5136" y="612"/>
                </a:lnTo>
                <a:lnTo>
                  <a:pt x="5137" y="612"/>
                </a:lnTo>
                <a:lnTo>
                  <a:pt x="5136" y="614"/>
                </a:lnTo>
                <a:lnTo>
                  <a:pt x="5136" y="614"/>
                </a:lnTo>
                <a:lnTo>
                  <a:pt x="5172" y="584"/>
                </a:lnTo>
                <a:lnTo>
                  <a:pt x="5204" y="558"/>
                </a:lnTo>
                <a:lnTo>
                  <a:pt x="5204" y="558"/>
                </a:lnTo>
                <a:lnTo>
                  <a:pt x="5211" y="552"/>
                </a:lnTo>
                <a:lnTo>
                  <a:pt x="5203" y="558"/>
                </a:lnTo>
                <a:lnTo>
                  <a:pt x="5193" y="566"/>
                </a:lnTo>
                <a:lnTo>
                  <a:pt x="5193" y="566"/>
                </a:lnTo>
                <a:lnTo>
                  <a:pt x="5196" y="562"/>
                </a:lnTo>
                <a:lnTo>
                  <a:pt x="5196" y="562"/>
                </a:lnTo>
                <a:lnTo>
                  <a:pt x="5211" y="551"/>
                </a:lnTo>
                <a:lnTo>
                  <a:pt x="5225" y="538"/>
                </a:lnTo>
                <a:lnTo>
                  <a:pt x="5225" y="538"/>
                </a:lnTo>
                <a:lnTo>
                  <a:pt x="5201" y="558"/>
                </a:lnTo>
                <a:lnTo>
                  <a:pt x="5170" y="583"/>
                </a:lnTo>
                <a:lnTo>
                  <a:pt x="5170" y="583"/>
                </a:lnTo>
                <a:lnTo>
                  <a:pt x="5182" y="572"/>
                </a:lnTo>
                <a:lnTo>
                  <a:pt x="5186" y="568"/>
                </a:lnTo>
                <a:lnTo>
                  <a:pt x="5162" y="587"/>
                </a:lnTo>
                <a:lnTo>
                  <a:pt x="5162" y="587"/>
                </a:lnTo>
                <a:lnTo>
                  <a:pt x="5168" y="583"/>
                </a:lnTo>
                <a:lnTo>
                  <a:pt x="5179" y="573"/>
                </a:lnTo>
                <a:lnTo>
                  <a:pt x="5201" y="554"/>
                </a:lnTo>
                <a:lnTo>
                  <a:pt x="5201" y="554"/>
                </a:lnTo>
                <a:lnTo>
                  <a:pt x="5193" y="563"/>
                </a:lnTo>
                <a:lnTo>
                  <a:pt x="5193" y="563"/>
                </a:lnTo>
                <a:lnTo>
                  <a:pt x="5260" y="506"/>
                </a:lnTo>
                <a:lnTo>
                  <a:pt x="5260" y="506"/>
                </a:lnTo>
                <a:lnTo>
                  <a:pt x="5262" y="505"/>
                </a:lnTo>
                <a:lnTo>
                  <a:pt x="5258" y="508"/>
                </a:lnTo>
                <a:lnTo>
                  <a:pt x="5247" y="519"/>
                </a:lnTo>
                <a:lnTo>
                  <a:pt x="5247" y="519"/>
                </a:lnTo>
                <a:lnTo>
                  <a:pt x="5258" y="509"/>
                </a:lnTo>
                <a:lnTo>
                  <a:pt x="5271" y="499"/>
                </a:lnTo>
                <a:lnTo>
                  <a:pt x="5271" y="499"/>
                </a:lnTo>
                <a:lnTo>
                  <a:pt x="5262" y="506"/>
                </a:lnTo>
                <a:lnTo>
                  <a:pt x="5251" y="516"/>
                </a:lnTo>
                <a:lnTo>
                  <a:pt x="5251" y="516"/>
                </a:lnTo>
                <a:lnTo>
                  <a:pt x="5310" y="464"/>
                </a:lnTo>
                <a:lnTo>
                  <a:pt x="5310" y="464"/>
                </a:lnTo>
                <a:lnTo>
                  <a:pt x="5286" y="487"/>
                </a:lnTo>
                <a:lnTo>
                  <a:pt x="5286" y="487"/>
                </a:lnTo>
                <a:lnTo>
                  <a:pt x="5310" y="464"/>
                </a:lnTo>
                <a:lnTo>
                  <a:pt x="5335" y="439"/>
                </a:lnTo>
                <a:lnTo>
                  <a:pt x="5335" y="439"/>
                </a:lnTo>
                <a:lnTo>
                  <a:pt x="5363" y="416"/>
                </a:lnTo>
                <a:lnTo>
                  <a:pt x="5371" y="409"/>
                </a:lnTo>
                <a:lnTo>
                  <a:pt x="5373" y="407"/>
                </a:lnTo>
                <a:lnTo>
                  <a:pt x="5371" y="409"/>
                </a:lnTo>
                <a:lnTo>
                  <a:pt x="5371" y="409"/>
                </a:lnTo>
                <a:lnTo>
                  <a:pt x="5375" y="403"/>
                </a:lnTo>
                <a:lnTo>
                  <a:pt x="5374" y="405"/>
                </a:lnTo>
                <a:lnTo>
                  <a:pt x="5374" y="405"/>
                </a:lnTo>
                <a:lnTo>
                  <a:pt x="5399" y="379"/>
                </a:lnTo>
                <a:lnTo>
                  <a:pt x="5416" y="363"/>
                </a:lnTo>
                <a:lnTo>
                  <a:pt x="5405" y="372"/>
                </a:lnTo>
                <a:lnTo>
                  <a:pt x="5405" y="372"/>
                </a:lnTo>
                <a:lnTo>
                  <a:pt x="5416" y="361"/>
                </a:lnTo>
                <a:lnTo>
                  <a:pt x="5419" y="359"/>
                </a:lnTo>
                <a:lnTo>
                  <a:pt x="5421" y="356"/>
                </a:lnTo>
                <a:lnTo>
                  <a:pt x="5431" y="346"/>
                </a:lnTo>
                <a:lnTo>
                  <a:pt x="5431" y="346"/>
                </a:lnTo>
                <a:lnTo>
                  <a:pt x="5430" y="347"/>
                </a:lnTo>
                <a:lnTo>
                  <a:pt x="5430" y="349"/>
                </a:lnTo>
                <a:lnTo>
                  <a:pt x="5435" y="346"/>
                </a:lnTo>
                <a:lnTo>
                  <a:pt x="5435" y="346"/>
                </a:lnTo>
                <a:lnTo>
                  <a:pt x="5445" y="335"/>
                </a:lnTo>
                <a:lnTo>
                  <a:pt x="5462" y="320"/>
                </a:lnTo>
                <a:lnTo>
                  <a:pt x="5462" y="320"/>
                </a:lnTo>
                <a:lnTo>
                  <a:pt x="5460" y="321"/>
                </a:lnTo>
                <a:lnTo>
                  <a:pt x="5462" y="320"/>
                </a:lnTo>
                <a:lnTo>
                  <a:pt x="5467" y="314"/>
                </a:lnTo>
                <a:lnTo>
                  <a:pt x="5470" y="310"/>
                </a:lnTo>
                <a:lnTo>
                  <a:pt x="5465" y="314"/>
                </a:lnTo>
                <a:lnTo>
                  <a:pt x="5465" y="314"/>
                </a:lnTo>
                <a:lnTo>
                  <a:pt x="5491" y="287"/>
                </a:lnTo>
                <a:lnTo>
                  <a:pt x="5512" y="267"/>
                </a:lnTo>
                <a:lnTo>
                  <a:pt x="5512" y="267"/>
                </a:lnTo>
                <a:lnTo>
                  <a:pt x="5511" y="268"/>
                </a:lnTo>
                <a:lnTo>
                  <a:pt x="5516" y="261"/>
                </a:lnTo>
                <a:lnTo>
                  <a:pt x="5522" y="254"/>
                </a:lnTo>
                <a:lnTo>
                  <a:pt x="5522" y="254"/>
                </a:lnTo>
                <a:lnTo>
                  <a:pt x="5520" y="255"/>
                </a:lnTo>
                <a:lnTo>
                  <a:pt x="5520" y="255"/>
                </a:lnTo>
                <a:lnTo>
                  <a:pt x="5545" y="230"/>
                </a:lnTo>
                <a:lnTo>
                  <a:pt x="5551" y="226"/>
                </a:lnTo>
                <a:lnTo>
                  <a:pt x="5552" y="225"/>
                </a:lnTo>
                <a:lnTo>
                  <a:pt x="5551" y="226"/>
                </a:lnTo>
                <a:lnTo>
                  <a:pt x="5551" y="226"/>
                </a:lnTo>
                <a:lnTo>
                  <a:pt x="5540" y="239"/>
                </a:lnTo>
                <a:lnTo>
                  <a:pt x="5534" y="246"/>
                </a:lnTo>
                <a:lnTo>
                  <a:pt x="5570" y="207"/>
                </a:lnTo>
                <a:lnTo>
                  <a:pt x="5570" y="207"/>
                </a:lnTo>
                <a:lnTo>
                  <a:pt x="5586" y="193"/>
                </a:lnTo>
                <a:lnTo>
                  <a:pt x="5594" y="184"/>
                </a:lnTo>
                <a:lnTo>
                  <a:pt x="5594" y="184"/>
                </a:lnTo>
                <a:lnTo>
                  <a:pt x="5618" y="161"/>
                </a:lnTo>
                <a:lnTo>
                  <a:pt x="5630" y="148"/>
                </a:lnTo>
                <a:lnTo>
                  <a:pt x="5639" y="138"/>
                </a:lnTo>
                <a:lnTo>
                  <a:pt x="5639" y="138"/>
                </a:lnTo>
                <a:lnTo>
                  <a:pt x="5622" y="155"/>
                </a:lnTo>
                <a:lnTo>
                  <a:pt x="5611" y="166"/>
                </a:lnTo>
                <a:lnTo>
                  <a:pt x="5616" y="161"/>
                </a:lnTo>
                <a:lnTo>
                  <a:pt x="5614" y="163"/>
                </a:lnTo>
                <a:lnTo>
                  <a:pt x="5628" y="145"/>
                </a:lnTo>
                <a:lnTo>
                  <a:pt x="5628" y="145"/>
                </a:lnTo>
                <a:lnTo>
                  <a:pt x="5621" y="152"/>
                </a:lnTo>
                <a:lnTo>
                  <a:pt x="5618" y="157"/>
                </a:lnTo>
                <a:lnTo>
                  <a:pt x="5615" y="161"/>
                </a:lnTo>
                <a:lnTo>
                  <a:pt x="5604" y="172"/>
                </a:lnTo>
                <a:lnTo>
                  <a:pt x="5604" y="172"/>
                </a:lnTo>
                <a:lnTo>
                  <a:pt x="5600" y="175"/>
                </a:lnTo>
                <a:lnTo>
                  <a:pt x="5603" y="173"/>
                </a:lnTo>
                <a:lnTo>
                  <a:pt x="5615" y="158"/>
                </a:lnTo>
                <a:lnTo>
                  <a:pt x="5628" y="144"/>
                </a:lnTo>
                <a:lnTo>
                  <a:pt x="5629" y="141"/>
                </a:lnTo>
                <a:lnTo>
                  <a:pt x="5625" y="145"/>
                </a:lnTo>
                <a:lnTo>
                  <a:pt x="5625" y="145"/>
                </a:lnTo>
                <a:lnTo>
                  <a:pt x="5611" y="161"/>
                </a:lnTo>
                <a:lnTo>
                  <a:pt x="5600" y="175"/>
                </a:lnTo>
                <a:lnTo>
                  <a:pt x="5603" y="170"/>
                </a:lnTo>
                <a:lnTo>
                  <a:pt x="5573" y="202"/>
                </a:lnTo>
                <a:lnTo>
                  <a:pt x="5573" y="202"/>
                </a:lnTo>
                <a:lnTo>
                  <a:pt x="5576" y="198"/>
                </a:lnTo>
                <a:lnTo>
                  <a:pt x="5580" y="194"/>
                </a:lnTo>
                <a:lnTo>
                  <a:pt x="5580" y="194"/>
                </a:lnTo>
                <a:lnTo>
                  <a:pt x="5540" y="235"/>
                </a:lnTo>
                <a:lnTo>
                  <a:pt x="5498" y="276"/>
                </a:lnTo>
                <a:lnTo>
                  <a:pt x="5498" y="276"/>
                </a:lnTo>
                <a:lnTo>
                  <a:pt x="5502" y="272"/>
                </a:lnTo>
                <a:lnTo>
                  <a:pt x="5501" y="275"/>
                </a:lnTo>
                <a:lnTo>
                  <a:pt x="5492" y="285"/>
                </a:lnTo>
                <a:lnTo>
                  <a:pt x="5492" y="285"/>
                </a:lnTo>
                <a:lnTo>
                  <a:pt x="5478" y="299"/>
                </a:lnTo>
                <a:lnTo>
                  <a:pt x="5466" y="310"/>
                </a:lnTo>
                <a:lnTo>
                  <a:pt x="5466" y="310"/>
                </a:lnTo>
                <a:lnTo>
                  <a:pt x="5476" y="300"/>
                </a:lnTo>
                <a:lnTo>
                  <a:pt x="5487" y="289"/>
                </a:lnTo>
                <a:lnTo>
                  <a:pt x="5485" y="289"/>
                </a:lnTo>
                <a:lnTo>
                  <a:pt x="5485" y="289"/>
                </a:lnTo>
                <a:lnTo>
                  <a:pt x="5508" y="264"/>
                </a:lnTo>
                <a:lnTo>
                  <a:pt x="5537" y="230"/>
                </a:lnTo>
                <a:lnTo>
                  <a:pt x="5537" y="230"/>
                </a:lnTo>
                <a:lnTo>
                  <a:pt x="5555" y="211"/>
                </a:lnTo>
                <a:lnTo>
                  <a:pt x="5590" y="176"/>
                </a:lnTo>
                <a:lnTo>
                  <a:pt x="5579" y="186"/>
                </a:lnTo>
                <a:lnTo>
                  <a:pt x="5579" y="186"/>
                </a:lnTo>
                <a:lnTo>
                  <a:pt x="5589" y="175"/>
                </a:lnTo>
                <a:lnTo>
                  <a:pt x="5593" y="172"/>
                </a:lnTo>
                <a:lnTo>
                  <a:pt x="5597" y="168"/>
                </a:lnTo>
                <a:lnTo>
                  <a:pt x="5611" y="152"/>
                </a:lnTo>
                <a:lnTo>
                  <a:pt x="5611" y="152"/>
                </a:lnTo>
                <a:lnTo>
                  <a:pt x="5632" y="134"/>
                </a:lnTo>
                <a:lnTo>
                  <a:pt x="5637" y="130"/>
                </a:lnTo>
                <a:lnTo>
                  <a:pt x="5632" y="137"/>
                </a:lnTo>
                <a:lnTo>
                  <a:pt x="5632" y="137"/>
                </a:lnTo>
                <a:lnTo>
                  <a:pt x="5655" y="112"/>
                </a:lnTo>
                <a:lnTo>
                  <a:pt x="5678" y="90"/>
                </a:lnTo>
                <a:lnTo>
                  <a:pt x="5678" y="90"/>
                </a:lnTo>
                <a:lnTo>
                  <a:pt x="5682" y="85"/>
                </a:lnTo>
                <a:lnTo>
                  <a:pt x="5681" y="88"/>
                </a:lnTo>
                <a:lnTo>
                  <a:pt x="5676" y="92"/>
                </a:lnTo>
                <a:lnTo>
                  <a:pt x="5675" y="95"/>
                </a:lnTo>
                <a:lnTo>
                  <a:pt x="5676" y="95"/>
                </a:lnTo>
                <a:lnTo>
                  <a:pt x="5676" y="95"/>
                </a:lnTo>
                <a:lnTo>
                  <a:pt x="5694" y="74"/>
                </a:lnTo>
                <a:lnTo>
                  <a:pt x="5699" y="70"/>
                </a:lnTo>
                <a:lnTo>
                  <a:pt x="5694" y="73"/>
                </a:lnTo>
                <a:lnTo>
                  <a:pt x="5720" y="46"/>
                </a:lnTo>
                <a:lnTo>
                  <a:pt x="5720" y="46"/>
                </a:lnTo>
                <a:lnTo>
                  <a:pt x="5708" y="59"/>
                </a:lnTo>
                <a:lnTo>
                  <a:pt x="5708" y="59"/>
                </a:lnTo>
                <a:lnTo>
                  <a:pt x="5727" y="39"/>
                </a:lnTo>
                <a:lnTo>
                  <a:pt x="5742" y="23"/>
                </a:lnTo>
                <a:lnTo>
                  <a:pt x="5742" y="23"/>
                </a:lnTo>
                <a:lnTo>
                  <a:pt x="5731" y="34"/>
                </a:lnTo>
                <a:lnTo>
                  <a:pt x="5731" y="34"/>
                </a:lnTo>
                <a:lnTo>
                  <a:pt x="5760" y="0"/>
                </a:lnTo>
                <a:lnTo>
                  <a:pt x="5760" y="0"/>
                </a:lnTo>
                <a:lnTo>
                  <a:pt x="5745" y="19"/>
                </a:lnTo>
                <a:lnTo>
                  <a:pt x="5728" y="35"/>
                </a:lnTo>
                <a:lnTo>
                  <a:pt x="5728" y="35"/>
                </a:lnTo>
                <a:lnTo>
                  <a:pt x="5731" y="31"/>
                </a:lnTo>
                <a:lnTo>
                  <a:pt x="5739" y="21"/>
                </a:lnTo>
                <a:lnTo>
                  <a:pt x="5739" y="21"/>
                </a:lnTo>
                <a:lnTo>
                  <a:pt x="5720" y="41"/>
                </a:lnTo>
                <a:lnTo>
                  <a:pt x="5707" y="55"/>
                </a:lnTo>
                <a:lnTo>
                  <a:pt x="5707" y="55"/>
                </a:lnTo>
                <a:lnTo>
                  <a:pt x="5720" y="41"/>
                </a:lnTo>
                <a:lnTo>
                  <a:pt x="5727" y="33"/>
                </a:lnTo>
                <a:lnTo>
                  <a:pt x="5727" y="33"/>
                </a:lnTo>
                <a:lnTo>
                  <a:pt x="5690" y="72"/>
                </a:lnTo>
                <a:lnTo>
                  <a:pt x="5690" y="72"/>
                </a:lnTo>
                <a:lnTo>
                  <a:pt x="5683" y="78"/>
                </a:lnTo>
                <a:lnTo>
                  <a:pt x="5672" y="91"/>
                </a:lnTo>
                <a:lnTo>
                  <a:pt x="5662" y="99"/>
                </a:lnTo>
                <a:lnTo>
                  <a:pt x="5661" y="101"/>
                </a:lnTo>
                <a:lnTo>
                  <a:pt x="5664" y="98"/>
                </a:lnTo>
                <a:lnTo>
                  <a:pt x="5664" y="98"/>
                </a:lnTo>
                <a:lnTo>
                  <a:pt x="5640" y="123"/>
                </a:lnTo>
                <a:lnTo>
                  <a:pt x="5640" y="123"/>
                </a:lnTo>
                <a:lnTo>
                  <a:pt x="5650" y="111"/>
                </a:lnTo>
                <a:lnTo>
                  <a:pt x="5667" y="92"/>
                </a:lnTo>
                <a:lnTo>
                  <a:pt x="5667" y="92"/>
                </a:lnTo>
                <a:lnTo>
                  <a:pt x="5683" y="74"/>
                </a:lnTo>
                <a:lnTo>
                  <a:pt x="5685" y="74"/>
                </a:lnTo>
                <a:lnTo>
                  <a:pt x="5682" y="76"/>
                </a:lnTo>
                <a:lnTo>
                  <a:pt x="5676" y="84"/>
                </a:lnTo>
                <a:lnTo>
                  <a:pt x="5675" y="85"/>
                </a:lnTo>
                <a:lnTo>
                  <a:pt x="5676" y="84"/>
                </a:lnTo>
                <a:lnTo>
                  <a:pt x="5706" y="53"/>
                </a:lnTo>
                <a:lnTo>
                  <a:pt x="5706" y="53"/>
                </a:lnTo>
                <a:lnTo>
                  <a:pt x="5708" y="51"/>
                </a:lnTo>
                <a:lnTo>
                  <a:pt x="5697" y="60"/>
                </a:lnTo>
                <a:lnTo>
                  <a:pt x="5697" y="60"/>
                </a:lnTo>
                <a:lnTo>
                  <a:pt x="5715" y="39"/>
                </a:lnTo>
                <a:lnTo>
                  <a:pt x="5740" y="14"/>
                </a:lnTo>
                <a:lnTo>
                  <a:pt x="5740" y="14"/>
                </a:lnTo>
                <a:lnTo>
                  <a:pt x="5736" y="17"/>
                </a:lnTo>
                <a:lnTo>
                  <a:pt x="5728" y="26"/>
                </a:lnTo>
                <a:lnTo>
                  <a:pt x="5728" y="26"/>
                </a:lnTo>
                <a:lnTo>
                  <a:pt x="5736" y="14"/>
                </a:lnTo>
                <a:lnTo>
                  <a:pt x="5738" y="14"/>
                </a:lnTo>
                <a:lnTo>
                  <a:pt x="5736" y="14"/>
                </a:lnTo>
                <a:lnTo>
                  <a:pt x="5725" y="27"/>
                </a:lnTo>
                <a:lnTo>
                  <a:pt x="5725" y="27"/>
                </a:lnTo>
                <a:lnTo>
                  <a:pt x="5727" y="26"/>
                </a:lnTo>
                <a:lnTo>
                  <a:pt x="5724" y="28"/>
                </a:lnTo>
                <a:lnTo>
                  <a:pt x="5722" y="31"/>
                </a:lnTo>
                <a:lnTo>
                  <a:pt x="5727" y="27"/>
                </a:lnTo>
                <a:lnTo>
                  <a:pt x="5727" y="27"/>
                </a:lnTo>
                <a:lnTo>
                  <a:pt x="5706" y="48"/>
                </a:lnTo>
                <a:lnTo>
                  <a:pt x="5699" y="55"/>
                </a:lnTo>
                <a:lnTo>
                  <a:pt x="5697" y="55"/>
                </a:lnTo>
                <a:lnTo>
                  <a:pt x="5700" y="53"/>
                </a:lnTo>
                <a:lnTo>
                  <a:pt x="5657" y="99"/>
                </a:lnTo>
                <a:lnTo>
                  <a:pt x="5657" y="99"/>
                </a:lnTo>
                <a:lnTo>
                  <a:pt x="5661" y="95"/>
                </a:lnTo>
                <a:lnTo>
                  <a:pt x="5669" y="85"/>
                </a:lnTo>
                <a:lnTo>
                  <a:pt x="5636" y="122"/>
                </a:lnTo>
                <a:lnTo>
                  <a:pt x="5646" y="112"/>
                </a:lnTo>
                <a:lnTo>
                  <a:pt x="5646" y="112"/>
                </a:lnTo>
                <a:lnTo>
                  <a:pt x="5614" y="147"/>
                </a:lnTo>
                <a:lnTo>
                  <a:pt x="5586" y="177"/>
                </a:lnTo>
                <a:lnTo>
                  <a:pt x="5586" y="177"/>
                </a:lnTo>
                <a:lnTo>
                  <a:pt x="5598" y="163"/>
                </a:lnTo>
                <a:lnTo>
                  <a:pt x="5618" y="141"/>
                </a:lnTo>
                <a:lnTo>
                  <a:pt x="5618" y="141"/>
                </a:lnTo>
                <a:lnTo>
                  <a:pt x="5611" y="148"/>
                </a:lnTo>
                <a:lnTo>
                  <a:pt x="5607" y="154"/>
                </a:lnTo>
                <a:lnTo>
                  <a:pt x="5589" y="173"/>
                </a:lnTo>
                <a:lnTo>
                  <a:pt x="5589" y="173"/>
                </a:lnTo>
                <a:lnTo>
                  <a:pt x="5586" y="175"/>
                </a:lnTo>
                <a:lnTo>
                  <a:pt x="5586" y="175"/>
                </a:lnTo>
                <a:lnTo>
                  <a:pt x="5570" y="193"/>
                </a:lnTo>
                <a:lnTo>
                  <a:pt x="5570" y="193"/>
                </a:lnTo>
                <a:lnTo>
                  <a:pt x="5568" y="194"/>
                </a:lnTo>
                <a:lnTo>
                  <a:pt x="5569" y="191"/>
                </a:lnTo>
                <a:lnTo>
                  <a:pt x="5569" y="191"/>
                </a:lnTo>
                <a:lnTo>
                  <a:pt x="5558" y="205"/>
                </a:lnTo>
                <a:lnTo>
                  <a:pt x="5555" y="208"/>
                </a:lnTo>
                <a:lnTo>
                  <a:pt x="5533" y="232"/>
                </a:lnTo>
                <a:lnTo>
                  <a:pt x="5533" y="232"/>
                </a:lnTo>
                <a:lnTo>
                  <a:pt x="5554" y="211"/>
                </a:lnTo>
                <a:lnTo>
                  <a:pt x="5572" y="191"/>
                </a:lnTo>
                <a:lnTo>
                  <a:pt x="5572" y="191"/>
                </a:lnTo>
                <a:lnTo>
                  <a:pt x="5575" y="190"/>
                </a:lnTo>
                <a:lnTo>
                  <a:pt x="5573" y="191"/>
                </a:lnTo>
                <a:lnTo>
                  <a:pt x="5565" y="200"/>
                </a:lnTo>
                <a:lnTo>
                  <a:pt x="5545" y="222"/>
                </a:lnTo>
                <a:lnTo>
                  <a:pt x="5545" y="222"/>
                </a:lnTo>
                <a:lnTo>
                  <a:pt x="5524" y="243"/>
                </a:lnTo>
                <a:lnTo>
                  <a:pt x="5499" y="267"/>
                </a:lnTo>
                <a:lnTo>
                  <a:pt x="5499" y="267"/>
                </a:lnTo>
                <a:lnTo>
                  <a:pt x="5509" y="257"/>
                </a:lnTo>
                <a:lnTo>
                  <a:pt x="5523" y="242"/>
                </a:lnTo>
                <a:lnTo>
                  <a:pt x="5523" y="242"/>
                </a:lnTo>
                <a:lnTo>
                  <a:pt x="5527" y="236"/>
                </a:lnTo>
                <a:lnTo>
                  <a:pt x="5524" y="240"/>
                </a:lnTo>
                <a:lnTo>
                  <a:pt x="5512" y="250"/>
                </a:lnTo>
                <a:lnTo>
                  <a:pt x="5512" y="250"/>
                </a:lnTo>
                <a:lnTo>
                  <a:pt x="5511" y="253"/>
                </a:lnTo>
                <a:lnTo>
                  <a:pt x="5511" y="253"/>
                </a:lnTo>
                <a:lnTo>
                  <a:pt x="5499" y="265"/>
                </a:lnTo>
                <a:lnTo>
                  <a:pt x="5501" y="264"/>
                </a:lnTo>
                <a:lnTo>
                  <a:pt x="5472" y="294"/>
                </a:lnTo>
                <a:lnTo>
                  <a:pt x="5472" y="294"/>
                </a:lnTo>
                <a:lnTo>
                  <a:pt x="5428" y="338"/>
                </a:lnTo>
                <a:lnTo>
                  <a:pt x="5409" y="357"/>
                </a:lnTo>
                <a:lnTo>
                  <a:pt x="5391" y="372"/>
                </a:lnTo>
                <a:lnTo>
                  <a:pt x="5396" y="370"/>
                </a:lnTo>
                <a:lnTo>
                  <a:pt x="5342" y="421"/>
                </a:lnTo>
                <a:lnTo>
                  <a:pt x="5342" y="421"/>
                </a:lnTo>
                <a:lnTo>
                  <a:pt x="5352" y="411"/>
                </a:lnTo>
                <a:lnTo>
                  <a:pt x="5368" y="396"/>
                </a:lnTo>
                <a:lnTo>
                  <a:pt x="5368" y="396"/>
                </a:lnTo>
                <a:lnTo>
                  <a:pt x="5288" y="471"/>
                </a:lnTo>
                <a:lnTo>
                  <a:pt x="5288" y="471"/>
                </a:lnTo>
                <a:lnTo>
                  <a:pt x="5322" y="444"/>
                </a:lnTo>
                <a:lnTo>
                  <a:pt x="5322" y="444"/>
                </a:lnTo>
                <a:lnTo>
                  <a:pt x="5310" y="456"/>
                </a:lnTo>
                <a:lnTo>
                  <a:pt x="5299" y="464"/>
                </a:lnTo>
                <a:lnTo>
                  <a:pt x="5286" y="474"/>
                </a:lnTo>
                <a:lnTo>
                  <a:pt x="5269" y="490"/>
                </a:lnTo>
                <a:lnTo>
                  <a:pt x="5269" y="490"/>
                </a:lnTo>
                <a:lnTo>
                  <a:pt x="5271" y="488"/>
                </a:lnTo>
                <a:lnTo>
                  <a:pt x="5272" y="487"/>
                </a:lnTo>
                <a:lnTo>
                  <a:pt x="5274" y="485"/>
                </a:lnTo>
                <a:lnTo>
                  <a:pt x="5269" y="487"/>
                </a:lnTo>
                <a:lnTo>
                  <a:pt x="5269" y="487"/>
                </a:lnTo>
                <a:lnTo>
                  <a:pt x="5250" y="506"/>
                </a:lnTo>
                <a:lnTo>
                  <a:pt x="5228" y="526"/>
                </a:lnTo>
                <a:lnTo>
                  <a:pt x="5228" y="526"/>
                </a:lnTo>
                <a:lnTo>
                  <a:pt x="5226" y="527"/>
                </a:lnTo>
                <a:lnTo>
                  <a:pt x="5230" y="522"/>
                </a:lnTo>
                <a:lnTo>
                  <a:pt x="5260" y="495"/>
                </a:lnTo>
                <a:lnTo>
                  <a:pt x="5260" y="495"/>
                </a:lnTo>
                <a:lnTo>
                  <a:pt x="5276" y="481"/>
                </a:lnTo>
                <a:lnTo>
                  <a:pt x="5292" y="466"/>
                </a:lnTo>
                <a:lnTo>
                  <a:pt x="5321" y="439"/>
                </a:lnTo>
                <a:lnTo>
                  <a:pt x="5310" y="449"/>
                </a:lnTo>
                <a:lnTo>
                  <a:pt x="5310" y="449"/>
                </a:lnTo>
                <a:lnTo>
                  <a:pt x="5360" y="400"/>
                </a:lnTo>
                <a:lnTo>
                  <a:pt x="5360" y="402"/>
                </a:lnTo>
                <a:lnTo>
                  <a:pt x="5368" y="392"/>
                </a:lnTo>
                <a:lnTo>
                  <a:pt x="5359" y="402"/>
                </a:lnTo>
                <a:lnTo>
                  <a:pt x="5359" y="402"/>
                </a:lnTo>
                <a:lnTo>
                  <a:pt x="5389" y="370"/>
                </a:lnTo>
                <a:lnTo>
                  <a:pt x="5389" y="370"/>
                </a:lnTo>
                <a:lnTo>
                  <a:pt x="5361" y="398"/>
                </a:lnTo>
                <a:lnTo>
                  <a:pt x="5346" y="414"/>
                </a:lnTo>
                <a:lnTo>
                  <a:pt x="5346" y="414"/>
                </a:lnTo>
                <a:lnTo>
                  <a:pt x="5314" y="442"/>
                </a:lnTo>
                <a:lnTo>
                  <a:pt x="5303" y="453"/>
                </a:lnTo>
                <a:lnTo>
                  <a:pt x="5290" y="464"/>
                </a:lnTo>
                <a:lnTo>
                  <a:pt x="5290" y="464"/>
                </a:lnTo>
                <a:lnTo>
                  <a:pt x="5282" y="470"/>
                </a:lnTo>
                <a:lnTo>
                  <a:pt x="5281" y="471"/>
                </a:lnTo>
                <a:lnTo>
                  <a:pt x="5285" y="467"/>
                </a:lnTo>
                <a:lnTo>
                  <a:pt x="5285" y="467"/>
                </a:lnTo>
                <a:lnTo>
                  <a:pt x="5303" y="450"/>
                </a:lnTo>
                <a:lnTo>
                  <a:pt x="5311" y="442"/>
                </a:lnTo>
                <a:lnTo>
                  <a:pt x="5311" y="442"/>
                </a:lnTo>
                <a:lnTo>
                  <a:pt x="5278" y="473"/>
                </a:lnTo>
                <a:lnTo>
                  <a:pt x="5278" y="473"/>
                </a:lnTo>
                <a:lnTo>
                  <a:pt x="5264" y="487"/>
                </a:lnTo>
                <a:lnTo>
                  <a:pt x="5240" y="510"/>
                </a:lnTo>
                <a:lnTo>
                  <a:pt x="5240" y="510"/>
                </a:lnTo>
                <a:lnTo>
                  <a:pt x="5211" y="537"/>
                </a:lnTo>
                <a:lnTo>
                  <a:pt x="5183" y="559"/>
                </a:lnTo>
                <a:lnTo>
                  <a:pt x="5183" y="559"/>
                </a:lnTo>
                <a:lnTo>
                  <a:pt x="5207" y="537"/>
                </a:lnTo>
                <a:lnTo>
                  <a:pt x="5214" y="531"/>
                </a:lnTo>
                <a:lnTo>
                  <a:pt x="5215" y="530"/>
                </a:lnTo>
                <a:lnTo>
                  <a:pt x="5214" y="530"/>
                </a:lnTo>
                <a:lnTo>
                  <a:pt x="5214" y="530"/>
                </a:lnTo>
                <a:lnTo>
                  <a:pt x="5204" y="540"/>
                </a:lnTo>
                <a:lnTo>
                  <a:pt x="5193" y="548"/>
                </a:lnTo>
                <a:lnTo>
                  <a:pt x="5184" y="555"/>
                </a:lnTo>
                <a:lnTo>
                  <a:pt x="5183" y="556"/>
                </a:lnTo>
                <a:lnTo>
                  <a:pt x="5183" y="556"/>
                </a:lnTo>
                <a:lnTo>
                  <a:pt x="5183" y="556"/>
                </a:lnTo>
                <a:lnTo>
                  <a:pt x="5145" y="587"/>
                </a:lnTo>
                <a:lnTo>
                  <a:pt x="5130" y="600"/>
                </a:lnTo>
                <a:lnTo>
                  <a:pt x="5122" y="605"/>
                </a:lnTo>
                <a:lnTo>
                  <a:pt x="5122" y="605"/>
                </a:lnTo>
                <a:lnTo>
                  <a:pt x="5152" y="580"/>
                </a:lnTo>
                <a:lnTo>
                  <a:pt x="5180" y="558"/>
                </a:lnTo>
                <a:lnTo>
                  <a:pt x="5180" y="558"/>
                </a:lnTo>
                <a:lnTo>
                  <a:pt x="5173" y="563"/>
                </a:lnTo>
                <a:lnTo>
                  <a:pt x="5172" y="563"/>
                </a:lnTo>
                <a:lnTo>
                  <a:pt x="5173" y="563"/>
                </a:lnTo>
                <a:lnTo>
                  <a:pt x="5198" y="541"/>
                </a:lnTo>
                <a:lnTo>
                  <a:pt x="5198" y="541"/>
                </a:lnTo>
                <a:lnTo>
                  <a:pt x="5180" y="556"/>
                </a:lnTo>
                <a:lnTo>
                  <a:pt x="5158" y="574"/>
                </a:lnTo>
                <a:lnTo>
                  <a:pt x="5158" y="574"/>
                </a:lnTo>
                <a:lnTo>
                  <a:pt x="5161" y="573"/>
                </a:lnTo>
                <a:lnTo>
                  <a:pt x="5140" y="590"/>
                </a:lnTo>
                <a:lnTo>
                  <a:pt x="5138" y="588"/>
                </a:lnTo>
                <a:lnTo>
                  <a:pt x="5138" y="588"/>
                </a:lnTo>
                <a:lnTo>
                  <a:pt x="5099" y="620"/>
                </a:lnTo>
                <a:lnTo>
                  <a:pt x="5048" y="659"/>
                </a:lnTo>
                <a:lnTo>
                  <a:pt x="5051" y="657"/>
                </a:lnTo>
                <a:lnTo>
                  <a:pt x="5051" y="657"/>
                </a:lnTo>
                <a:lnTo>
                  <a:pt x="5034" y="669"/>
                </a:lnTo>
                <a:lnTo>
                  <a:pt x="5021" y="679"/>
                </a:lnTo>
                <a:lnTo>
                  <a:pt x="5009" y="690"/>
                </a:lnTo>
                <a:lnTo>
                  <a:pt x="4991" y="704"/>
                </a:lnTo>
                <a:lnTo>
                  <a:pt x="4991" y="704"/>
                </a:lnTo>
                <a:lnTo>
                  <a:pt x="4996" y="698"/>
                </a:lnTo>
                <a:lnTo>
                  <a:pt x="4993" y="700"/>
                </a:lnTo>
                <a:lnTo>
                  <a:pt x="4993" y="700"/>
                </a:lnTo>
                <a:lnTo>
                  <a:pt x="4973" y="714"/>
                </a:lnTo>
                <a:lnTo>
                  <a:pt x="4953" y="726"/>
                </a:lnTo>
                <a:lnTo>
                  <a:pt x="4953" y="726"/>
                </a:lnTo>
                <a:lnTo>
                  <a:pt x="4959" y="724"/>
                </a:lnTo>
                <a:lnTo>
                  <a:pt x="4956" y="726"/>
                </a:lnTo>
                <a:lnTo>
                  <a:pt x="4952" y="729"/>
                </a:lnTo>
                <a:lnTo>
                  <a:pt x="4954" y="728"/>
                </a:lnTo>
                <a:lnTo>
                  <a:pt x="4954" y="728"/>
                </a:lnTo>
                <a:lnTo>
                  <a:pt x="4950" y="732"/>
                </a:lnTo>
                <a:lnTo>
                  <a:pt x="4938" y="740"/>
                </a:lnTo>
                <a:lnTo>
                  <a:pt x="4907" y="760"/>
                </a:lnTo>
                <a:lnTo>
                  <a:pt x="4907" y="760"/>
                </a:lnTo>
                <a:lnTo>
                  <a:pt x="4906" y="761"/>
                </a:lnTo>
                <a:lnTo>
                  <a:pt x="4906" y="760"/>
                </a:lnTo>
                <a:lnTo>
                  <a:pt x="4910" y="757"/>
                </a:lnTo>
                <a:lnTo>
                  <a:pt x="4925" y="747"/>
                </a:lnTo>
                <a:lnTo>
                  <a:pt x="4925" y="747"/>
                </a:lnTo>
                <a:lnTo>
                  <a:pt x="4938" y="738"/>
                </a:lnTo>
                <a:lnTo>
                  <a:pt x="4938" y="738"/>
                </a:lnTo>
                <a:lnTo>
                  <a:pt x="4932" y="740"/>
                </a:lnTo>
                <a:lnTo>
                  <a:pt x="4932" y="740"/>
                </a:lnTo>
                <a:lnTo>
                  <a:pt x="4917" y="751"/>
                </a:lnTo>
                <a:lnTo>
                  <a:pt x="4924" y="747"/>
                </a:lnTo>
                <a:lnTo>
                  <a:pt x="4924" y="747"/>
                </a:lnTo>
                <a:lnTo>
                  <a:pt x="4886" y="771"/>
                </a:lnTo>
                <a:lnTo>
                  <a:pt x="4854" y="789"/>
                </a:lnTo>
                <a:lnTo>
                  <a:pt x="4854" y="789"/>
                </a:lnTo>
                <a:lnTo>
                  <a:pt x="4825" y="809"/>
                </a:lnTo>
                <a:lnTo>
                  <a:pt x="4803" y="822"/>
                </a:lnTo>
                <a:lnTo>
                  <a:pt x="4803" y="822"/>
                </a:lnTo>
                <a:lnTo>
                  <a:pt x="4816" y="813"/>
                </a:lnTo>
                <a:lnTo>
                  <a:pt x="4833" y="803"/>
                </a:lnTo>
                <a:lnTo>
                  <a:pt x="4815" y="816"/>
                </a:lnTo>
                <a:lnTo>
                  <a:pt x="4815" y="816"/>
                </a:lnTo>
                <a:lnTo>
                  <a:pt x="4780" y="834"/>
                </a:lnTo>
                <a:lnTo>
                  <a:pt x="4751" y="849"/>
                </a:lnTo>
                <a:lnTo>
                  <a:pt x="4769" y="839"/>
                </a:lnTo>
                <a:lnTo>
                  <a:pt x="4769" y="839"/>
                </a:lnTo>
                <a:lnTo>
                  <a:pt x="4769" y="839"/>
                </a:lnTo>
                <a:lnTo>
                  <a:pt x="4786" y="829"/>
                </a:lnTo>
                <a:lnTo>
                  <a:pt x="4797" y="822"/>
                </a:lnTo>
                <a:lnTo>
                  <a:pt x="4797" y="822"/>
                </a:lnTo>
                <a:lnTo>
                  <a:pt x="4773" y="836"/>
                </a:lnTo>
                <a:lnTo>
                  <a:pt x="4745" y="852"/>
                </a:lnTo>
                <a:lnTo>
                  <a:pt x="4745" y="852"/>
                </a:lnTo>
                <a:lnTo>
                  <a:pt x="4745" y="852"/>
                </a:lnTo>
                <a:lnTo>
                  <a:pt x="4718" y="866"/>
                </a:lnTo>
                <a:lnTo>
                  <a:pt x="4694" y="877"/>
                </a:lnTo>
                <a:lnTo>
                  <a:pt x="4672" y="888"/>
                </a:lnTo>
                <a:lnTo>
                  <a:pt x="4652" y="898"/>
                </a:lnTo>
                <a:lnTo>
                  <a:pt x="4652" y="898"/>
                </a:lnTo>
                <a:lnTo>
                  <a:pt x="4666" y="892"/>
                </a:lnTo>
                <a:lnTo>
                  <a:pt x="4670" y="891"/>
                </a:lnTo>
                <a:lnTo>
                  <a:pt x="4670" y="889"/>
                </a:lnTo>
                <a:lnTo>
                  <a:pt x="4670" y="891"/>
                </a:lnTo>
                <a:lnTo>
                  <a:pt x="4670" y="891"/>
                </a:lnTo>
                <a:lnTo>
                  <a:pt x="4649" y="899"/>
                </a:lnTo>
                <a:lnTo>
                  <a:pt x="4637" y="905"/>
                </a:lnTo>
                <a:lnTo>
                  <a:pt x="4645" y="901"/>
                </a:lnTo>
                <a:lnTo>
                  <a:pt x="4599" y="920"/>
                </a:lnTo>
                <a:lnTo>
                  <a:pt x="4599" y="920"/>
                </a:lnTo>
                <a:lnTo>
                  <a:pt x="4595" y="924"/>
                </a:lnTo>
                <a:lnTo>
                  <a:pt x="4584" y="930"/>
                </a:lnTo>
                <a:lnTo>
                  <a:pt x="4584" y="930"/>
                </a:lnTo>
                <a:lnTo>
                  <a:pt x="4568" y="935"/>
                </a:lnTo>
                <a:lnTo>
                  <a:pt x="4573" y="933"/>
                </a:lnTo>
                <a:lnTo>
                  <a:pt x="4580" y="928"/>
                </a:lnTo>
                <a:lnTo>
                  <a:pt x="4571" y="931"/>
                </a:lnTo>
                <a:lnTo>
                  <a:pt x="4571" y="931"/>
                </a:lnTo>
                <a:lnTo>
                  <a:pt x="4534" y="948"/>
                </a:lnTo>
                <a:lnTo>
                  <a:pt x="4525" y="951"/>
                </a:lnTo>
                <a:lnTo>
                  <a:pt x="4525" y="951"/>
                </a:lnTo>
                <a:lnTo>
                  <a:pt x="4444" y="980"/>
                </a:lnTo>
                <a:lnTo>
                  <a:pt x="4405" y="994"/>
                </a:lnTo>
                <a:lnTo>
                  <a:pt x="4361" y="1008"/>
                </a:lnTo>
                <a:lnTo>
                  <a:pt x="4361" y="1008"/>
                </a:lnTo>
                <a:lnTo>
                  <a:pt x="4368" y="1005"/>
                </a:lnTo>
                <a:lnTo>
                  <a:pt x="4384" y="999"/>
                </a:lnTo>
                <a:lnTo>
                  <a:pt x="4419" y="987"/>
                </a:lnTo>
                <a:lnTo>
                  <a:pt x="4419" y="987"/>
                </a:lnTo>
                <a:lnTo>
                  <a:pt x="4386" y="998"/>
                </a:lnTo>
                <a:lnTo>
                  <a:pt x="4347" y="1009"/>
                </a:lnTo>
                <a:lnTo>
                  <a:pt x="4347" y="1009"/>
                </a:lnTo>
                <a:lnTo>
                  <a:pt x="4318" y="1019"/>
                </a:lnTo>
                <a:lnTo>
                  <a:pt x="4309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286" y="1027"/>
                </a:lnTo>
                <a:lnTo>
                  <a:pt x="4283" y="1027"/>
                </a:lnTo>
                <a:lnTo>
                  <a:pt x="4283" y="1027"/>
                </a:lnTo>
                <a:lnTo>
                  <a:pt x="4272" y="1031"/>
                </a:lnTo>
                <a:lnTo>
                  <a:pt x="4252" y="1037"/>
                </a:lnTo>
                <a:lnTo>
                  <a:pt x="4212" y="1047"/>
                </a:lnTo>
                <a:lnTo>
                  <a:pt x="4210" y="1047"/>
                </a:lnTo>
                <a:lnTo>
                  <a:pt x="4171" y="1057"/>
                </a:lnTo>
                <a:lnTo>
                  <a:pt x="4171" y="1057"/>
                </a:lnTo>
                <a:lnTo>
                  <a:pt x="4177" y="1057"/>
                </a:lnTo>
                <a:lnTo>
                  <a:pt x="4173" y="1058"/>
                </a:lnTo>
                <a:lnTo>
                  <a:pt x="4163" y="1059"/>
                </a:lnTo>
                <a:lnTo>
                  <a:pt x="4163" y="1059"/>
                </a:lnTo>
                <a:lnTo>
                  <a:pt x="4194" y="1054"/>
                </a:lnTo>
                <a:lnTo>
                  <a:pt x="4224" y="1045"/>
                </a:lnTo>
                <a:lnTo>
                  <a:pt x="4256" y="1037"/>
                </a:lnTo>
                <a:lnTo>
                  <a:pt x="4286" y="1030"/>
                </a:lnTo>
                <a:lnTo>
                  <a:pt x="4286" y="1030"/>
                </a:lnTo>
                <a:lnTo>
                  <a:pt x="4281" y="1031"/>
                </a:lnTo>
                <a:lnTo>
                  <a:pt x="4283" y="1031"/>
                </a:lnTo>
                <a:lnTo>
                  <a:pt x="4283" y="1033"/>
                </a:lnTo>
                <a:lnTo>
                  <a:pt x="4279" y="1034"/>
                </a:lnTo>
                <a:lnTo>
                  <a:pt x="4279" y="1034"/>
                </a:lnTo>
                <a:lnTo>
                  <a:pt x="4266" y="1037"/>
                </a:lnTo>
                <a:lnTo>
                  <a:pt x="4266" y="1037"/>
                </a:lnTo>
                <a:lnTo>
                  <a:pt x="4255" y="1040"/>
                </a:lnTo>
                <a:lnTo>
                  <a:pt x="4265" y="1038"/>
                </a:lnTo>
                <a:lnTo>
                  <a:pt x="4265" y="1038"/>
                </a:lnTo>
                <a:lnTo>
                  <a:pt x="4258" y="1041"/>
                </a:lnTo>
                <a:lnTo>
                  <a:pt x="4241" y="1045"/>
                </a:lnTo>
                <a:lnTo>
                  <a:pt x="4195" y="1057"/>
                </a:lnTo>
                <a:lnTo>
                  <a:pt x="4195" y="1057"/>
                </a:lnTo>
                <a:lnTo>
                  <a:pt x="4189" y="1058"/>
                </a:lnTo>
                <a:lnTo>
                  <a:pt x="4199" y="1054"/>
                </a:lnTo>
                <a:lnTo>
                  <a:pt x="4230" y="1047"/>
                </a:lnTo>
                <a:lnTo>
                  <a:pt x="4230" y="1047"/>
                </a:lnTo>
                <a:lnTo>
                  <a:pt x="4214" y="1051"/>
                </a:lnTo>
                <a:lnTo>
                  <a:pt x="4195" y="1055"/>
                </a:lnTo>
                <a:lnTo>
                  <a:pt x="4198" y="1052"/>
                </a:lnTo>
                <a:lnTo>
                  <a:pt x="4198" y="1052"/>
                </a:lnTo>
                <a:lnTo>
                  <a:pt x="4177" y="1058"/>
                </a:lnTo>
                <a:lnTo>
                  <a:pt x="4180" y="1058"/>
                </a:lnTo>
                <a:lnTo>
                  <a:pt x="4181" y="1059"/>
                </a:lnTo>
                <a:lnTo>
                  <a:pt x="4180" y="1059"/>
                </a:lnTo>
                <a:lnTo>
                  <a:pt x="4180" y="1059"/>
                </a:lnTo>
                <a:lnTo>
                  <a:pt x="4168" y="1062"/>
                </a:lnTo>
                <a:lnTo>
                  <a:pt x="4156" y="1065"/>
                </a:lnTo>
                <a:lnTo>
                  <a:pt x="4132" y="1069"/>
                </a:lnTo>
                <a:lnTo>
                  <a:pt x="4145" y="1066"/>
                </a:lnTo>
                <a:lnTo>
                  <a:pt x="4145" y="1066"/>
                </a:lnTo>
                <a:lnTo>
                  <a:pt x="4111" y="1075"/>
                </a:lnTo>
                <a:lnTo>
                  <a:pt x="4079" y="1080"/>
                </a:lnTo>
                <a:lnTo>
                  <a:pt x="4067" y="1083"/>
                </a:lnTo>
                <a:lnTo>
                  <a:pt x="4067" y="1083"/>
                </a:lnTo>
                <a:lnTo>
                  <a:pt x="4088" y="1079"/>
                </a:lnTo>
                <a:lnTo>
                  <a:pt x="4103" y="1075"/>
                </a:lnTo>
                <a:lnTo>
                  <a:pt x="4115" y="1072"/>
                </a:lnTo>
                <a:lnTo>
                  <a:pt x="4128" y="1069"/>
                </a:lnTo>
                <a:lnTo>
                  <a:pt x="4128" y="1069"/>
                </a:lnTo>
                <a:lnTo>
                  <a:pt x="4109" y="1072"/>
                </a:lnTo>
                <a:lnTo>
                  <a:pt x="4117" y="1069"/>
                </a:lnTo>
                <a:lnTo>
                  <a:pt x="4155" y="1059"/>
                </a:lnTo>
                <a:lnTo>
                  <a:pt x="4155" y="1059"/>
                </a:lnTo>
                <a:lnTo>
                  <a:pt x="4124" y="1066"/>
                </a:lnTo>
                <a:lnTo>
                  <a:pt x="4100" y="1070"/>
                </a:lnTo>
                <a:lnTo>
                  <a:pt x="4100" y="1070"/>
                </a:lnTo>
                <a:lnTo>
                  <a:pt x="4076" y="1076"/>
                </a:lnTo>
                <a:lnTo>
                  <a:pt x="4053" y="1080"/>
                </a:lnTo>
                <a:lnTo>
                  <a:pt x="4028" y="1084"/>
                </a:lnTo>
                <a:lnTo>
                  <a:pt x="4004" y="1090"/>
                </a:lnTo>
                <a:lnTo>
                  <a:pt x="4004" y="1090"/>
                </a:lnTo>
                <a:lnTo>
                  <a:pt x="3998" y="1090"/>
                </a:lnTo>
                <a:lnTo>
                  <a:pt x="4003" y="1090"/>
                </a:lnTo>
                <a:lnTo>
                  <a:pt x="4007" y="1089"/>
                </a:lnTo>
                <a:lnTo>
                  <a:pt x="4001" y="1090"/>
                </a:lnTo>
                <a:lnTo>
                  <a:pt x="3898" y="1107"/>
                </a:lnTo>
                <a:lnTo>
                  <a:pt x="3898" y="1107"/>
                </a:lnTo>
                <a:lnTo>
                  <a:pt x="3884" y="1108"/>
                </a:lnTo>
                <a:lnTo>
                  <a:pt x="3879" y="1108"/>
                </a:lnTo>
                <a:lnTo>
                  <a:pt x="3774" y="1123"/>
                </a:lnTo>
                <a:lnTo>
                  <a:pt x="3774" y="1123"/>
                </a:lnTo>
                <a:lnTo>
                  <a:pt x="3724" y="1130"/>
                </a:lnTo>
                <a:lnTo>
                  <a:pt x="3663" y="1137"/>
                </a:lnTo>
                <a:lnTo>
                  <a:pt x="3676" y="1135"/>
                </a:lnTo>
                <a:lnTo>
                  <a:pt x="3676" y="1135"/>
                </a:lnTo>
                <a:lnTo>
                  <a:pt x="3649" y="1137"/>
                </a:lnTo>
                <a:lnTo>
                  <a:pt x="3629" y="1140"/>
                </a:lnTo>
                <a:lnTo>
                  <a:pt x="3629" y="1140"/>
                </a:lnTo>
                <a:lnTo>
                  <a:pt x="3605" y="1142"/>
                </a:lnTo>
                <a:lnTo>
                  <a:pt x="3573" y="1146"/>
                </a:lnTo>
                <a:lnTo>
                  <a:pt x="3540" y="1149"/>
                </a:lnTo>
                <a:lnTo>
                  <a:pt x="3512" y="1151"/>
                </a:lnTo>
                <a:lnTo>
                  <a:pt x="3512" y="1151"/>
                </a:lnTo>
                <a:lnTo>
                  <a:pt x="3470" y="1155"/>
                </a:lnTo>
                <a:lnTo>
                  <a:pt x="3435" y="1161"/>
                </a:lnTo>
                <a:lnTo>
                  <a:pt x="3435" y="1161"/>
                </a:lnTo>
                <a:lnTo>
                  <a:pt x="3438" y="1160"/>
                </a:lnTo>
                <a:lnTo>
                  <a:pt x="3427" y="1160"/>
                </a:lnTo>
                <a:lnTo>
                  <a:pt x="3427" y="1160"/>
                </a:lnTo>
                <a:lnTo>
                  <a:pt x="3102" y="1194"/>
                </a:lnTo>
                <a:lnTo>
                  <a:pt x="3102" y="1194"/>
                </a:lnTo>
                <a:lnTo>
                  <a:pt x="3112" y="1193"/>
                </a:lnTo>
                <a:lnTo>
                  <a:pt x="3112" y="1193"/>
                </a:lnTo>
                <a:lnTo>
                  <a:pt x="2998" y="1206"/>
                </a:lnTo>
                <a:lnTo>
                  <a:pt x="2895" y="1215"/>
                </a:lnTo>
                <a:lnTo>
                  <a:pt x="2895" y="1215"/>
                </a:lnTo>
                <a:lnTo>
                  <a:pt x="2867" y="1220"/>
                </a:lnTo>
                <a:lnTo>
                  <a:pt x="2857" y="1221"/>
                </a:lnTo>
                <a:lnTo>
                  <a:pt x="2856" y="1221"/>
                </a:lnTo>
                <a:lnTo>
                  <a:pt x="2857" y="1221"/>
                </a:lnTo>
                <a:lnTo>
                  <a:pt x="2857" y="1221"/>
                </a:lnTo>
                <a:lnTo>
                  <a:pt x="2871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44" y="1224"/>
                </a:lnTo>
                <a:lnTo>
                  <a:pt x="2833" y="1225"/>
                </a:lnTo>
                <a:lnTo>
                  <a:pt x="2826" y="1225"/>
                </a:lnTo>
                <a:lnTo>
                  <a:pt x="2807" y="1227"/>
                </a:lnTo>
                <a:lnTo>
                  <a:pt x="2807" y="1227"/>
                </a:lnTo>
                <a:lnTo>
                  <a:pt x="2804" y="1227"/>
                </a:lnTo>
                <a:lnTo>
                  <a:pt x="2805" y="1227"/>
                </a:lnTo>
                <a:lnTo>
                  <a:pt x="2815" y="1225"/>
                </a:lnTo>
                <a:lnTo>
                  <a:pt x="2826" y="1224"/>
                </a:lnTo>
                <a:lnTo>
                  <a:pt x="2831" y="1222"/>
                </a:lnTo>
                <a:lnTo>
                  <a:pt x="2776" y="1228"/>
                </a:lnTo>
                <a:lnTo>
                  <a:pt x="2776" y="1228"/>
                </a:lnTo>
                <a:lnTo>
                  <a:pt x="2730" y="1234"/>
                </a:lnTo>
                <a:lnTo>
                  <a:pt x="2687" y="1236"/>
                </a:lnTo>
                <a:lnTo>
                  <a:pt x="2687" y="1236"/>
                </a:lnTo>
                <a:lnTo>
                  <a:pt x="2695" y="1235"/>
                </a:lnTo>
                <a:lnTo>
                  <a:pt x="2711" y="1234"/>
                </a:lnTo>
                <a:lnTo>
                  <a:pt x="2711" y="1234"/>
                </a:lnTo>
                <a:lnTo>
                  <a:pt x="2706" y="1235"/>
                </a:lnTo>
                <a:lnTo>
                  <a:pt x="2706" y="1235"/>
                </a:lnTo>
                <a:lnTo>
                  <a:pt x="2741" y="1231"/>
                </a:lnTo>
                <a:lnTo>
                  <a:pt x="2772" y="1227"/>
                </a:lnTo>
                <a:lnTo>
                  <a:pt x="2772" y="1227"/>
                </a:lnTo>
                <a:lnTo>
                  <a:pt x="2655" y="1239"/>
                </a:lnTo>
                <a:lnTo>
                  <a:pt x="2655" y="1239"/>
                </a:lnTo>
                <a:lnTo>
                  <a:pt x="2656" y="1239"/>
                </a:lnTo>
                <a:lnTo>
                  <a:pt x="2654" y="1239"/>
                </a:lnTo>
                <a:lnTo>
                  <a:pt x="2644" y="1240"/>
                </a:lnTo>
                <a:lnTo>
                  <a:pt x="2620" y="1243"/>
                </a:lnTo>
                <a:lnTo>
                  <a:pt x="2619" y="1243"/>
                </a:lnTo>
                <a:lnTo>
                  <a:pt x="2619" y="1243"/>
                </a:lnTo>
                <a:lnTo>
                  <a:pt x="2592" y="1247"/>
                </a:lnTo>
                <a:lnTo>
                  <a:pt x="2584" y="1246"/>
                </a:lnTo>
                <a:lnTo>
                  <a:pt x="2584" y="1246"/>
                </a:lnTo>
                <a:lnTo>
                  <a:pt x="2578" y="1247"/>
                </a:lnTo>
                <a:lnTo>
                  <a:pt x="2574" y="1249"/>
                </a:lnTo>
                <a:lnTo>
                  <a:pt x="2574" y="1249"/>
                </a:lnTo>
                <a:lnTo>
                  <a:pt x="2520" y="1254"/>
                </a:lnTo>
                <a:lnTo>
                  <a:pt x="2492" y="1256"/>
                </a:lnTo>
                <a:lnTo>
                  <a:pt x="2478" y="1257"/>
                </a:lnTo>
                <a:lnTo>
                  <a:pt x="2478" y="1257"/>
                </a:lnTo>
                <a:lnTo>
                  <a:pt x="2421" y="1263"/>
                </a:lnTo>
                <a:lnTo>
                  <a:pt x="2421" y="1263"/>
                </a:lnTo>
                <a:lnTo>
                  <a:pt x="2431" y="1261"/>
                </a:lnTo>
                <a:lnTo>
                  <a:pt x="2431" y="1261"/>
                </a:lnTo>
                <a:lnTo>
                  <a:pt x="2344" y="1270"/>
                </a:lnTo>
                <a:lnTo>
                  <a:pt x="2261" y="1277"/>
                </a:lnTo>
                <a:lnTo>
                  <a:pt x="2261" y="1277"/>
                </a:lnTo>
                <a:lnTo>
                  <a:pt x="2159" y="1288"/>
                </a:lnTo>
                <a:lnTo>
                  <a:pt x="2159" y="1288"/>
                </a:lnTo>
                <a:lnTo>
                  <a:pt x="2182" y="1286"/>
                </a:lnTo>
                <a:lnTo>
                  <a:pt x="2188" y="1286"/>
                </a:lnTo>
                <a:lnTo>
                  <a:pt x="2182" y="1288"/>
                </a:lnTo>
                <a:lnTo>
                  <a:pt x="2182" y="1288"/>
                </a:lnTo>
                <a:lnTo>
                  <a:pt x="2136" y="1292"/>
                </a:lnTo>
                <a:lnTo>
                  <a:pt x="2136" y="1292"/>
                </a:lnTo>
                <a:lnTo>
                  <a:pt x="2121" y="1293"/>
                </a:lnTo>
                <a:lnTo>
                  <a:pt x="2116" y="1293"/>
                </a:lnTo>
                <a:lnTo>
                  <a:pt x="2128" y="1292"/>
                </a:lnTo>
                <a:lnTo>
                  <a:pt x="2128" y="1292"/>
                </a:lnTo>
                <a:lnTo>
                  <a:pt x="2113" y="1292"/>
                </a:lnTo>
                <a:lnTo>
                  <a:pt x="2088" y="1295"/>
                </a:lnTo>
                <a:lnTo>
                  <a:pt x="2064" y="1298"/>
                </a:lnTo>
                <a:lnTo>
                  <a:pt x="2054" y="1298"/>
                </a:lnTo>
                <a:lnTo>
                  <a:pt x="2054" y="1298"/>
                </a:lnTo>
                <a:lnTo>
                  <a:pt x="2021" y="1300"/>
                </a:lnTo>
                <a:lnTo>
                  <a:pt x="1980" y="1306"/>
                </a:lnTo>
                <a:lnTo>
                  <a:pt x="1980" y="1306"/>
                </a:lnTo>
                <a:lnTo>
                  <a:pt x="1992" y="1305"/>
                </a:lnTo>
                <a:lnTo>
                  <a:pt x="2005" y="1302"/>
                </a:lnTo>
                <a:lnTo>
                  <a:pt x="1983" y="1305"/>
                </a:lnTo>
                <a:lnTo>
                  <a:pt x="1983" y="1305"/>
                </a:lnTo>
                <a:lnTo>
                  <a:pt x="1983" y="1305"/>
                </a:lnTo>
                <a:lnTo>
                  <a:pt x="1940" y="1309"/>
                </a:lnTo>
                <a:lnTo>
                  <a:pt x="1909" y="1313"/>
                </a:lnTo>
                <a:lnTo>
                  <a:pt x="1909" y="1313"/>
                </a:lnTo>
                <a:lnTo>
                  <a:pt x="1893" y="1314"/>
                </a:lnTo>
                <a:lnTo>
                  <a:pt x="1912" y="1312"/>
                </a:lnTo>
                <a:lnTo>
                  <a:pt x="1912" y="1312"/>
                </a:lnTo>
                <a:lnTo>
                  <a:pt x="1841" y="1320"/>
                </a:lnTo>
                <a:lnTo>
                  <a:pt x="1838" y="1320"/>
                </a:lnTo>
                <a:lnTo>
                  <a:pt x="1820" y="1321"/>
                </a:lnTo>
                <a:lnTo>
                  <a:pt x="1820" y="1321"/>
                </a:lnTo>
                <a:lnTo>
                  <a:pt x="1823" y="1321"/>
                </a:lnTo>
                <a:lnTo>
                  <a:pt x="1823" y="1321"/>
                </a:lnTo>
                <a:lnTo>
                  <a:pt x="1785" y="1325"/>
                </a:lnTo>
                <a:lnTo>
                  <a:pt x="1750" y="1330"/>
                </a:lnTo>
                <a:lnTo>
                  <a:pt x="1750" y="1330"/>
                </a:lnTo>
                <a:lnTo>
                  <a:pt x="1732" y="1330"/>
                </a:lnTo>
                <a:lnTo>
                  <a:pt x="1711" y="1332"/>
                </a:lnTo>
                <a:lnTo>
                  <a:pt x="1714" y="1330"/>
                </a:lnTo>
                <a:lnTo>
                  <a:pt x="1714" y="1330"/>
                </a:lnTo>
                <a:lnTo>
                  <a:pt x="1742" y="1328"/>
                </a:lnTo>
                <a:lnTo>
                  <a:pt x="1771" y="1325"/>
                </a:lnTo>
                <a:lnTo>
                  <a:pt x="1771" y="1325"/>
                </a:lnTo>
                <a:lnTo>
                  <a:pt x="1739" y="1327"/>
                </a:lnTo>
                <a:lnTo>
                  <a:pt x="1693" y="1331"/>
                </a:lnTo>
                <a:lnTo>
                  <a:pt x="1594" y="1341"/>
                </a:lnTo>
                <a:lnTo>
                  <a:pt x="1594" y="1341"/>
                </a:lnTo>
                <a:lnTo>
                  <a:pt x="1512" y="1348"/>
                </a:lnTo>
                <a:lnTo>
                  <a:pt x="1474" y="1352"/>
                </a:lnTo>
                <a:lnTo>
                  <a:pt x="1451" y="1355"/>
                </a:lnTo>
                <a:lnTo>
                  <a:pt x="1455" y="1353"/>
                </a:lnTo>
                <a:lnTo>
                  <a:pt x="1376" y="1359"/>
                </a:lnTo>
                <a:lnTo>
                  <a:pt x="1376" y="1359"/>
                </a:lnTo>
                <a:lnTo>
                  <a:pt x="1275" y="1369"/>
                </a:lnTo>
                <a:lnTo>
                  <a:pt x="1187" y="1377"/>
                </a:lnTo>
                <a:lnTo>
                  <a:pt x="1173" y="1377"/>
                </a:lnTo>
                <a:lnTo>
                  <a:pt x="1173" y="1377"/>
                </a:lnTo>
                <a:lnTo>
                  <a:pt x="1122" y="1383"/>
                </a:lnTo>
                <a:lnTo>
                  <a:pt x="1059" y="1388"/>
                </a:lnTo>
                <a:lnTo>
                  <a:pt x="998" y="1394"/>
                </a:lnTo>
                <a:lnTo>
                  <a:pt x="957" y="1399"/>
                </a:lnTo>
                <a:lnTo>
                  <a:pt x="957" y="1399"/>
                </a:lnTo>
                <a:lnTo>
                  <a:pt x="946" y="1399"/>
                </a:lnTo>
                <a:lnTo>
                  <a:pt x="950" y="1399"/>
                </a:lnTo>
                <a:lnTo>
                  <a:pt x="970" y="1397"/>
                </a:lnTo>
                <a:lnTo>
                  <a:pt x="970" y="1397"/>
                </a:lnTo>
                <a:lnTo>
                  <a:pt x="928" y="1401"/>
                </a:lnTo>
                <a:lnTo>
                  <a:pt x="907" y="1402"/>
                </a:lnTo>
                <a:lnTo>
                  <a:pt x="889" y="1403"/>
                </a:lnTo>
                <a:lnTo>
                  <a:pt x="889" y="1403"/>
                </a:lnTo>
                <a:lnTo>
                  <a:pt x="903" y="1402"/>
                </a:lnTo>
                <a:lnTo>
                  <a:pt x="909" y="1401"/>
                </a:lnTo>
                <a:lnTo>
                  <a:pt x="906" y="1401"/>
                </a:lnTo>
                <a:lnTo>
                  <a:pt x="906" y="1401"/>
                </a:lnTo>
                <a:lnTo>
                  <a:pt x="886" y="1403"/>
                </a:lnTo>
                <a:lnTo>
                  <a:pt x="864" y="1405"/>
                </a:lnTo>
                <a:lnTo>
                  <a:pt x="864" y="1405"/>
                </a:lnTo>
                <a:lnTo>
                  <a:pt x="865" y="1405"/>
                </a:lnTo>
                <a:lnTo>
                  <a:pt x="863" y="1405"/>
                </a:lnTo>
                <a:lnTo>
                  <a:pt x="850" y="1408"/>
                </a:lnTo>
                <a:lnTo>
                  <a:pt x="808" y="1410"/>
                </a:lnTo>
                <a:lnTo>
                  <a:pt x="808" y="1410"/>
                </a:lnTo>
                <a:lnTo>
                  <a:pt x="815" y="1410"/>
                </a:lnTo>
                <a:lnTo>
                  <a:pt x="815" y="1410"/>
                </a:lnTo>
                <a:lnTo>
                  <a:pt x="808" y="1412"/>
                </a:lnTo>
                <a:lnTo>
                  <a:pt x="789" y="1413"/>
                </a:lnTo>
                <a:lnTo>
                  <a:pt x="789" y="1413"/>
                </a:lnTo>
                <a:lnTo>
                  <a:pt x="793" y="1413"/>
                </a:lnTo>
                <a:lnTo>
                  <a:pt x="793" y="1413"/>
                </a:lnTo>
                <a:lnTo>
                  <a:pt x="571" y="1430"/>
                </a:lnTo>
                <a:lnTo>
                  <a:pt x="457" y="1438"/>
                </a:lnTo>
                <a:lnTo>
                  <a:pt x="346" y="1445"/>
                </a:lnTo>
                <a:lnTo>
                  <a:pt x="372" y="1442"/>
                </a:lnTo>
                <a:lnTo>
                  <a:pt x="372" y="1442"/>
                </a:lnTo>
                <a:lnTo>
                  <a:pt x="334" y="1445"/>
                </a:lnTo>
                <a:lnTo>
                  <a:pt x="302" y="1447"/>
                </a:lnTo>
                <a:lnTo>
                  <a:pt x="305" y="1447"/>
                </a:lnTo>
                <a:lnTo>
                  <a:pt x="305" y="1447"/>
                </a:lnTo>
                <a:lnTo>
                  <a:pt x="282" y="1448"/>
                </a:lnTo>
                <a:lnTo>
                  <a:pt x="265" y="1449"/>
                </a:lnTo>
                <a:lnTo>
                  <a:pt x="249" y="1451"/>
                </a:lnTo>
                <a:lnTo>
                  <a:pt x="230" y="1451"/>
                </a:lnTo>
                <a:lnTo>
                  <a:pt x="237" y="1451"/>
                </a:lnTo>
                <a:lnTo>
                  <a:pt x="237" y="1451"/>
                </a:lnTo>
                <a:lnTo>
                  <a:pt x="176" y="1452"/>
                </a:lnTo>
                <a:lnTo>
                  <a:pt x="114" y="1455"/>
                </a:lnTo>
                <a:lnTo>
                  <a:pt x="114" y="1455"/>
                </a:lnTo>
                <a:lnTo>
                  <a:pt x="82" y="1455"/>
                </a:lnTo>
                <a:lnTo>
                  <a:pt x="57" y="1454"/>
                </a:lnTo>
                <a:lnTo>
                  <a:pt x="57" y="1454"/>
                </a:lnTo>
                <a:lnTo>
                  <a:pt x="25" y="1455"/>
                </a:lnTo>
                <a:lnTo>
                  <a:pt x="35" y="1455"/>
                </a:lnTo>
                <a:lnTo>
                  <a:pt x="35" y="1455"/>
                </a:lnTo>
                <a:lnTo>
                  <a:pt x="38" y="1455"/>
                </a:lnTo>
                <a:lnTo>
                  <a:pt x="36" y="1456"/>
                </a:lnTo>
                <a:lnTo>
                  <a:pt x="26" y="1456"/>
                </a:lnTo>
                <a:lnTo>
                  <a:pt x="26" y="1456"/>
                </a:lnTo>
                <a:lnTo>
                  <a:pt x="11" y="1455"/>
                </a:lnTo>
                <a:lnTo>
                  <a:pt x="11" y="1455"/>
                </a:lnTo>
                <a:lnTo>
                  <a:pt x="4" y="1455"/>
                </a:lnTo>
                <a:lnTo>
                  <a:pt x="4" y="1455"/>
                </a:lnTo>
                <a:lnTo>
                  <a:pt x="3" y="1454"/>
                </a:lnTo>
                <a:lnTo>
                  <a:pt x="0" y="1452"/>
                </a:lnTo>
                <a:lnTo>
                  <a:pt x="0" y="1452"/>
                </a:lnTo>
                <a:lnTo>
                  <a:pt x="1" y="1454"/>
                </a:lnTo>
                <a:lnTo>
                  <a:pt x="3" y="1455"/>
                </a:lnTo>
                <a:lnTo>
                  <a:pt x="3" y="1455"/>
                </a:lnTo>
                <a:lnTo>
                  <a:pt x="4" y="1455"/>
                </a:lnTo>
                <a:lnTo>
                  <a:pt x="4" y="1455"/>
                </a:lnTo>
                <a:lnTo>
                  <a:pt x="10" y="1458"/>
                </a:lnTo>
                <a:lnTo>
                  <a:pt x="10" y="1458"/>
                </a:lnTo>
                <a:lnTo>
                  <a:pt x="21" y="1459"/>
                </a:lnTo>
                <a:lnTo>
                  <a:pt x="45" y="1461"/>
                </a:lnTo>
                <a:lnTo>
                  <a:pt x="45" y="1461"/>
                </a:lnTo>
                <a:lnTo>
                  <a:pt x="64" y="1461"/>
                </a:lnTo>
                <a:lnTo>
                  <a:pt x="77" y="1462"/>
                </a:lnTo>
                <a:lnTo>
                  <a:pt x="91" y="1462"/>
                </a:lnTo>
                <a:lnTo>
                  <a:pt x="111" y="1462"/>
                </a:lnTo>
                <a:lnTo>
                  <a:pt x="111" y="1462"/>
                </a:lnTo>
                <a:lnTo>
                  <a:pt x="128" y="1461"/>
                </a:lnTo>
                <a:lnTo>
                  <a:pt x="148" y="1461"/>
                </a:lnTo>
                <a:lnTo>
                  <a:pt x="170" y="1461"/>
                </a:lnTo>
                <a:lnTo>
                  <a:pt x="194" y="1458"/>
                </a:lnTo>
                <a:lnTo>
                  <a:pt x="194" y="1458"/>
                </a:lnTo>
                <a:lnTo>
                  <a:pt x="191" y="1459"/>
                </a:lnTo>
                <a:lnTo>
                  <a:pt x="192" y="1459"/>
                </a:lnTo>
                <a:lnTo>
                  <a:pt x="203" y="1459"/>
                </a:lnTo>
                <a:lnTo>
                  <a:pt x="212" y="1459"/>
                </a:lnTo>
                <a:lnTo>
                  <a:pt x="203" y="1459"/>
                </a:lnTo>
                <a:lnTo>
                  <a:pt x="203" y="1459"/>
                </a:lnTo>
                <a:lnTo>
                  <a:pt x="247" y="1458"/>
                </a:lnTo>
                <a:lnTo>
                  <a:pt x="298" y="1455"/>
                </a:lnTo>
                <a:lnTo>
                  <a:pt x="298" y="1455"/>
                </a:lnTo>
                <a:lnTo>
                  <a:pt x="288" y="1456"/>
                </a:lnTo>
                <a:lnTo>
                  <a:pt x="288" y="1456"/>
                </a:lnTo>
                <a:lnTo>
                  <a:pt x="318" y="1455"/>
                </a:lnTo>
                <a:lnTo>
                  <a:pt x="339" y="1454"/>
                </a:lnTo>
                <a:lnTo>
                  <a:pt x="339" y="1452"/>
                </a:lnTo>
                <a:lnTo>
                  <a:pt x="339" y="1452"/>
                </a:lnTo>
                <a:lnTo>
                  <a:pt x="361" y="1452"/>
                </a:lnTo>
                <a:lnTo>
                  <a:pt x="361" y="1452"/>
                </a:lnTo>
                <a:lnTo>
                  <a:pt x="347" y="1452"/>
                </a:lnTo>
                <a:lnTo>
                  <a:pt x="344" y="1452"/>
                </a:lnTo>
                <a:lnTo>
                  <a:pt x="346" y="1451"/>
                </a:lnTo>
                <a:lnTo>
                  <a:pt x="346" y="1451"/>
                </a:lnTo>
                <a:lnTo>
                  <a:pt x="382" y="1448"/>
                </a:lnTo>
                <a:lnTo>
                  <a:pt x="382" y="1448"/>
                </a:lnTo>
                <a:lnTo>
                  <a:pt x="367" y="1451"/>
                </a:lnTo>
                <a:lnTo>
                  <a:pt x="367" y="1451"/>
                </a:lnTo>
                <a:lnTo>
                  <a:pt x="397" y="1449"/>
                </a:lnTo>
                <a:lnTo>
                  <a:pt x="397" y="1449"/>
                </a:lnTo>
                <a:lnTo>
                  <a:pt x="365" y="1452"/>
                </a:lnTo>
                <a:lnTo>
                  <a:pt x="365" y="1452"/>
                </a:lnTo>
                <a:lnTo>
                  <a:pt x="382" y="1452"/>
                </a:lnTo>
                <a:lnTo>
                  <a:pt x="380" y="1452"/>
                </a:lnTo>
                <a:lnTo>
                  <a:pt x="386" y="1452"/>
                </a:lnTo>
                <a:lnTo>
                  <a:pt x="386" y="1452"/>
                </a:lnTo>
                <a:lnTo>
                  <a:pt x="385" y="1452"/>
                </a:lnTo>
                <a:lnTo>
                  <a:pt x="386" y="1452"/>
                </a:lnTo>
                <a:lnTo>
                  <a:pt x="389" y="1451"/>
                </a:lnTo>
                <a:lnTo>
                  <a:pt x="403" y="1451"/>
                </a:lnTo>
                <a:lnTo>
                  <a:pt x="438" y="1448"/>
                </a:lnTo>
                <a:lnTo>
                  <a:pt x="438" y="1448"/>
                </a:lnTo>
                <a:lnTo>
                  <a:pt x="431" y="1449"/>
                </a:lnTo>
                <a:lnTo>
                  <a:pt x="419" y="1449"/>
                </a:lnTo>
                <a:lnTo>
                  <a:pt x="419" y="1449"/>
                </a:lnTo>
                <a:lnTo>
                  <a:pt x="445" y="1449"/>
                </a:lnTo>
                <a:lnTo>
                  <a:pt x="468" y="1447"/>
                </a:lnTo>
                <a:lnTo>
                  <a:pt x="525" y="1442"/>
                </a:lnTo>
                <a:lnTo>
                  <a:pt x="525" y="1442"/>
                </a:lnTo>
                <a:lnTo>
                  <a:pt x="516" y="1444"/>
                </a:lnTo>
                <a:lnTo>
                  <a:pt x="516" y="1444"/>
                </a:lnTo>
                <a:lnTo>
                  <a:pt x="546" y="1442"/>
                </a:lnTo>
                <a:lnTo>
                  <a:pt x="570" y="1440"/>
                </a:lnTo>
                <a:lnTo>
                  <a:pt x="570" y="1440"/>
                </a:lnTo>
                <a:lnTo>
                  <a:pt x="581" y="1440"/>
                </a:lnTo>
                <a:lnTo>
                  <a:pt x="585" y="1440"/>
                </a:lnTo>
                <a:lnTo>
                  <a:pt x="609" y="1438"/>
                </a:lnTo>
                <a:lnTo>
                  <a:pt x="609" y="1438"/>
                </a:lnTo>
                <a:lnTo>
                  <a:pt x="608" y="1438"/>
                </a:lnTo>
                <a:lnTo>
                  <a:pt x="610" y="1438"/>
                </a:lnTo>
                <a:lnTo>
                  <a:pt x="624" y="1437"/>
                </a:lnTo>
                <a:lnTo>
                  <a:pt x="641" y="1436"/>
                </a:lnTo>
                <a:lnTo>
                  <a:pt x="649" y="1434"/>
                </a:lnTo>
                <a:lnTo>
                  <a:pt x="676" y="1434"/>
                </a:lnTo>
                <a:lnTo>
                  <a:pt x="676" y="1434"/>
                </a:lnTo>
                <a:lnTo>
                  <a:pt x="686" y="1433"/>
                </a:lnTo>
                <a:lnTo>
                  <a:pt x="687" y="1431"/>
                </a:lnTo>
                <a:lnTo>
                  <a:pt x="693" y="1430"/>
                </a:lnTo>
                <a:lnTo>
                  <a:pt x="715" y="1427"/>
                </a:lnTo>
                <a:lnTo>
                  <a:pt x="715" y="1427"/>
                </a:lnTo>
                <a:lnTo>
                  <a:pt x="732" y="1427"/>
                </a:lnTo>
                <a:lnTo>
                  <a:pt x="733" y="1427"/>
                </a:lnTo>
                <a:lnTo>
                  <a:pt x="732" y="1429"/>
                </a:lnTo>
                <a:lnTo>
                  <a:pt x="727" y="1430"/>
                </a:lnTo>
                <a:lnTo>
                  <a:pt x="736" y="1430"/>
                </a:lnTo>
                <a:lnTo>
                  <a:pt x="746" y="1429"/>
                </a:lnTo>
                <a:lnTo>
                  <a:pt x="765" y="1427"/>
                </a:lnTo>
                <a:lnTo>
                  <a:pt x="762" y="1427"/>
                </a:lnTo>
                <a:lnTo>
                  <a:pt x="762" y="1427"/>
                </a:lnTo>
                <a:lnTo>
                  <a:pt x="797" y="1426"/>
                </a:lnTo>
                <a:lnTo>
                  <a:pt x="797" y="1426"/>
                </a:lnTo>
                <a:lnTo>
                  <a:pt x="780" y="1427"/>
                </a:lnTo>
                <a:lnTo>
                  <a:pt x="780" y="1427"/>
                </a:lnTo>
                <a:lnTo>
                  <a:pt x="831" y="1424"/>
                </a:lnTo>
                <a:lnTo>
                  <a:pt x="858" y="1422"/>
                </a:lnTo>
                <a:lnTo>
                  <a:pt x="881" y="1419"/>
                </a:lnTo>
                <a:lnTo>
                  <a:pt x="881" y="1419"/>
                </a:lnTo>
                <a:lnTo>
                  <a:pt x="903" y="1417"/>
                </a:lnTo>
                <a:lnTo>
                  <a:pt x="914" y="1417"/>
                </a:lnTo>
                <a:lnTo>
                  <a:pt x="914" y="1417"/>
                </a:lnTo>
                <a:lnTo>
                  <a:pt x="946" y="1415"/>
                </a:lnTo>
                <a:lnTo>
                  <a:pt x="984" y="1412"/>
                </a:lnTo>
                <a:lnTo>
                  <a:pt x="984" y="1412"/>
                </a:lnTo>
                <a:lnTo>
                  <a:pt x="991" y="1412"/>
                </a:lnTo>
                <a:lnTo>
                  <a:pt x="1009" y="1410"/>
                </a:lnTo>
                <a:lnTo>
                  <a:pt x="1009" y="1410"/>
                </a:lnTo>
                <a:lnTo>
                  <a:pt x="1001" y="1410"/>
                </a:lnTo>
                <a:lnTo>
                  <a:pt x="1013" y="1409"/>
                </a:lnTo>
                <a:lnTo>
                  <a:pt x="1013" y="1409"/>
                </a:lnTo>
                <a:lnTo>
                  <a:pt x="1047" y="1406"/>
                </a:lnTo>
                <a:lnTo>
                  <a:pt x="1075" y="1405"/>
                </a:lnTo>
                <a:lnTo>
                  <a:pt x="1075" y="1405"/>
                </a:lnTo>
                <a:lnTo>
                  <a:pt x="1090" y="1402"/>
                </a:lnTo>
                <a:lnTo>
                  <a:pt x="1091" y="1402"/>
                </a:lnTo>
                <a:lnTo>
                  <a:pt x="1093" y="1401"/>
                </a:lnTo>
                <a:lnTo>
                  <a:pt x="1093" y="1401"/>
                </a:lnTo>
                <a:lnTo>
                  <a:pt x="1127" y="1399"/>
                </a:lnTo>
                <a:lnTo>
                  <a:pt x="1141" y="1398"/>
                </a:lnTo>
                <a:lnTo>
                  <a:pt x="1146" y="1398"/>
                </a:lnTo>
                <a:lnTo>
                  <a:pt x="1144" y="1398"/>
                </a:lnTo>
                <a:lnTo>
                  <a:pt x="1144" y="1398"/>
                </a:lnTo>
                <a:lnTo>
                  <a:pt x="1121" y="1401"/>
                </a:lnTo>
                <a:lnTo>
                  <a:pt x="1112" y="1401"/>
                </a:lnTo>
                <a:lnTo>
                  <a:pt x="1109" y="1402"/>
                </a:lnTo>
                <a:lnTo>
                  <a:pt x="1111" y="1402"/>
                </a:lnTo>
                <a:lnTo>
                  <a:pt x="1111" y="1402"/>
                </a:lnTo>
                <a:lnTo>
                  <a:pt x="1126" y="1401"/>
                </a:lnTo>
                <a:lnTo>
                  <a:pt x="1140" y="1399"/>
                </a:lnTo>
                <a:lnTo>
                  <a:pt x="1140" y="1399"/>
                </a:lnTo>
                <a:lnTo>
                  <a:pt x="1146" y="1399"/>
                </a:lnTo>
                <a:lnTo>
                  <a:pt x="1148" y="1399"/>
                </a:lnTo>
                <a:lnTo>
                  <a:pt x="1148" y="1399"/>
                </a:lnTo>
                <a:lnTo>
                  <a:pt x="1192" y="1397"/>
                </a:lnTo>
                <a:lnTo>
                  <a:pt x="1192" y="1397"/>
                </a:lnTo>
                <a:lnTo>
                  <a:pt x="1183" y="1397"/>
                </a:lnTo>
                <a:lnTo>
                  <a:pt x="1189" y="1395"/>
                </a:lnTo>
                <a:lnTo>
                  <a:pt x="1196" y="1394"/>
                </a:lnTo>
                <a:lnTo>
                  <a:pt x="1193" y="1394"/>
                </a:lnTo>
                <a:lnTo>
                  <a:pt x="1169" y="1398"/>
                </a:lnTo>
                <a:lnTo>
                  <a:pt x="1169" y="1398"/>
                </a:lnTo>
                <a:lnTo>
                  <a:pt x="1154" y="1398"/>
                </a:lnTo>
                <a:lnTo>
                  <a:pt x="1155" y="1398"/>
                </a:lnTo>
                <a:lnTo>
                  <a:pt x="1151" y="1398"/>
                </a:lnTo>
                <a:lnTo>
                  <a:pt x="1151" y="1398"/>
                </a:lnTo>
                <a:lnTo>
                  <a:pt x="1197" y="1392"/>
                </a:lnTo>
                <a:lnTo>
                  <a:pt x="1240" y="1388"/>
                </a:lnTo>
                <a:lnTo>
                  <a:pt x="1271" y="1385"/>
                </a:lnTo>
                <a:lnTo>
                  <a:pt x="1271" y="1385"/>
                </a:lnTo>
                <a:lnTo>
                  <a:pt x="1260" y="1387"/>
                </a:lnTo>
                <a:lnTo>
                  <a:pt x="1267" y="1388"/>
                </a:lnTo>
                <a:lnTo>
                  <a:pt x="1267" y="1388"/>
                </a:lnTo>
                <a:lnTo>
                  <a:pt x="1304" y="1384"/>
                </a:lnTo>
                <a:lnTo>
                  <a:pt x="1338" y="1383"/>
                </a:lnTo>
                <a:lnTo>
                  <a:pt x="1338" y="1383"/>
                </a:lnTo>
                <a:lnTo>
                  <a:pt x="1327" y="1383"/>
                </a:lnTo>
                <a:lnTo>
                  <a:pt x="1335" y="1381"/>
                </a:lnTo>
                <a:lnTo>
                  <a:pt x="1335" y="1381"/>
                </a:lnTo>
                <a:lnTo>
                  <a:pt x="1364" y="1378"/>
                </a:lnTo>
                <a:lnTo>
                  <a:pt x="1366" y="1378"/>
                </a:lnTo>
                <a:lnTo>
                  <a:pt x="1374" y="1378"/>
                </a:lnTo>
                <a:lnTo>
                  <a:pt x="1374" y="1378"/>
                </a:lnTo>
                <a:lnTo>
                  <a:pt x="1466" y="1371"/>
                </a:lnTo>
                <a:lnTo>
                  <a:pt x="1548" y="1364"/>
                </a:lnTo>
                <a:lnTo>
                  <a:pt x="1520" y="1366"/>
                </a:lnTo>
                <a:lnTo>
                  <a:pt x="1512" y="1367"/>
                </a:lnTo>
                <a:lnTo>
                  <a:pt x="1512" y="1367"/>
                </a:lnTo>
                <a:lnTo>
                  <a:pt x="1504" y="1367"/>
                </a:lnTo>
                <a:lnTo>
                  <a:pt x="1507" y="1366"/>
                </a:lnTo>
                <a:lnTo>
                  <a:pt x="1527" y="1363"/>
                </a:lnTo>
                <a:lnTo>
                  <a:pt x="1527" y="1363"/>
                </a:lnTo>
                <a:lnTo>
                  <a:pt x="1546" y="1362"/>
                </a:lnTo>
                <a:lnTo>
                  <a:pt x="1554" y="1360"/>
                </a:lnTo>
                <a:lnTo>
                  <a:pt x="1551" y="1362"/>
                </a:lnTo>
                <a:lnTo>
                  <a:pt x="1586" y="1358"/>
                </a:lnTo>
                <a:lnTo>
                  <a:pt x="1586" y="1358"/>
                </a:lnTo>
                <a:lnTo>
                  <a:pt x="1572" y="1359"/>
                </a:lnTo>
                <a:lnTo>
                  <a:pt x="1569" y="1359"/>
                </a:lnTo>
                <a:lnTo>
                  <a:pt x="1575" y="1358"/>
                </a:lnTo>
                <a:lnTo>
                  <a:pt x="1575" y="1358"/>
                </a:lnTo>
                <a:lnTo>
                  <a:pt x="1600" y="1356"/>
                </a:lnTo>
                <a:lnTo>
                  <a:pt x="1605" y="1356"/>
                </a:lnTo>
                <a:lnTo>
                  <a:pt x="1599" y="1358"/>
                </a:lnTo>
                <a:lnTo>
                  <a:pt x="1599" y="1358"/>
                </a:lnTo>
                <a:lnTo>
                  <a:pt x="1626" y="1355"/>
                </a:lnTo>
                <a:lnTo>
                  <a:pt x="1636" y="1352"/>
                </a:lnTo>
                <a:lnTo>
                  <a:pt x="1636" y="1352"/>
                </a:lnTo>
                <a:lnTo>
                  <a:pt x="1647" y="1352"/>
                </a:lnTo>
                <a:lnTo>
                  <a:pt x="1645" y="1352"/>
                </a:lnTo>
                <a:lnTo>
                  <a:pt x="1621" y="1356"/>
                </a:lnTo>
                <a:lnTo>
                  <a:pt x="1621" y="1356"/>
                </a:lnTo>
                <a:lnTo>
                  <a:pt x="1638" y="1355"/>
                </a:lnTo>
                <a:lnTo>
                  <a:pt x="1633" y="1356"/>
                </a:lnTo>
                <a:lnTo>
                  <a:pt x="1665" y="1353"/>
                </a:lnTo>
                <a:lnTo>
                  <a:pt x="1665" y="1353"/>
                </a:lnTo>
                <a:lnTo>
                  <a:pt x="1651" y="1356"/>
                </a:lnTo>
                <a:lnTo>
                  <a:pt x="1651" y="1356"/>
                </a:lnTo>
                <a:lnTo>
                  <a:pt x="1679" y="1353"/>
                </a:lnTo>
                <a:lnTo>
                  <a:pt x="1706" y="1351"/>
                </a:lnTo>
                <a:lnTo>
                  <a:pt x="1714" y="1349"/>
                </a:lnTo>
                <a:lnTo>
                  <a:pt x="1714" y="1349"/>
                </a:lnTo>
                <a:lnTo>
                  <a:pt x="1820" y="1341"/>
                </a:lnTo>
                <a:lnTo>
                  <a:pt x="1812" y="1341"/>
                </a:lnTo>
                <a:lnTo>
                  <a:pt x="1812" y="1341"/>
                </a:lnTo>
                <a:lnTo>
                  <a:pt x="1834" y="1338"/>
                </a:lnTo>
                <a:lnTo>
                  <a:pt x="1849" y="1337"/>
                </a:lnTo>
                <a:lnTo>
                  <a:pt x="1866" y="1335"/>
                </a:lnTo>
                <a:lnTo>
                  <a:pt x="1897" y="1332"/>
                </a:lnTo>
                <a:lnTo>
                  <a:pt x="1897" y="1332"/>
                </a:lnTo>
                <a:lnTo>
                  <a:pt x="1934" y="1328"/>
                </a:lnTo>
                <a:lnTo>
                  <a:pt x="1943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62" y="1325"/>
                </a:lnTo>
                <a:lnTo>
                  <a:pt x="1975" y="1324"/>
                </a:lnTo>
                <a:lnTo>
                  <a:pt x="1975" y="1324"/>
                </a:lnTo>
                <a:lnTo>
                  <a:pt x="2004" y="1321"/>
                </a:lnTo>
                <a:lnTo>
                  <a:pt x="2040" y="1317"/>
                </a:lnTo>
                <a:lnTo>
                  <a:pt x="2000" y="1321"/>
                </a:lnTo>
                <a:lnTo>
                  <a:pt x="2000" y="1321"/>
                </a:lnTo>
                <a:lnTo>
                  <a:pt x="2028" y="1320"/>
                </a:lnTo>
                <a:lnTo>
                  <a:pt x="2071" y="1316"/>
                </a:lnTo>
                <a:lnTo>
                  <a:pt x="2169" y="1303"/>
                </a:lnTo>
                <a:lnTo>
                  <a:pt x="2169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85" y="1299"/>
                </a:lnTo>
                <a:lnTo>
                  <a:pt x="2185" y="1299"/>
                </a:lnTo>
                <a:lnTo>
                  <a:pt x="2205" y="1298"/>
                </a:lnTo>
                <a:lnTo>
                  <a:pt x="2240" y="1295"/>
                </a:lnTo>
                <a:lnTo>
                  <a:pt x="2240" y="1295"/>
                </a:lnTo>
                <a:lnTo>
                  <a:pt x="2238" y="1295"/>
                </a:lnTo>
                <a:lnTo>
                  <a:pt x="2241" y="1295"/>
                </a:lnTo>
                <a:lnTo>
                  <a:pt x="2251" y="1295"/>
                </a:lnTo>
                <a:lnTo>
                  <a:pt x="2256" y="1295"/>
                </a:lnTo>
                <a:lnTo>
                  <a:pt x="2241" y="1296"/>
                </a:lnTo>
                <a:lnTo>
                  <a:pt x="2241" y="1296"/>
                </a:lnTo>
                <a:lnTo>
                  <a:pt x="2227" y="1298"/>
                </a:lnTo>
                <a:lnTo>
                  <a:pt x="2210" y="1299"/>
                </a:lnTo>
                <a:lnTo>
                  <a:pt x="2210" y="1299"/>
                </a:lnTo>
                <a:lnTo>
                  <a:pt x="2269" y="1295"/>
                </a:lnTo>
                <a:lnTo>
                  <a:pt x="2269" y="1295"/>
                </a:lnTo>
                <a:lnTo>
                  <a:pt x="2241" y="1299"/>
                </a:lnTo>
                <a:lnTo>
                  <a:pt x="2241" y="1299"/>
                </a:lnTo>
                <a:lnTo>
                  <a:pt x="2245" y="1298"/>
                </a:lnTo>
                <a:lnTo>
                  <a:pt x="2242" y="12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426" y="1306170"/>
            <a:ext cx="2712434" cy="1558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reeform 80"/>
          <p:cNvSpPr>
            <a:spLocks/>
          </p:cNvSpPr>
          <p:nvPr userDrawn="1"/>
        </p:nvSpPr>
        <p:spPr bwMode="auto">
          <a:xfrm>
            <a:off x="-6670675" y="4348163"/>
            <a:ext cx="13284200" cy="1938338"/>
          </a:xfrm>
          <a:custGeom>
            <a:avLst/>
            <a:gdLst>
              <a:gd name="T0" fmla="*/ 3398 w 8368"/>
              <a:gd name="T1" fmla="*/ 972 h 1221"/>
              <a:gd name="T2" fmla="*/ 3597 w 8368"/>
              <a:gd name="T3" fmla="*/ 954 h 1221"/>
              <a:gd name="T4" fmla="*/ 3673 w 8368"/>
              <a:gd name="T5" fmla="*/ 942 h 1221"/>
              <a:gd name="T6" fmla="*/ 3777 w 8368"/>
              <a:gd name="T7" fmla="*/ 934 h 1221"/>
              <a:gd name="T8" fmla="*/ 4168 w 8368"/>
              <a:gd name="T9" fmla="*/ 894 h 1221"/>
              <a:gd name="T10" fmla="*/ 4427 w 8368"/>
              <a:gd name="T11" fmla="*/ 864 h 1221"/>
              <a:gd name="T12" fmla="*/ 4571 w 8368"/>
              <a:gd name="T13" fmla="*/ 848 h 1221"/>
              <a:gd name="T14" fmla="*/ 4753 w 8368"/>
              <a:gd name="T15" fmla="*/ 826 h 1221"/>
              <a:gd name="T16" fmla="*/ 4890 w 8368"/>
              <a:gd name="T17" fmla="*/ 816 h 1221"/>
              <a:gd name="T18" fmla="*/ 5064 w 8368"/>
              <a:gd name="T19" fmla="*/ 796 h 1221"/>
              <a:gd name="T20" fmla="*/ 5403 w 8368"/>
              <a:gd name="T21" fmla="*/ 760 h 1221"/>
              <a:gd name="T22" fmla="*/ 5587 w 8368"/>
              <a:gd name="T23" fmla="*/ 736 h 1221"/>
              <a:gd name="T24" fmla="*/ 5788 w 8368"/>
              <a:gd name="T25" fmla="*/ 708 h 1221"/>
              <a:gd name="T26" fmla="*/ 5954 w 8368"/>
              <a:gd name="T27" fmla="*/ 688 h 1221"/>
              <a:gd name="T28" fmla="*/ 6153 w 8368"/>
              <a:gd name="T29" fmla="*/ 651 h 1221"/>
              <a:gd name="T30" fmla="*/ 6505 w 8368"/>
              <a:gd name="T31" fmla="*/ 583 h 1221"/>
              <a:gd name="T32" fmla="*/ 6750 w 8368"/>
              <a:gd name="T33" fmla="*/ 529 h 1221"/>
              <a:gd name="T34" fmla="*/ 6862 w 8368"/>
              <a:gd name="T35" fmla="*/ 497 h 1221"/>
              <a:gd name="T36" fmla="*/ 7031 w 8368"/>
              <a:gd name="T37" fmla="*/ 445 h 1221"/>
              <a:gd name="T38" fmla="*/ 7211 w 8368"/>
              <a:gd name="T39" fmla="*/ 397 h 1221"/>
              <a:gd name="T40" fmla="*/ 7279 w 8368"/>
              <a:gd name="T41" fmla="*/ 371 h 1221"/>
              <a:gd name="T42" fmla="*/ 7572 w 8368"/>
              <a:gd name="T43" fmla="*/ 281 h 1221"/>
              <a:gd name="T44" fmla="*/ 7799 w 8368"/>
              <a:gd name="T45" fmla="*/ 204 h 1221"/>
              <a:gd name="T46" fmla="*/ 8003 w 8368"/>
              <a:gd name="T47" fmla="*/ 132 h 1221"/>
              <a:gd name="T48" fmla="*/ 8109 w 8368"/>
              <a:gd name="T49" fmla="*/ 90 h 1221"/>
              <a:gd name="T50" fmla="*/ 7947 w 8368"/>
              <a:gd name="T51" fmla="*/ 140 h 1221"/>
              <a:gd name="T52" fmla="*/ 8240 w 8368"/>
              <a:gd name="T53" fmla="*/ 48 h 1221"/>
              <a:gd name="T54" fmla="*/ 8306 w 8368"/>
              <a:gd name="T55" fmla="*/ 16 h 1221"/>
              <a:gd name="T56" fmla="*/ 8254 w 8368"/>
              <a:gd name="T57" fmla="*/ 32 h 1221"/>
              <a:gd name="T58" fmla="*/ 8202 w 8368"/>
              <a:gd name="T59" fmla="*/ 44 h 1221"/>
              <a:gd name="T60" fmla="*/ 7941 w 8368"/>
              <a:gd name="T61" fmla="*/ 138 h 1221"/>
              <a:gd name="T62" fmla="*/ 7829 w 8368"/>
              <a:gd name="T63" fmla="*/ 178 h 1221"/>
              <a:gd name="T64" fmla="*/ 7462 w 8368"/>
              <a:gd name="T65" fmla="*/ 303 h 1221"/>
              <a:gd name="T66" fmla="*/ 7500 w 8368"/>
              <a:gd name="T67" fmla="*/ 287 h 1221"/>
              <a:gd name="T68" fmla="*/ 7313 w 8368"/>
              <a:gd name="T69" fmla="*/ 347 h 1221"/>
              <a:gd name="T70" fmla="*/ 7093 w 8368"/>
              <a:gd name="T71" fmla="*/ 409 h 1221"/>
              <a:gd name="T72" fmla="*/ 6886 w 8368"/>
              <a:gd name="T73" fmla="*/ 471 h 1221"/>
              <a:gd name="T74" fmla="*/ 6686 w 8368"/>
              <a:gd name="T75" fmla="*/ 519 h 1221"/>
              <a:gd name="T76" fmla="*/ 6363 w 8368"/>
              <a:gd name="T77" fmla="*/ 593 h 1221"/>
              <a:gd name="T78" fmla="*/ 5934 w 8368"/>
              <a:gd name="T79" fmla="*/ 663 h 1221"/>
              <a:gd name="T80" fmla="*/ 5890 w 8368"/>
              <a:gd name="T81" fmla="*/ 677 h 1221"/>
              <a:gd name="T82" fmla="*/ 5734 w 8368"/>
              <a:gd name="T83" fmla="*/ 700 h 1221"/>
              <a:gd name="T84" fmla="*/ 5533 w 8368"/>
              <a:gd name="T85" fmla="*/ 718 h 1221"/>
              <a:gd name="T86" fmla="*/ 4753 w 8368"/>
              <a:gd name="T87" fmla="*/ 804 h 1221"/>
              <a:gd name="T88" fmla="*/ 3877 w 8368"/>
              <a:gd name="T89" fmla="*/ 898 h 1221"/>
              <a:gd name="T90" fmla="*/ 3621 w 8368"/>
              <a:gd name="T91" fmla="*/ 922 h 1221"/>
              <a:gd name="T92" fmla="*/ 3017 w 8368"/>
              <a:gd name="T93" fmla="*/ 984 h 1221"/>
              <a:gd name="T94" fmla="*/ 2644 w 8368"/>
              <a:gd name="T95" fmla="*/ 1018 h 1221"/>
              <a:gd name="T96" fmla="*/ 2005 w 8368"/>
              <a:gd name="T97" fmla="*/ 1078 h 1221"/>
              <a:gd name="T98" fmla="*/ 1253 w 8368"/>
              <a:gd name="T99" fmla="*/ 1141 h 1221"/>
              <a:gd name="T100" fmla="*/ 421 w 8368"/>
              <a:gd name="T101" fmla="*/ 1201 h 1221"/>
              <a:gd name="T102" fmla="*/ 4 w 8368"/>
              <a:gd name="T103" fmla="*/ 1207 h 1221"/>
              <a:gd name="T104" fmla="*/ 281 w 8368"/>
              <a:gd name="T105" fmla="*/ 1217 h 1221"/>
              <a:gd name="T106" fmla="*/ 547 w 8368"/>
              <a:gd name="T107" fmla="*/ 1205 h 1221"/>
              <a:gd name="T108" fmla="*/ 788 w 8368"/>
              <a:gd name="T109" fmla="*/ 1195 h 1221"/>
              <a:gd name="T110" fmla="*/ 1055 w 8368"/>
              <a:gd name="T111" fmla="*/ 1177 h 1221"/>
              <a:gd name="T112" fmla="*/ 1486 w 8368"/>
              <a:gd name="T113" fmla="*/ 1147 h 1221"/>
              <a:gd name="T114" fmla="*/ 1644 w 8368"/>
              <a:gd name="T115" fmla="*/ 1135 h 1221"/>
              <a:gd name="T116" fmla="*/ 1901 w 8368"/>
              <a:gd name="T117" fmla="*/ 1112 h 1221"/>
              <a:gd name="T118" fmla="*/ 2247 w 8368"/>
              <a:gd name="T119" fmla="*/ 1078 h 1221"/>
              <a:gd name="T120" fmla="*/ 2624 w 8368"/>
              <a:gd name="T121" fmla="*/ 1048 h 1221"/>
              <a:gd name="T122" fmla="*/ 3095 w 8368"/>
              <a:gd name="T123" fmla="*/ 996 h 1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68" h="1221">
                <a:moveTo>
                  <a:pt x="3101" y="1000"/>
                </a:moveTo>
                <a:lnTo>
                  <a:pt x="3101" y="1000"/>
                </a:lnTo>
                <a:lnTo>
                  <a:pt x="3075" y="1002"/>
                </a:lnTo>
                <a:lnTo>
                  <a:pt x="3083" y="1002"/>
                </a:lnTo>
                <a:lnTo>
                  <a:pt x="3099" y="1002"/>
                </a:lnTo>
                <a:lnTo>
                  <a:pt x="3105" y="1002"/>
                </a:lnTo>
                <a:lnTo>
                  <a:pt x="3105" y="1002"/>
                </a:lnTo>
                <a:lnTo>
                  <a:pt x="3135" y="1000"/>
                </a:lnTo>
                <a:lnTo>
                  <a:pt x="3145" y="998"/>
                </a:lnTo>
                <a:lnTo>
                  <a:pt x="3141" y="998"/>
                </a:lnTo>
                <a:lnTo>
                  <a:pt x="3141" y="998"/>
                </a:lnTo>
                <a:lnTo>
                  <a:pt x="3172" y="996"/>
                </a:lnTo>
                <a:lnTo>
                  <a:pt x="3210" y="992"/>
                </a:lnTo>
                <a:lnTo>
                  <a:pt x="3248" y="988"/>
                </a:lnTo>
                <a:lnTo>
                  <a:pt x="3280" y="986"/>
                </a:lnTo>
                <a:lnTo>
                  <a:pt x="3280" y="986"/>
                </a:lnTo>
                <a:lnTo>
                  <a:pt x="3274" y="986"/>
                </a:lnTo>
                <a:lnTo>
                  <a:pt x="3284" y="984"/>
                </a:lnTo>
                <a:lnTo>
                  <a:pt x="3284" y="984"/>
                </a:lnTo>
                <a:lnTo>
                  <a:pt x="3318" y="980"/>
                </a:lnTo>
                <a:lnTo>
                  <a:pt x="3334" y="980"/>
                </a:lnTo>
                <a:lnTo>
                  <a:pt x="3334" y="980"/>
                </a:lnTo>
                <a:lnTo>
                  <a:pt x="3398" y="972"/>
                </a:lnTo>
                <a:lnTo>
                  <a:pt x="3398" y="972"/>
                </a:lnTo>
                <a:lnTo>
                  <a:pt x="3404" y="972"/>
                </a:lnTo>
                <a:lnTo>
                  <a:pt x="3398" y="970"/>
                </a:lnTo>
                <a:lnTo>
                  <a:pt x="3392" y="970"/>
                </a:lnTo>
                <a:lnTo>
                  <a:pt x="3404" y="968"/>
                </a:lnTo>
                <a:lnTo>
                  <a:pt x="3404" y="968"/>
                </a:lnTo>
                <a:lnTo>
                  <a:pt x="3444" y="964"/>
                </a:lnTo>
                <a:lnTo>
                  <a:pt x="3488" y="960"/>
                </a:lnTo>
                <a:lnTo>
                  <a:pt x="3488" y="960"/>
                </a:lnTo>
                <a:lnTo>
                  <a:pt x="3496" y="958"/>
                </a:lnTo>
                <a:lnTo>
                  <a:pt x="3482" y="960"/>
                </a:lnTo>
                <a:lnTo>
                  <a:pt x="3442" y="966"/>
                </a:lnTo>
                <a:lnTo>
                  <a:pt x="3536" y="956"/>
                </a:lnTo>
                <a:lnTo>
                  <a:pt x="3536" y="956"/>
                </a:lnTo>
                <a:lnTo>
                  <a:pt x="3544" y="954"/>
                </a:lnTo>
                <a:lnTo>
                  <a:pt x="3536" y="956"/>
                </a:lnTo>
                <a:lnTo>
                  <a:pt x="3496" y="960"/>
                </a:lnTo>
                <a:lnTo>
                  <a:pt x="3496" y="960"/>
                </a:lnTo>
                <a:lnTo>
                  <a:pt x="3554" y="956"/>
                </a:lnTo>
                <a:lnTo>
                  <a:pt x="3593" y="950"/>
                </a:lnTo>
                <a:lnTo>
                  <a:pt x="3593" y="950"/>
                </a:lnTo>
                <a:lnTo>
                  <a:pt x="3651" y="944"/>
                </a:lnTo>
                <a:lnTo>
                  <a:pt x="3651" y="944"/>
                </a:lnTo>
                <a:lnTo>
                  <a:pt x="3629" y="948"/>
                </a:lnTo>
                <a:lnTo>
                  <a:pt x="3597" y="954"/>
                </a:lnTo>
                <a:lnTo>
                  <a:pt x="3597" y="954"/>
                </a:lnTo>
                <a:lnTo>
                  <a:pt x="3575" y="956"/>
                </a:lnTo>
                <a:lnTo>
                  <a:pt x="3579" y="954"/>
                </a:lnTo>
                <a:lnTo>
                  <a:pt x="3585" y="952"/>
                </a:lnTo>
                <a:lnTo>
                  <a:pt x="3569" y="954"/>
                </a:lnTo>
                <a:lnTo>
                  <a:pt x="3564" y="956"/>
                </a:lnTo>
                <a:lnTo>
                  <a:pt x="3564" y="956"/>
                </a:lnTo>
                <a:lnTo>
                  <a:pt x="3534" y="958"/>
                </a:lnTo>
                <a:lnTo>
                  <a:pt x="3504" y="962"/>
                </a:lnTo>
                <a:lnTo>
                  <a:pt x="3504" y="962"/>
                </a:lnTo>
                <a:lnTo>
                  <a:pt x="3500" y="962"/>
                </a:lnTo>
                <a:lnTo>
                  <a:pt x="3502" y="962"/>
                </a:lnTo>
                <a:lnTo>
                  <a:pt x="3514" y="960"/>
                </a:lnTo>
                <a:lnTo>
                  <a:pt x="3514" y="960"/>
                </a:lnTo>
                <a:lnTo>
                  <a:pt x="3460" y="966"/>
                </a:lnTo>
                <a:lnTo>
                  <a:pt x="3412" y="972"/>
                </a:lnTo>
                <a:lnTo>
                  <a:pt x="3412" y="972"/>
                </a:lnTo>
                <a:lnTo>
                  <a:pt x="3504" y="964"/>
                </a:lnTo>
                <a:lnTo>
                  <a:pt x="3573" y="956"/>
                </a:lnTo>
                <a:lnTo>
                  <a:pt x="3681" y="944"/>
                </a:lnTo>
                <a:lnTo>
                  <a:pt x="3681" y="944"/>
                </a:lnTo>
                <a:lnTo>
                  <a:pt x="3665" y="944"/>
                </a:lnTo>
                <a:lnTo>
                  <a:pt x="3661" y="944"/>
                </a:lnTo>
                <a:lnTo>
                  <a:pt x="3673" y="942"/>
                </a:lnTo>
                <a:lnTo>
                  <a:pt x="3673" y="942"/>
                </a:lnTo>
                <a:lnTo>
                  <a:pt x="3705" y="940"/>
                </a:lnTo>
                <a:lnTo>
                  <a:pt x="3759" y="936"/>
                </a:lnTo>
                <a:lnTo>
                  <a:pt x="3759" y="936"/>
                </a:lnTo>
                <a:lnTo>
                  <a:pt x="3759" y="936"/>
                </a:lnTo>
                <a:lnTo>
                  <a:pt x="3763" y="934"/>
                </a:lnTo>
                <a:lnTo>
                  <a:pt x="3785" y="932"/>
                </a:lnTo>
                <a:lnTo>
                  <a:pt x="3805" y="930"/>
                </a:lnTo>
                <a:lnTo>
                  <a:pt x="3809" y="928"/>
                </a:lnTo>
                <a:lnTo>
                  <a:pt x="3805" y="928"/>
                </a:lnTo>
                <a:lnTo>
                  <a:pt x="3805" y="928"/>
                </a:lnTo>
                <a:lnTo>
                  <a:pt x="3783" y="930"/>
                </a:lnTo>
                <a:lnTo>
                  <a:pt x="3773" y="930"/>
                </a:lnTo>
                <a:lnTo>
                  <a:pt x="3773" y="930"/>
                </a:lnTo>
                <a:lnTo>
                  <a:pt x="3791" y="928"/>
                </a:lnTo>
                <a:lnTo>
                  <a:pt x="3793" y="928"/>
                </a:lnTo>
                <a:lnTo>
                  <a:pt x="3793" y="928"/>
                </a:lnTo>
                <a:lnTo>
                  <a:pt x="3801" y="926"/>
                </a:lnTo>
                <a:lnTo>
                  <a:pt x="3801" y="926"/>
                </a:lnTo>
                <a:lnTo>
                  <a:pt x="3835" y="924"/>
                </a:lnTo>
                <a:lnTo>
                  <a:pt x="3871" y="922"/>
                </a:lnTo>
                <a:lnTo>
                  <a:pt x="3871" y="922"/>
                </a:lnTo>
                <a:lnTo>
                  <a:pt x="3777" y="934"/>
                </a:lnTo>
                <a:lnTo>
                  <a:pt x="3777" y="934"/>
                </a:lnTo>
                <a:lnTo>
                  <a:pt x="3833" y="930"/>
                </a:lnTo>
                <a:lnTo>
                  <a:pt x="3833" y="930"/>
                </a:lnTo>
                <a:lnTo>
                  <a:pt x="3825" y="930"/>
                </a:lnTo>
                <a:lnTo>
                  <a:pt x="3831" y="928"/>
                </a:lnTo>
                <a:lnTo>
                  <a:pt x="3835" y="928"/>
                </a:lnTo>
                <a:lnTo>
                  <a:pt x="3831" y="928"/>
                </a:lnTo>
                <a:lnTo>
                  <a:pt x="3831" y="928"/>
                </a:lnTo>
                <a:lnTo>
                  <a:pt x="4028" y="904"/>
                </a:lnTo>
                <a:lnTo>
                  <a:pt x="4028" y="904"/>
                </a:lnTo>
                <a:lnTo>
                  <a:pt x="4004" y="908"/>
                </a:lnTo>
                <a:lnTo>
                  <a:pt x="3967" y="912"/>
                </a:lnTo>
                <a:lnTo>
                  <a:pt x="3935" y="918"/>
                </a:lnTo>
                <a:lnTo>
                  <a:pt x="3927" y="918"/>
                </a:lnTo>
                <a:lnTo>
                  <a:pt x="3931" y="920"/>
                </a:lnTo>
                <a:lnTo>
                  <a:pt x="3931" y="920"/>
                </a:lnTo>
                <a:lnTo>
                  <a:pt x="3963" y="914"/>
                </a:lnTo>
                <a:lnTo>
                  <a:pt x="3994" y="912"/>
                </a:lnTo>
                <a:lnTo>
                  <a:pt x="3994" y="912"/>
                </a:lnTo>
                <a:lnTo>
                  <a:pt x="4050" y="906"/>
                </a:lnTo>
                <a:lnTo>
                  <a:pt x="4122" y="898"/>
                </a:lnTo>
                <a:lnTo>
                  <a:pt x="4102" y="900"/>
                </a:lnTo>
                <a:lnTo>
                  <a:pt x="4102" y="900"/>
                </a:lnTo>
                <a:lnTo>
                  <a:pt x="4174" y="892"/>
                </a:lnTo>
                <a:lnTo>
                  <a:pt x="4168" y="894"/>
                </a:lnTo>
                <a:lnTo>
                  <a:pt x="4188" y="890"/>
                </a:lnTo>
                <a:lnTo>
                  <a:pt x="4188" y="890"/>
                </a:lnTo>
                <a:lnTo>
                  <a:pt x="4192" y="890"/>
                </a:lnTo>
                <a:lnTo>
                  <a:pt x="4192" y="890"/>
                </a:lnTo>
                <a:lnTo>
                  <a:pt x="4316" y="878"/>
                </a:lnTo>
                <a:lnTo>
                  <a:pt x="4316" y="878"/>
                </a:lnTo>
                <a:lnTo>
                  <a:pt x="4292" y="880"/>
                </a:lnTo>
                <a:lnTo>
                  <a:pt x="4252" y="884"/>
                </a:lnTo>
                <a:lnTo>
                  <a:pt x="4252" y="884"/>
                </a:lnTo>
                <a:lnTo>
                  <a:pt x="4230" y="886"/>
                </a:lnTo>
                <a:lnTo>
                  <a:pt x="4222" y="886"/>
                </a:lnTo>
                <a:lnTo>
                  <a:pt x="4226" y="884"/>
                </a:lnTo>
                <a:lnTo>
                  <a:pt x="4226" y="884"/>
                </a:lnTo>
                <a:lnTo>
                  <a:pt x="4378" y="868"/>
                </a:lnTo>
                <a:lnTo>
                  <a:pt x="4358" y="868"/>
                </a:lnTo>
                <a:lnTo>
                  <a:pt x="4358" y="868"/>
                </a:lnTo>
                <a:lnTo>
                  <a:pt x="4392" y="864"/>
                </a:lnTo>
                <a:lnTo>
                  <a:pt x="4435" y="860"/>
                </a:lnTo>
                <a:lnTo>
                  <a:pt x="4435" y="860"/>
                </a:lnTo>
                <a:lnTo>
                  <a:pt x="4451" y="860"/>
                </a:lnTo>
                <a:lnTo>
                  <a:pt x="4439" y="862"/>
                </a:lnTo>
                <a:lnTo>
                  <a:pt x="4423" y="864"/>
                </a:lnTo>
                <a:lnTo>
                  <a:pt x="4427" y="864"/>
                </a:lnTo>
                <a:lnTo>
                  <a:pt x="4427" y="864"/>
                </a:lnTo>
                <a:lnTo>
                  <a:pt x="4390" y="868"/>
                </a:lnTo>
                <a:lnTo>
                  <a:pt x="4364" y="872"/>
                </a:lnTo>
                <a:lnTo>
                  <a:pt x="4398" y="870"/>
                </a:lnTo>
                <a:lnTo>
                  <a:pt x="4398" y="870"/>
                </a:lnTo>
                <a:lnTo>
                  <a:pt x="4441" y="866"/>
                </a:lnTo>
                <a:lnTo>
                  <a:pt x="4477" y="862"/>
                </a:lnTo>
                <a:lnTo>
                  <a:pt x="4455" y="864"/>
                </a:lnTo>
                <a:lnTo>
                  <a:pt x="4455" y="864"/>
                </a:lnTo>
                <a:lnTo>
                  <a:pt x="4471" y="862"/>
                </a:lnTo>
                <a:lnTo>
                  <a:pt x="4489" y="860"/>
                </a:lnTo>
                <a:lnTo>
                  <a:pt x="4475" y="860"/>
                </a:lnTo>
                <a:lnTo>
                  <a:pt x="4475" y="860"/>
                </a:lnTo>
                <a:lnTo>
                  <a:pt x="4435" y="864"/>
                </a:lnTo>
                <a:lnTo>
                  <a:pt x="4400" y="868"/>
                </a:lnTo>
                <a:lnTo>
                  <a:pt x="4400" y="868"/>
                </a:lnTo>
                <a:lnTo>
                  <a:pt x="4451" y="860"/>
                </a:lnTo>
                <a:lnTo>
                  <a:pt x="4507" y="854"/>
                </a:lnTo>
                <a:lnTo>
                  <a:pt x="4507" y="854"/>
                </a:lnTo>
                <a:lnTo>
                  <a:pt x="4501" y="856"/>
                </a:lnTo>
                <a:lnTo>
                  <a:pt x="4489" y="856"/>
                </a:lnTo>
                <a:lnTo>
                  <a:pt x="4489" y="856"/>
                </a:lnTo>
                <a:lnTo>
                  <a:pt x="4525" y="852"/>
                </a:lnTo>
                <a:lnTo>
                  <a:pt x="4571" y="848"/>
                </a:lnTo>
                <a:lnTo>
                  <a:pt x="4571" y="848"/>
                </a:lnTo>
                <a:lnTo>
                  <a:pt x="4539" y="852"/>
                </a:lnTo>
                <a:lnTo>
                  <a:pt x="4533" y="854"/>
                </a:lnTo>
                <a:lnTo>
                  <a:pt x="4543" y="854"/>
                </a:lnTo>
                <a:lnTo>
                  <a:pt x="4563" y="850"/>
                </a:lnTo>
                <a:lnTo>
                  <a:pt x="4563" y="850"/>
                </a:lnTo>
                <a:lnTo>
                  <a:pt x="4579" y="848"/>
                </a:lnTo>
                <a:lnTo>
                  <a:pt x="4579" y="848"/>
                </a:lnTo>
                <a:lnTo>
                  <a:pt x="4589" y="848"/>
                </a:lnTo>
                <a:lnTo>
                  <a:pt x="4589" y="846"/>
                </a:lnTo>
                <a:lnTo>
                  <a:pt x="4611" y="844"/>
                </a:lnTo>
                <a:lnTo>
                  <a:pt x="4611" y="844"/>
                </a:lnTo>
                <a:lnTo>
                  <a:pt x="4621" y="844"/>
                </a:lnTo>
                <a:lnTo>
                  <a:pt x="4625" y="844"/>
                </a:lnTo>
                <a:lnTo>
                  <a:pt x="4623" y="844"/>
                </a:lnTo>
                <a:lnTo>
                  <a:pt x="4623" y="844"/>
                </a:lnTo>
                <a:lnTo>
                  <a:pt x="4655" y="840"/>
                </a:lnTo>
                <a:lnTo>
                  <a:pt x="4683" y="836"/>
                </a:lnTo>
                <a:lnTo>
                  <a:pt x="4683" y="836"/>
                </a:lnTo>
                <a:lnTo>
                  <a:pt x="4663" y="838"/>
                </a:lnTo>
                <a:lnTo>
                  <a:pt x="4657" y="838"/>
                </a:lnTo>
                <a:lnTo>
                  <a:pt x="4663" y="836"/>
                </a:lnTo>
                <a:lnTo>
                  <a:pt x="4683" y="834"/>
                </a:lnTo>
                <a:lnTo>
                  <a:pt x="4683" y="834"/>
                </a:lnTo>
                <a:lnTo>
                  <a:pt x="4753" y="826"/>
                </a:lnTo>
                <a:lnTo>
                  <a:pt x="4809" y="822"/>
                </a:lnTo>
                <a:lnTo>
                  <a:pt x="4832" y="818"/>
                </a:lnTo>
                <a:lnTo>
                  <a:pt x="4832" y="818"/>
                </a:lnTo>
                <a:lnTo>
                  <a:pt x="4830" y="818"/>
                </a:lnTo>
                <a:lnTo>
                  <a:pt x="4832" y="818"/>
                </a:lnTo>
                <a:lnTo>
                  <a:pt x="4846" y="818"/>
                </a:lnTo>
                <a:lnTo>
                  <a:pt x="4882" y="814"/>
                </a:lnTo>
                <a:lnTo>
                  <a:pt x="4882" y="814"/>
                </a:lnTo>
                <a:lnTo>
                  <a:pt x="4872" y="814"/>
                </a:lnTo>
                <a:lnTo>
                  <a:pt x="4846" y="818"/>
                </a:lnTo>
                <a:lnTo>
                  <a:pt x="4817" y="822"/>
                </a:lnTo>
                <a:lnTo>
                  <a:pt x="4803" y="824"/>
                </a:lnTo>
                <a:lnTo>
                  <a:pt x="4803" y="824"/>
                </a:lnTo>
                <a:lnTo>
                  <a:pt x="4825" y="822"/>
                </a:lnTo>
                <a:lnTo>
                  <a:pt x="4811" y="826"/>
                </a:lnTo>
                <a:lnTo>
                  <a:pt x="4811" y="826"/>
                </a:lnTo>
                <a:lnTo>
                  <a:pt x="4830" y="822"/>
                </a:lnTo>
                <a:lnTo>
                  <a:pt x="4836" y="822"/>
                </a:lnTo>
                <a:lnTo>
                  <a:pt x="4836" y="820"/>
                </a:lnTo>
                <a:lnTo>
                  <a:pt x="4842" y="818"/>
                </a:lnTo>
                <a:lnTo>
                  <a:pt x="4842" y="818"/>
                </a:lnTo>
                <a:lnTo>
                  <a:pt x="4872" y="816"/>
                </a:lnTo>
                <a:lnTo>
                  <a:pt x="4888" y="816"/>
                </a:lnTo>
                <a:lnTo>
                  <a:pt x="4890" y="816"/>
                </a:lnTo>
                <a:lnTo>
                  <a:pt x="4884" y="816"/>
                </a:lnTo>
                <a:lnTo>
                  <a:pt x="4884" y="816"/>
                </a:lnTo>
                <a:lnTo>
                  <a:pt x="4918" y="812"/>
                </a:lnTo>
                <a:lnTo>
                  <a:pt x="4946" y="808"/>
                </a:lnTo>
                <a:lnTo>
                  <a:pt x="4946" y="808"/>
                </a:lnTo>
                <a:lnTo>
                  <a:pt x="4940" y="810"/>
                </a:lnTo>
                <a:lnTo>
                  <a:pt x="4940" y="810"/>
                </a:lnTo>
                <a:lnTo>
                  <a:pt x="4940" y="812"/>
                </a:lnTo>
                <a:lnTo>
                  <a:pt x="4940" y="812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6"/>
                </a:lnTo>
                <a:lnTo>
                  <a:pt x="4962" y="808"/>
                </a:lnTo>
                <a:lnTo>
                  <a:pt x="4962" y="808"/>
                </a:lnTo>
                <a:lnTo>
                  <a:pt x="4998" y="804"/>
                </a:lnTo>
                <a:lnTo>
                  <a:pt x="5026" y="800"/>
                </a:lnTo>
                <a:lnTo>
                  <a:pt x="5026" y="800"/>
                </a:lnTo>
                <a:lnTo>
                  <a:pt x="5060" y="798"/>
                </a:lnTo>
                <a:lnTo>
                  <a:pt x="5114" y="792"/>
                </a:lnTo>
                <a:lnTo>
                  <a:pt x="5114" y="792"/>
                </a:lnTo>
                <a:lnTo>
                  <a:pt x="5104" y="792"/>
                </a:lnTo>
                <a:lnTo>
                  <a:pt x="5086" y="794"/>
                </a:lnTo>
                <a:lnTo>
                  <a:pt x="5064" y="796"/>
                </a:lnTo>
                <a:lnTo>
                  <a:pt x="5050" y="796"/>
                </a:lnTo>
                <a:lnTo>
                  <a:pt x="5050" y="796"/>
                </a:lnTo>
                <a:lnTo>
                  <a:pt x="5138" y="786"/>
                </a:lnTo>
                <a:lnTo>
                  <a:pt x="5242" y="774"/>
                </a:lnTo>
                <a:lnTo>
                  <a:pt x="5242" y="774"/>
                </a:lnTo>
                <a:lnTo>
                  <a:pt x="5267" y="772"/>
                </a:lnTo>
                <a:lnTo>
                  <a:pt x="5269" y="772"/>
                </a:lnTo>
                <a:lnTo>
                  <a:pt x="5265" y="774"/>
                </a:lnTo>
                <a:lnTo>
                  <a:pt x="5257" y="776"/>
                </a:lnTo>
                <a:lnTo>
                  <a:pt x="5253" y="776"/>
                </a:lnTo>
                <a:lnTo>
                  <a:pt x="5255" y="776"/>
                </a:lnTo>
                <a:lnTo>
                  <a:pt x="5255" y="776"/>
                </a:lnTo>
                <a:lnTo>
                  <a:pt x="5148" y="788"/>
                </a:lnTo>
                <a:lnTo>
                  <a:pt x="5148" y="788"/>
                </a:lnTo>
                <a:lnTo>
                  <a:pt x="5234" y="778"/>
                </a:lnTo>
                <a:lnTo>
                  <a:pt x="5309" y="770"/>
                </a:lnTo>
                <a:lnTo>
                  <a:pt x="5309" y="770"/>
                </a:lnTo>
                <a:lnTo>
                  <a:pt x="5341" y="766"/>
                </a:lnTo>
                <a:lnTo>
                  <a:pt x="5365" y="766"/>
                </a:lnTo>
                <a:lnTo>
                  <a:pt x="5391" y="764"/>
                </a:lnTo>
                <a:lnTo>
                  <a:pt x="5429" y="758"/>
                </a:lnTo>
                <a:lnTo>
                  <a:pt x="5429" y="758"/>
                </a:lnTo>
                <a:lnTo>
                  <a:pt x="5419" y="758"/>
                </a:lnTo>
                <a:lnTo>
                  <a:pt x="5403" y="760"/>
                </a:lnTo>
                <a:lnTo>
                  <a:pt x="5403" y="760"/>
                </a:lnTo>
                <a:lnTo>
                  <a:pt x="5457" y="754"/>
                </a:lnTo>
                <a:lnTo>
                  <a:pt x="5457" y="754"/>
                </a:lnTo>
                <a:lnTo>
                  <a:pt x="5459" y="754"/>
                </a:lnTo>
                <a:lnTo>
                  <a:pt x="5457" y="754"/>
                </a:lnTo>
                <a:lnTo>
                  <a:pt x="5449" y="754"/>
                </a:lnTo>
                <a:lnTo>
                  <a:pt x="5445" y="754"/>
                </a:lnTo>
                <a:lnTo>
                  <a:pt x="5453" y="752"/>
                </a:lnTo>
                <a:lnTo>
                  <a:pt x="5453" y="752"/>
                </a:lnTo>
                <a:lnTo>
                  <a:pt x="5471" y="750"/>
                </a:lnTo>
                <a:lnTo>
                  <a:pt x="5479" y="750"/>
                </a:lnTo>
                <a:lnTo>
                  <a:pt x="5475" y="752"/>
                </a:lnTo>
                <a:lnTo>
                  <a:pt x="5475" y="752"/>
                </a:lnTo>
                <a:lnTo>
                  <a:pt x="5509" y="748"/>
                </a:lnTo>
                <a:lnTo>
                  <a:pt x="5525" y="746"/>
                </a:lnTo>
                <a:lnTo>
                  <a:pt x="5541" y="744"/>
                </a:lnTo>
                <a:lnTo>
                  <a:pt x="5569" y="740"/>
                </a:lnTo>
                <a:lnTo>
                  <a:pt x="5569" y="740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53" y="742"/>
                </a:lnTo>
                <a:lnTo>
                  <a:pt x="5587" y="736"/>
                </a:lnTo>
                <a:lnTo>
                  <a:pt x="5587" y="736"/>
                </a:lnTo>
                <a:lnTo>
                  <a:pt x="5599" y="734"/>
                </a:lnTo>
                <a:lnTo>
                  <a:pt x="5625" y="732"/>
                </a:lnTo>
                <a:lnTo>
                  <a:pt x="5625" y="732"/>
                </a:lnTo>
                <a:lnTo>
                  <a:pt x="5625" y="732"/>
                </a:lnTo>
                <a:lnTo>
                  <a:pt x="5623" y="732"/>
                </a:lnTo>
                <a:lnTo>
                  <a:pt x="5607" y="734"/>
                </a:lnTo>
                <a:lnTo>
                  <a:pt x="5575" y="738"/>
                </a:lnTo>
                <a:lnTo>
                  <a:pt x="5621" y="734"/>
                </a:lnTo>
                <a:lnTo>
                  <a:pt x="5611" y="734"/>
                </a:lnTo>
                <a:lnTo>
                  <a:pt x="5661" y="728"/>
                </a:lnTo>
                <a:lnTo>
                  <a:pt x="5661" y="728"/>
                </a:lnTo>
                <a:lnTo>
                  <a:pt x="5643" y="730"/>
                </a:lnTo>
                <a:lnTo>
                  <a:pt x="5641" y="728"/>
                </a:lnTo>
                <a:lnTo>
                  <a:pt x="5659" y="726"/>
                </a:lnTo>
                <a:lnTo>
                  <a:pt x="5659" y="726"/>
                </a:lnTo>
                <a:lnTo>
                  <a:pt x="5706" y="720"/>
                </a:lnTo>
                <a:lnTo>
                  <a:pt x="5722" y="718"/>
                </a:lnTo>
                <a:lnTo>
                  <a:pt x="5726" y="720"/>
                </a:lnTo>
                <a:lnTo>
                  <a:pt x="5726" y="720"/>
                </a:lnTo>
                <a:lnTo>
                  <a:pt x="5754" y="714"/>
                </a:lnTo>
                <a:lnTo>
                  <a:pt x="5802" y="708"/>
                </a:lnTo>
                <a:lnTo>
                  <a:pt x="5802" y="708"/>
                </a:lnTo>
                <a:lnTo>
                  <a:pt x="5788" y="708"/>
                </a:lnTo>
                <a:lnTo>
                  <a:pt x="5788" y="708"/>
                </a:lnTo>
                <a:lnTo>
                  <a:pt x="5808" y="704"/>
                </a:lnTo>
                <a:lnTo>
                  <a:pt x="5858" y="700"/>
                </a:lnTo>
                <a:lnTo>
                  <a:pt x="5858" y="700"/>
                </a:lnTo>
                <a:lnTo>
                  <a:pt x="5836" y="702"/>
                </a:lnTo>
                <a:lnTo>
                  <a:pt x="5842" y="702"/>
                </a:lnTo>
                <a:lnTo>
                  <a:pt x="5854" y="702"/>
                </a:lnTo>
                <a:lnTo>
                  <a:pt x="5858" y="702"/>
                </a:lnTo>
                <a:lnTo>
                  <a:pt x="5856" y="702"/>
                </a:lnTo>
                <a:lnTo>
                  <a:pt x="5856" y="702"/>
                </a:lnTo>
                <a:lnTo>
                  <a:pt x="5824" y="708"/>
                </a:lnTo>
                <a:lnTo>
                  <a:pt x="5782" y="712"/>
                </a:lnTo>
                <a:lnTo>
                  <a:pt x="5782" y="712"/>
                </a:lnTo>
                <a:lnTo>
                  <a:pt x="5818" y="708"/>
                </a:lnTo>
                <a:lnTo>
                  <a:pt x="5846" y="704"/>
                </a:lnTo>
                <a:lnTo>
                  <a:pt x="5874" y="700"/>
                </a:lnTo>
                <a:lnTo>
                  <a:pt x="5904" y="696"/>
                </a:lnTo>
                <a:lnTo>
                  <a:pt x="5904" y="696"/>
                </a:lnTo>
                <a:lnTo>
                  <a:pt x="5900" y="696"/>
                </a:lnTo>
                <a:lnTo>
                  <a:pt x="5880" y="700"/>
                </a:lnTo>
                <a:lnTo>
                  <a:pt x="5880" y="700"/>
                </a:lnTo>
                <a:lnTo>
                  <a:pt x="5908" y="696"/>
                </a:lnTo>
                <a:lnTo>
                  <a:pt x="5954" y="688"/>
                </a:lnTo>
                <a:lnTo>
                  <a:pt x="5954" y="688"/>
                </a:lnTo>
                <a:lnTo>
                  <a:pt x="5942" y="690"/>
                </a:lnTo>
                <a:lnTo>
                  <a:pt x="5944" y="688"/>
                </a:lnTo>
                <a:lnTo>
                  <a:pt x="5960" y="686"/>
                </a:lnTo>
                <a:lnTo>
                  <a:pt x="6002" y="680"/>
                </a:lnTo>
                <a:lnTo>
                  <a:pt x="6002" y="680"/>
                </a:lnTo>
                <a:lnTo>
                  <a:pt x="6024" y="677"/>
                </a:lnTo>
                <a:lnTo>
                  <a:pt x="6032" y="675"/>
                </a:lnTo>
                <a:lnTo>
                  <a:pt x="6038" y="673"/>
                </a:lnTo>
                <a:lnTo>
                  <a:pt x="6058" y="669"/>
                </a:lnTo>
                <a:lnTo>
                  <a:pt x="6030" y="671"/>
                </a:lnTo>
                <a:lnTo>
                  <a:pt x="6030" y="671"/>
                </a:lnTo>
                <a:lnTo>
                  <a:pt x="6060" y="667"/>
                </a:lnTo>
                <a:lnTo>
                  <a:pt x="6078" y="663"/>
                </a:lnTo>
                <a:lnTo>
                  <a:pt x="6086" y="661"/>
                </a:lnTo>
                <a:lnTo>
                  <a:pt x="6086" y="661"/>
                </a:lnTo>
                <a:lnTo>
                  <a:pt x="6054" y="667"/>
                </a:lnTo>
                <a:lnTo>
                  <a:pt x="6022" y="673"/>
                </a:lnTo>
                <a:lnTo>
                  <a:pt x="6022" y="673"/>
                </a:lnTo>
                <a:lnTo>
                  <a:pt x="6020" y="671"/>
                </a:lnTo>
                <a:lnTo>
                  <a:pt x="6022" y="671"/>
                </a:lnTo>
                <a:lnTo>
                  <a:pt x="6036" y="669"/>
                </a:lnTo>
                <a:lnTo>
                  <a:pt x="6068" y="663"/>
                </a:lnTo>
                <a:lnTo>
                  <a:pt x="6068" y="663"/>
                </a:lnTo>
                <a:lnTo>
                  <a:pt x="6153" y="651"/>
                </a:lnTo>
                <a:lnTo>
                  <a:pt x="6153" y="651"/>
                </a:lnTo>
                <a:lnTo>
                  <a:pt x="6143" y="655"/>
                </a:lnTo>
                <a:lnTo>
                  <a:pt x="6121" y="659"/>
                </a:lnTo>
                <a:lnTo>
                  <a:pt x="6101" y="665"/>
                </a:lnTo>
                <a:lnTo>
                  <a:pt x="6097" y="667"/>
                </a:lnTo>
                <a:lnTo>
                  <a:pt x="6095" y="667"/>
                </a:lnTo>
                <a:lnTo>
                  <a:pt x="6097" y="667"/>
                </a:lnTo>
                <a:lnTo>
                  <a:pt x="6097" y="667"/>
                </a:lnTo>
                <a:lnTo>
                  <a:pt x="6259" y="639"/>
                </a:lnTo>
                <a:lnTo>
                  <a:pt x="6259" y="639"/>
                </a:lnTo>
                <a:lnTo>
                  <a:pt x="6295" y="631"/>
                </a:lnTo>
                <a:lnTo>
                  <a:pt x="6297" y="629"/>
                </a:lnTo>
                <a:lnTo>
                  <a:pt x="6297" y="629"/>
                </a:lnTo>
                <a:lnTo>
                  <a:pt x="6293" y="629"/>
                </a:lnTo>
                <a:lnTo>
                  <a:pt x="6293" y="629"/>
                </a:lnTo>
                <a:lnTo>
                  <a:pt x="6335" y="621"/>
                </a:lnTo>
                <a:lnTo>
                  <a:pt x="6313" y="627"/>
                </a:lnTo>
                <a:lnTo>
                  <a:pt x="6463" y="595"/>
                </a:lnTo>
                <a:lnTo>
                  <a:pt x="6463" y="595"/>
                </a:lnTo>
                <a:lnTo>
                  <a:pt x="6485" y="589"/>
                </a:lnTo>
                <a:lnTo>
                  <a:pt x="6475" y="589"/>
                </a:lnTo>
                <a:lnTo>
                  <a:pt x="6512" y="581"/>
                </a:lnTo>
                <a:lnTo>
                  <a:pt x="6505" y="583"/>
                </a:lnTo>
                <a:lnTo>
                  <a:pt x="6505" y="583"/>
                </a:lnTo>
                <a:lnTo>
                  <a:pt x="6532" y="575"/>
                </a:lnTo>
                <a:lnTo>
                  <a:pt x="6572" y="567"/>
                </a:lnTo>
                <a:lnTo>
                  <a:pt x="6572" y="567"/>
                </a:lnTo>
                <a:lnTo>
                  <a:pt x="6558" y="571"/>
                </a:lnTo>
                <a:lnTo>
                  <a:pt x="6558" y="571"/>
                </a:lnTo>
                <a:lnTo>
                  <a:pt x="6630" y="555"/>
                </a:lnTo>
                <a:lnTo>
                  <a:pt x="6630" y="555"/>
                </a:lnTo>
                <a:lnTo>
                  <a:pt x="6620" y="559"/>
                </a:lnTo>
                <a:lnTo>
                  <a:pt x="6590" y="565"/>
                </a:lnTo>
                <a:lnTo>
                  <a:pt x="6590" y="565"/>
                </a:lnTo>
                <a:lnTo>
                  <a:pt x="6586" y="567"/>
                </a:lnTo>
                <a:lnTo>
                  <a:pt x="6542" y="577"/>
                </a:lnTo>
                <a:lnTo>
                  <a:pt x="6542" y="577"/>
                </a:lnTo>
                <a:lnTo>
                  <a:pt x="6602" y="563"/>
                </a:lnTo>
                <a:lnTo>
                  <a:pt x="6618" y="561"/>
                </a:lnTo>
                <a:lnTo>
                  <a:pt x="6622" y="561"/>
                </a:lnTo>
                <a:lnTo>
                  <a:pt x="6622" y="561"/>
                </a:lnTo>
                <a:lnTo>
                  <a:pt x="6638" y="557"/>
                </a:lnTo>
                <a:lnTo>
                  <a:pt x="6628" y="559"/>
                </a:lnTo>
                <a:lnTo>
                  <a:pt x="6620" y="561"/>
                </a:lnTo>
                <a:lnTo>
                  <a:pt x="6640" y="555"/>
                </a:lnTo>
                <a:lnTo>
                  <a:pt x="6640" y="555"/>
                </a:lnTo>
                <a:lnTo>
                  <a:pt x="6698" y="543"/>
                </a:lnTo>
                <a:lnTo>
                  <a:pt x="6750" y="529"/>
                </a:lnTo>
                <a:lnTo>
                  <a:pt x="6796" y="519"/>
                </a:lnTo>
                <a:lnTo>
                  <a:pt x="6834" y="511"/>
                </a:lnTo>
                <a:lnTo>
                  <a:pt x="6834" y="511"/>
                </a:lnTo>
                <a:lnTo>
                  <a:pt x="6969" y="471"/>
                </a:lnTo>
                <a:lnTo>
                  <a:pt x="6969" y="471"/>
                </a:lnTo>
                <a:lnTo>
                  <a:pt x="6987" y="465"/>
                </a:lnTo>
                <a:lnTo>
                  <a:pt x="6999" y="461"/>
                </a:lnTo>
                <a:lnTo>
                  <a:pt x="7001" y="461"/>
                </a:lnTo>
                <a:lnTo>
                  <a:pt x="7001" y="459"/>
                </a:lnTo>
                <a:lnTo>
                  <a:pt x="7001" y="459"/>
                </a:lnTo>
                <a:lnTo>
                  <a:pt x="6963" y="471"/>
                </a:lnTo>
                <a:lnTo>
                  <a:pt x="6924" y="481"/>
                </a:lnTo>
                <a:lnTo>
                  <a:pt x="6890" y="491"/>
                </a:lnTo>
                <a:lnTo>
                  <a:pt x="6856" y="499"/>
                </a:lnTo>
                <a:lnTo>
                  <a:pt x="6856" y="499"/>
                </a:lnTo>
                <a:lnTo>
                  <a:pt x="6838" y="505"/>
                </a:lnTo>
                <a:lnTo>
                  <a:pt x="6830" y="509"/>
                </a:lnTo>
                <a:lnTo>
                  <a:pt x="6830" y="509"/>
                </a:lnTo>
                <a:lnTo>
                  <a:pt x="6786" y="519"/>
                </a:lnTo>
                <a:lnTo>
                  <a:pt x="6786" y="519"/>
                </a:lnTo>
                <a:lnTo>
                  <a:pt x="6810" y="513"/>
                </a:lnTo>
                <a:lnTo>
                  <a:pt x="6818" y="509"/>
                </a:lnTo>
                <a:lnTo>
                  <a:pt x="6830" y="505"/>
                </a:lnTo>
                <a:lnTo>
                  <a:pt x="6862" y="497"/>
                </a:lnTo>
                <a:lnTo>
                  <a:pt x="6862" y="497"/>
                </a:lnTo>
                <a:lnTo>
                  <a:pt x="6826" y="505"/>
                </a:lnTo>
                <a:lnTo>
                  <a:pt x="6778" y="517"/>
                </a:lnTo>
                <a:lnTo>
                  <a:pt x="6778" y="517"/>
                </a:lnTo>
                <a:lnTo>
                  <a:pt x="6782" y="515"/>
                </a:lnTo>
                <a:lnTo>
                  <a:pt x="6780" y="515"/>
                </a:lnTo>
                <a:lnTo>
                  <a:pt x="6764" y="519"/>
                </a:lnTo>
                <a:lnTo>
                  <a:pt x="6834" y="497"/>
                </a:lnTo>
                <a:lnTo>
                  <a:pt x="6834" y="497"/>
                </a:lnTo>
                <a:lnTo>
                  <a:pt x="6832" y="499"/>
                </a:lnTo>
                <a:lnTo>
                  <a:pt x="6834" y="499"/>
                </a:lnTo>
                <a:lnTo>
                  <a:pt x="6836" y="499"/>
                </a:lnTo>
                <a:lnTo>
                  <a:pt x="6834" y="499"/>
                </a:lnTo>
                <a:lnTo>
                  <a:pt x="6900" y="479"/>
                </a:lnTo>
                <a:lnTo>
                  <a:pt x="6900" y="479"/>
                </a:lnTo>
                <a:lnTo>
                  <a:pt x="6920" y="475"/>
                </a:lnTo>
                <a:lnTo>
                  <a:pt x="6920" y="475"/>
                </a:lnTo>
                <a:lnTo>
                  <a:pt x="6916" y="477"/>
                </a:lnTo>
                <a:lnTo>
                  <a:pt x="6916" y="477"/>
                </a:lnTo>
                <a:lnTo>
                  <a:pt x="6979" y="461"/>
                </a:lnTo>
                <a:lnTo>
                  <a:pt x="7003" y="453"/>
                </a:lnTo>
                <a:lnTo>
                  <a:pt x="7015" y="451"/>
                </a:lnTo>
                <a:lnTo>
                  <a:pt x="7015" y="451"/>
                </a:lnTo>
                <a:lnTo>
                  <a:pt x="7031" y="445"/>
                </a:lnTo>
                <a:lnTo>
                  <a:pt x="7023" y="447"/>
                </a:lnTo>
                <a:lnTo>
                  <a:pt x="6995" y="455"/>
                </a:lnTo>
                <a:lnTo>
                  <a:pt x="6999" y="453"/>
                </a:lnTo>
                <a:lnTo>
                  <a:pt x="6949" y="467"/>
                </a:lnTo>
                <a:lnTo>
                  <a:pt x="6949" y="467"/>
                </a:lnTo>
                <a:lnTo>
                  <a:pt x="6955" y="465"/>
                </a:lnTo>
                <a:lnTo>
                  <a:pt x="6977" y="459"/>
                </a:lnTo>
                <a:lnTo>
                  <a:pt x="6999" y="453"/>
                </a:lnTo>
                <a:lnTo>
                  <a:pt x="7013" y="447"/>
                </a:lnTo>
                <a:lnTo>
                  <a:pt x="7013" y="447"/>
                </a:lnTo>
                <a:lnTo>
                  <a:pt x="7019" y="445"/>
                </a:lnTo>
                <a:lnTo>
                  <a:pt x="7027" y="441"/>
                </a:lnTo>
                <a:lnTo>
                  <a:pt x="7055" y="435"/>
                </a:lnTo>
                <a:lnTo>
                  <a:pt x="7087" y="425"/>
                </a:lnTo>
                <a:lnTo>
                  <a:pt x="7117" y="417"/>
                </a:lnTo>
                <a:lnTo>
                  <a:pt x="7079" y="433"/>
                </a:lnTo>
                <a:lnTo>
                  <a:pt x="7113" y="421"/>
                </a:lnTo>
                <a:lnTo>
                  <a:pt x="7113" y="421"/>
                </a:lnTo>
                <a:lnTo>
                  <a:pt x="7093" y="429"/>
                </a:lnTo>
                <a:lnTo>
                  <a:pt x="7063" y="441"/>
                </a:lnTo>
                <a:lnTo>
                  <a:pt x="7063" y="441"/>
                </a:lnTo>
                <a:lnTo>
                  <a:pt x="7143" y="417"/>
                </a:lnTo>
                <a:lnTo>
                  <a:pt x="7211" y="397"/>
                </a:lnTo>
                <a:lnTo>
                  <a:pt x="7211" y="397"/>
                </a:lnTo>
                <a:lnTo>
                  <a:pt x="7223" y="395"/>
                </a:lnTo>
                <a:lnTo>
                  <a:pt x="7225" y="395"/>
                </a:lnTo>
                <a:lnTo>
                  <a:pt x="7223" y="395"/>
                </a:lnTo>
                <a:lnTo>
                  <a:pt x="7223" y="395"/>
                </a:lnTo>
                <a:lnTo>
                  <a:pt x="7255" y="385"/>
                </a:lnTo>
                <a:lnTo>
                  <a:pt x="7283" y="377"/>
                </a:lnTo>
                <a:lnTo>
                  <a:pt x="7339" y="359"/>
                </a:lnTo>
                <a:lnTo>
                  <a:pt x="7339" y="359"/>
                </a:lnTo>
                <a:lnTo>
                  <a:pt x="7352" y="355"/>
                </a:lnTo>
                <a:lnTo>
                  <a:pt x="7337" y="359"/>
                </a:lnTo>
                <a:lnTo>
                  <a:pt x="7321" y="363"/>
                </a:lnTo>
                <a:lnTo>
                  <a:pt x="7319" y="363"/>
                </a:lnTo>
                <a:lnTo>
                  <a:pt x="7327" y="361"/>
                </a:lnTo>
                <a:lnTo>
                  <a:pt x="7327" y="361"/>
                </a:lnTo>
                <a:lnTo>
                  <a:pt x="7352" y="353"/>
                </a:lnTo>
                <a:lnTo>
                  <a:pt x="7376" y="345"/>
                </a:lnTo>
                <a:lnTo>
                  <a:pt x="7376" y="345"/>
                </a:lnTo>
                <a:lnTo>
                  <a:pt x="7283" y="373"/>
                </a:lnTo>
                <a:lnTo>
                  <a:pt x="7283" y="373"/>
                </a:lnTo>
                <a:lnTo>
                  <a:pt x="7303" y="367"/>
                </a:lnTo>
                <a:lnTo>
                  <a:pt x="7311" y="363"/>
                </a:lnTo>
                <a:lnTo>
                  <a:pt x="7271" y="375"/>
                </a:lnTo>
                <a:lnTo>
                  <a:pt x="7271" y="375"/>
                </a:lnTo>
                <a:lnTo>
                  <a:pt x="7279" y="371"/>
                </a:lnTo>
                <a:lnTo>
                  <a:pt x="7299" y="365"/>
                </a:lnTo>
                <a:lnTo>
                  <a:pt x="7339" y="353"/>
                </a:lnTo>
                <a:lnTo>
                  <a:pt x="7339" y="353"/>
                </a:lnTo>
                <a:lnTo>
                  <a:pt x="7323" y="361"/>
                </a:lnTo>
                <a:lnTo>
                  <a:pt x="7323" y="361"/>
                </a:lnTo>
                <a:lnTo>
                  <a:pt x="7382" y="341"/>
                </a:lnTo>
                <a:lnTo>
                  <a:pt x="7438" y="323"/>
                </a:lnTo>
                <a:lnTo>
                  <a:pt x="7438" y="323"/>
                </a:lnTo>
                <a:lnTo>
                  <a:pt x="7444" y="323"/>
                </a:lnTo>
                <a:lnTo>
                  <a:pt x="7436" y="325"/>
                </a:lnTo>
                <a:lnTo>
                  <a:pt x="7416" y="333"/>
                </a:lnTo>
                <a:lnTo>
                  <a:pt x="7416" y="333"/>
                </a:lnTo>
                <a:lnTo>
                  <a:pt x="7436" y="327"/>
                </a:lnTo>
                <a:lnTo>
                  <a:pt x="7456" y="321"/>
                </a:lnTo>
                <a:lnTo>
                  <a:pt x="7456" y="321"/>
                </a:lnTo>
                <a:lnTo>
                  <a:pt x="7442" y="325"/>
                </a:lnTo>
                <a:lnTo>
                  <a:pt x="7424" y="331"/>
                </a:lnTo>
                <a:lnTo>
                  <a:pt x="7524" y="299"/>
                </a:lnTo>
                <a:lnTo>
                  <a:pt x="7524" y="299"/>
                </a:lnTo>
                <a:lnTo>
                  <a:pt x="7484" y="313"/>
                </a:lnTo>
                <a:lnTo>
                  <a:pt x="7484" y="313"/>
                </a:lnTo>
                <a:lnTo>
                  <a:pt x="7526" y="299"/>
                </a:lnTo>
                <a:lnTo>
                  <a:pt x="7572" y="281"/>
                </a:lnTo>
                <a:lnTo>
                  <a:pt x="7572" y="281"/>
                </a:lnTo>
                <a:lnTo>
                  <a:pt x="7620" y="267"/>
                </a:lnTo>
                <a:lnTo>
                  <a:pt x="7634" y="263"/>
                </a:lnTo>
                <a:lnTo>
                  <a:pt x="7636" y="261"/>
                </a:lnTo>
                <a:lnTo>
                  <a:pt x="7634" y="263"/>
                </a:lnTo>
                <a:lnTo>
                  <a:pt x="7634" y="263"/>
                </a:lnTo>
                <a:lnTo>
                  <a:pt x="7642" y="259"/>
                </a:lnTo>
                <a:lnTo>
                  <a:pt x="7638" y="259"/>
                </a:lnTo>
                <a:lnTo>
                  <a:pt x="7638" y="259"/>
                </a:lnTo>
                <a:lnTo>
                  <a:pt x="7686" y="243"/>
                </a:lnTo>
                <a:lnTo>
                  <a:pt x="7718" y="231"/>
                </a:lnTo>
                <a:lnTo>
                  <a:pt x="7696" y="237"/>
                </a:lnTo>
                <a:lnTo>
                  <a:pt x="7696" y="237"/>
                </a:lnTo>
                <a:lnTo>
                  <a:pt x="7718" y="229"/>
                </a:lnTo>
                <a:lnTo>
                  <a:pt x="7722" y="227"/>
                </a:lnTo>
                <a:lnTo>
                  <a:pt x="7728" y="224"/>
                </a:lnTo>
                <a:lnTo>
                  <a:pt x="7746" y="218"/>
                </a:lnTo>
                <a:lnTo>
                  <a:pt x="7746" y="218"/>
                </a:lnTo>
                <a:lnTo>
                  <a:pt x="7742" y="220"/>
                </a:lnTo>
                <a:lnTo>
                  <a:pt x="7742" y="220"/>
                </a:lnTo>
                <a:lnTo>
                  <a:pt x="7750" y="220"/>
                </a:lnTo>
                <a:lnTo>
                  <a:pt x="7750" y="220"/>
                </a:lnTo>
                <a:lnTo>
                  <a:pt x="7771" y="214"/>
                </a:lnTo>
                <a:lnTo>
                  <a:pt x="7799" y="204"/>
                </a:lnTo>
                <a:lnTo>
                  <a:pt x="7799" y="204"/>
                </a:lnTo>
                <a:lnTo>
                  <a:pt x="7797" y="204"/>
                </a:lnTo>
                <a:lnTo>
                  <a:pt x="7799" y="204"/>
                </a:lnTo>
                <a:lnTo>
                  <a:pt x="7809" y="200"/>
                </a:lnTo>
                <a:lnTo>
                  <a:pt x="7817" y="196"/>
                </a:lnTo>
                <a:lnTo>
                  <a:pt x="7807" y="198"/>
                </a:lnTo>
                <a:lnTo>
                  <a:pt x="7807" y="198"/>
                </a:lnTo>
                <a:lnTo>
                  <a:pt x="7855" y="182"/>
                </a:lnTo>
                <a:lnTo>
                  <a:pt x="7895" y="168"/>
                </a:lnTo>
                <a:lnTo>
                  <a:pt x="7895" y="168"/>
                </a:lnTo>
                <a:lnTo>
                  <a:pt x="7891" y="168"/>
                </a:lnTo>
                <a:lnTo>
                  <a:pt x="7903" y="164"/>
                </a:lnTo>
                <a:lnTo>
                  <a:pt x="7913" y="160"/>
                </a:lnTo>
                <a:lnTo>
                  <a:pt x="7915" y="158"/>
                </a:lnTo>
                <a:lnTo>
                  <a:pt x="7911" y="160"/>
                </a:lnTo>
                <a:lnTo>
                  <a:pt x="7911" y="160"/>
                </a:lnTo>
                <a:lnTo>
                  <a:pt x="7957" y="144"/>
                </a:lnTo>
                <a:lnTo>
                  <a:pt x="7969" y="142"/>
                </a:lnTo>
                <a:lnTo>
                  <a:pt x="7969" y="142"/>
                </a:lnTo>
                <a:lnTo>
                  <a:pt x="7967" y="144"/>
                </a:lnTo>
                <a:lnTo>
                  <a:pt x="7967" y="144"/>
                </a:lnTo>
                <a:lnTo>
                  <a:pt x="7945" y="150"/>
                </a:lnTo>
                <a:lnTo>
                  <a:pt x="7935" y="156"/>
                </a:lnTo>
                <a:lnTo>
                  <a:pt x="8003" y="132"/>
                </a:lnTo>
                <a:lnTo>
                  <a:pt x="8003" y="132"/>
                </a:lnTo>
                <a:lnTo>
                  <a:pt x="8031" y="122"/>
                </a:lnTo>
                <a:lnTo>
                  <a:pt x="8047" y="118"/>
                </a:lnTo>
                <a:lnTo>
                  <a:pt x="8047" y="118"/>
                </a:lnTo>
                <a:lnTo>
                  <a:pt x="8091" y="104"/>
                </a:lnTo>
                <a:lnTo>
                  <a:pt x="8113" y="96"/>
                </a:lnTo>
                <a:lnTo>
                  <a:pt x="8129" y="90"/>
                </a:lnTo>
                <a:lnTo>
                  <a:pt x="8129" y="90"/>
                </a:lnTo>
                <a:lnTo>
                  <a:pt x="8099" y="100"/>
                </a:lnTo>
                <a:lnTo>
                  <a:pt x="8079" y="106"/>
                </a:lnTo>
                <a:lnTo>
                  <a:pt x="8089" y="102"/>
                </a:lnTo>
                <a:lnTo>
                  <a:pt x="8083" y="104"/>
                </a:lnTo>
                <a:lnTo>
                  <a:pt x="8113" y="92"/>
                </a:lnTo>
                <a:lnTo>
                  <a:pt x="8113" y="92"/>
                </a:lnTo>
                <a:lnTo>
                  <a:pt x="8099" y="96"/>
                </a:lnTo>
                <a:lnTo>
                  <a:pt x="8095" y="98"/>
                </a:lnTo>
                <a:lnTo>
                  <a:pt x="8087" y="102"/>
                </a:lnTo>
                <a:lnTo>
                  <a:pt x="8067" y="110"/>
                </a:lnTo>
                <a:lnTo>
                  <a:pt x="8067" y="110"/>
                </a:lnTo>
                <a:lnTo>
                  <a:pt x="8059" y="110"/>
                </a:lnTo>
                <a:lnTo>
                  <a:pt x="8063" y="108"/>
                </a:lnTo>
                <a:lnTo>
                  <a:pt x="8089" y="98"/>
                </a:lnTo>
                <a:lnTo>
                  <a:pt x="8113" y="90"/>
                </a:lnTo>
                <a:lnTo>
                  <a:pt x="8117" y="88"/>
                </a:lnTo>
                <a:lnTo>
                  <a:pt x="8109" y="90"/>
                </a:lnTo>
                <a:lnTo>
                  <a:pt x="8109" y="90"/>
                </a:lnTo>
                <a:lnTo>
                  <a:pt x="8081" y="100"/>
                </a:lnTo>
                <a:lnTo>
                  <a:pt x="8059" y="108"/>
                </a:lnTo>
                <a:lnTo>
                  <a:pt x="8067" y="106"/>
                </a:lnTo>
                <a:lnTo>
                  <a:pt x="8009" y="128"/>
                </a:lnTo>
                <a:lnTo>
                  <a:pt x="8009" y="128"/>
                </a:lnTo>
                <a:lnTo>
                  <a:pt x="8015" y="124"/>
                </a:lnTo>
                <a:lnTo>
                  <a:pt x="8023" y="120"/>
                </a:lnTo>
                <a:lnTo>
                  <a:pt x="8023" y="120"/>
                </a:lnTo>
                <a:lnTo>
                  <a:pt x="7871" y="172"/>
                </a:lnTo>
                <a:lnTo>
                  <a:pt x="7871" y="172"/>
                </a:lnTo>
                <a:lnTo>
                  <a:pt x="7879" y="170"/>
                </a:lnTo>
                <a:lnTo>
                  <a:pt x="7875" y="172"/>
                </a:lnTo>
                <a:lnTo>
                  <a:pt x="7859" y="180"/>
                </a:lnTo>
                <a:lnTo>
                  <a:pt x="7859" y="180"/>
                </a:lnTo>
                <a:lnTo>
                  <a:pt x="7833" y="188"/>
                </a:lnTo>
                <a:lnTo>
                  <a:pt x="7811" y="194"/>
                </a:lnTo>
                <a:lnTo>
                  <a:pt x="7811" y="194"/>
                </a:lnTo>
                <a:lnTo>
                  <a:pt x="7829" y="188"/>
                </a:lnTo>
                <a:lnTo>
                  <a:pt x="7849" y="180"/>
                </a:lnTo>
                <a:lnTo>
                  <a:pt x="7847" y="178"/>
                </a:lnTo>
                <a:lnTo>
                  <a:pt x="7847" y="178"/>
                </a:lnTo>
                <a:lnTo>
                  <a:pt x="7891" y="162"/>
                </a:lnTo>
                <a:lnTo>
                  <a:pt x="7947" y="140"/>
                </a:lnTo>
                <a:lnTo>
                  <a:pt x="7947" y="140"/>
                </a:lnTo>
                <a:lnTo>
                  <a:pt x="7983" y="126"/>
                </a:lnTo>
                <a:lnTo>
                  <a:pt x="8045" y="104"/>
                </a:lnTo>
                <a:lnTo>
                  <a:pt x="8025" y="110"/>
                </a:lnTo>
                <a:lnTo>
                  <a:pt x="8025" y="110"/>
                </a:lnTo>
                <a:lnTo>
                  <a:pt x="8045" y="102"/>
                </a:lnTo>
                <a:lnTo>
                  <a:pt x="8053" y="102"/>
                </a:lnTo>
                <a:lnTo>
                  <a:pt x="8061" y="98"/>
                </a:lnTo>
                <a:lnTo>
                  <a:pt x="8087" y="88"/>
                </a:lnTo>
                <a:lnTo>
                  <a:pt x="8087" y="88"/>
                </a:lnTo>
                <a:lnTo>
                  <a:pt x="8125" y="80"/>
                </a:lnTo>
                <a:lnTo>
                  <a:pt x="8133" y="80"/>
                </a:lnTo>
                <a:lnTo>
                  <a:pt x="8123" y="84"/>
                </a:lnTo>
                <a:lnTo>
                  <a:pt x="8123" y="84"/>
                </a:lnTo>
                <a:lnTo>
                  <a:pt x="8167" y="68"/>
                </a:lnTo>
                <a:lnTo>
                  <a:pt x="8210" y="54"/>
                </a:lnTo>
                <a:lnTo>
                  <a:pt x="8210" y="54"/>
                </a:lnTo>
                <a:lnTo>
                  <a:pt x="8218" y="52"/>
                </a:lnTo>
                <a:lnTo>
                  <a:pt x="8214" y="56"/>
                </a:lnTo>
                <a:lnTo>
                  <a:pt x="8206" y="58"/>
                </a:lnTo>
                <a:lnTo>
                  <a:pt x="8204" y="60"/>
                </a:lnTo>
                <a:lnTo>
                  <a:pt x="8204" y="60"/>
                </a:lnTo>
                <a:lnTo>
                  <a:pt x="8204" y="60"/>
                </a:lnTo>
                <a:lnTo>
                  <a:pt x="8240" y="48"/>
                </a:lnTo>
                <a:lnTo>
                  <a:pt x="8248" y="44"/>
                </a:lnTo>
                <a:lnTo>
                  <a:pt x="8242" y="46"/>
                </a:lnTo>
                <a:lnTo>
                  <a:pt x="8290" y="30"/>
                </a:lnTo>
                <a:lnTo>
                  <a:pt x="8290" y="30"/>
                </a:lnTo>
                <a:lnTo>
                  <a:pt x="8268" y="38"/>
                </a:lnTo>
                <a:lnTo>
                  <a:pt x="8268" y="38"/>
                </a:lnTo>
                <a:lnTo>
                  <a:pt x="8332" y="14"/>
                </a:lnTo>
                <a:lnTo>
                  <a:pt x="8332" y="14"/>
                </a:lnTo>
                <a:lnTo>
                  <a:pt x="8310" y="22"/>
                </a:lnTo>
                <a:lnTo>
                  <a:pt x="8310" y="22"/>
                </a:lnTo>
                <a:lnTo>
                  <a:pt x="8368" y="0"/>
                </a:lnTo>
                <a:lnTo>
                  <a:pt x="8368" y="0"/>
                </a:lnTo>
                <a:lnTo>
                  <a:pt x="8338" y="10"/>
                </a:lnTo>
                <a:lnTo>
                  <a:pt x="8306" y="22"/>
                </a:lnTo>
                <a:lnTo>
                  <a:pt x="8306" y="22"/>
                </a:lnTo>
                <a:lnTo>
                  <a:pt x="8312" y="18"/>
                </a:lnTo>
                <a:lnTo>
                  <a:pt x="8330" y="12"/>
                </a:lnTo>
                <a:lnTo>
                  <a:pt x="8330" y="12"/>
                </a:lnTo>
                <a:lnTo>
                  <a:pt x="8292" y="24"/>
                </a:lnTo>
                <a:lnTo>
                  <a:pt x="8268" y="30"/>
                </a:lnTo>
                <a:lnTo>
                  <a:pt x="8268" y="30"/>
                </a:lnTo>
                <a:lnTo>
                  <a:pt x="8294" y="22"/>
                </a:lnTo>
                <a:lnTo>
                  <a:pt x="8306" y="16"/>
                </a:lnTo>
                <a:lnTo>
                  <a:pt x="8306" y="16"/>
                </a:lnTo>
                <a:lnTo>
                  <a:pt x="8238" y="40"/>
                </a:lnTo>
                <a:lnTo>
                  <a:pt x="8238" y="40"/>
                </a:lnTo>
                <a:lnTo>
                  <a:pt x="8224" y="44"/>
                </a:lnTo>
                <a:lnTo>
                  <a:pt x="8202" y="52"/>
                </a:lnTo>
                <a:lnTo>
                  <a:pt x="8183" y="58"/>
                </a:lnTo>
                <a:lnTo>
                  <a:pt x="8181" y="58"/>
                </a:lnTo>
                <a:lnTo>
                  <a:pt x="8187" y="56"/>
                </a:lnTo>
                <a:lnTo>
                  <a:pt x="8187" y="56"/>
                </a:lnTo>
                <a:lnTo>
                  <a:pt x="8141" y="72"/>
                </a:lnTo>
                <a:lnTo>
                  <a:pt x="8141" y="72"/>
                </a:lnTo>
                <a:lnTo>
                  <a:pt x="8161" y="64"/>
                </a:lnTo>
                <a:lnTo>
                  <a:pt x="8194" y="52"/>
                </a:lnTo>
                <a:lnTo>
                  <a:pt x="8194" y="52"/>
                </a:lnTo>
                <a:lnTo>
                  <a:pt x="8226" y="40"/>
                </a:lnTo>
                <a:lnTo>
                  <a:pt x="8228" y="40"/>
                </a:lnTo>
                <a:lnTo>
                  <a:pt x="8224" y="42"/>
                </a:lnTo>
                <a:lnTo>
                  <a:pt x="8212" y="46"/>
                </a:lnTo>
                <a:lnTo>
                  <a:pt x="8208" y="48"/>
                </a:lnTo>
                <a:lnTo>
                  <a:pt x="8212" y="48"/>
                </a:lnTo>
                <a:lnTo>
                  <a:pt x="8268" y="28"/>
                </a:lnTo>
                <a:lnTo>
                  <a:pt x="8268" y="28"/>
                </a:lnTo>
                <a:lnTo>
                  <a:pt x="8272" y="26"/>
                </a:lnTo>
                <a:lnTo>
                  <a:pt x="8254" y="32"/>
                </a:lnTo>
                <a:lnTo>
                  <a:pt x="8254" y="32"/>
                </a:lnTo>
                <a:lnTo>
                  <a:pt x="8290" y="18"/>
                </a:lnTo>
                <a:lnTo>
                  <a:pt x="8334" y="2"/>
                </a:lnTo>
                <a:lnTo>
                  <a:pt x="8334" y="2"/>
                </a:lnTo>
                <a:lnTo>
                  <a:pt x="8328" y="4"/>
                </a:lnTo>
                <a:lnTo>
                  <a:pt x="8314" y="10"/>
                </a:lnTo>
                <a:lnTo>
                  <a:pt x="8314" y="10"/>
                </a:lnTo>
                <a:lnTo>
                  <a:pt x="8330" y="2"/>
                </a:lnTo>
                <a:lnTo>
                  <a:pt x="8332" y="0"/>
                </a:lnTo>
                <a:lnTo>
                  <a:pt x="8330" y="2"/>
                </a:lnTo>
                <a:lnTo>
                  <a:pt x="8308" y="8"/>
                </a:lnTo>
                <a:lnTo>
                  <a:pt x="8308" y="8"/>
                </a:lnTo>
                <a:lnTo>
                  <a:pt x="8310" y="8"/>
                </a:lnTo>
                <a:lnTo>
                  <a:pt x="8306" y="10"/>
                </a:lnTo>
                <a:lnTo>
                  <a:pt x="8302" y="12"/>
                </a:lnTo>
                <a:lnTo>
                  <a:pt x="8310" y="10"/>
                </a:lnTo>
                <a:lnTo>
                  <a:pt x="8310" y="10"/>
                </a:lnTo>
                <a:lnTo>
                  <a:pt x="8272" y="22"/>
                </a:lnTo>
                <a:lnTo>
                  <a:pt x="8258" y="26"/>
                </a:lnTo>
                <a:lnTo>
                  <a:pt x="8256" y="26"/>
                </a:lnTo>
                <a:lnTo>
                  <a:pt x="8260" y="24"/>
                </a:lnTo>
                <a:lnTo>
                  <a:pt x="8177" y="54"/>
                </a:lnTo>
                <a:lnTo>
                  <a:pt x="8177" y="54"/>
                </a:lnTo>
                <a:lnTo>
                  <a:pt x="8183" y="50"/>
                </a:lnTo>
                <a:lnTo>
                  <a:pt x="8202" y="44"/>
                </a:lnTo>
                <a:lnTo>
                  <a:pt x="8137" y="66"/>
                </a:lnTo>
                <a:lnTo>
                  <a:pt x="8157" y="62"/>
                </a:lnTo>
                <a:lnTo>
                  <a:pt x="8157" y="62"/>
                </a:lnTo>
                <a:lnTo>
                  <a:pt x="8095" y="84"/>
                </a:lnTo>
                <a:lnTo>
                  <a:pt x="8041" y="104"/>
                </a:lnTo>
                <a:lnTo>
                  <a:pt x="8041" y="104"/>
                </a:lnTo>
                <a:lnTo>
                  <a:pt x="8065" y="94"/>
                </a:lnTo>
                <a:lnTo>
                  <a:pt x="8103" y="80"/>
                </a:lnTo>
                <a:lnTo>
                  <a:pt x="8103" y="80"/>
                </a:lnTo>
                <a:lnTo>
                  <a:pt x="8089" y="84"/>
                </a:lnTo>
                <a:lnTo>
                  <a:pt x="8081" y="88"/>
                </a:lnTo>
                <a:lnTo>
                  <a:pt x="8047" y="100"/>
                </a:lnTo>
                <a:lnTo>
                  <a:pt x="8047" y="100"/>
                </a:lnTo>
                <a:lnTo>
                  <a:pt x="8041" y="100"/>
                </a:lnTo>
                <a:lnTo>
                  <a:pt x="8043" y="100"/>
                </a:lnTo>
                <a:lnTo>
                  <a:pt x="8011" y="112"/>
                </a:lnTo>
                <a:lnTo>
                  <a:pt x="8011" y="112"/>
                </a:lnTo>
                <a:lnTo>
                  <a:pt x="8007" y="114"/>
                </a:lnTo>
                <a:lnTo>
                  <a:pt x="8011" y="112"/>
                </a:lnTo>
                <a:lnTo>
                  <a:pt x="8011" y="112"/>
                </a:lnTo>
                <a:lnTo>
                  <a:pt x="7989" y="120"/>
                </a:lnTo>
                <a:lnTo>
                  <a:pt x="7983" y="124"/>
                </a:lnTo>
                <a:lnTo>
                  <a:pt x="7941" y="138"/>
                </a:lnTo>
                <a:lnTo>
                  <a:pt x="7941" y="138"/>
                </a:lnTo>
                <a:lnTo>
                  <a:pt x="7981" y="126"/>
                </a:lnTo>
                <a:lnTo>
                  <a:pt x="8015" y="112"/>
                </a:lnTo>
                <a:lnTo>
                  <a:pt x="8015" y="112"/>
                </a:lnTo>
                <a:lnTo>
                  <a:pt x="8019" y="112"/>
                </a:lnTo>
                <a:lnTo>
                  <a:pt x="8017" y="112"/>
                </a:lnTo>
                <a:lnTo>
                  <a:pt x="8001" y="120"/>
                </a:lnTo>
                <a:lnTo>
                  <a:pt x="7963" y="134"/>
                </a:lnTo>
                <a:lnTo>
                  <a:pt x="7963" y="134"/>
                </a:lnTo>
                <a:lnTo>
                  <a:pt x="7923" y="146"/>
                </a:lnTo>
                <a:lnTo>
                  <a:pt x="7879" y="160"/>
                </a:lnTo>
                <a:lnTo>
                  <a:pt x="7879" y="160"/>
                </a:lnTo>
                <a:lnTo>
                  <a:pt x="7895" y="154"/>
                </a:lnTo>
                <a:lnTo>
                  <a:pt x="7923" y="144"/>
                </a:lnTo>
                <a:lnTo>
                  <a:pt x="7923" y="144"/>
                </a:lnTo>
                <a:lnTo>
                  <a:pt x="7933" y="140"/>
                </a:lnTo>
                <a:lnTo>
                  <a:pt x="7925" y="142"/>
                </a:lnTo>
                <a:lnTo>
                  <a:pt x="7905" y="148"/>
                </a:lnTo>
                <a:lnTo>
                  <a:pt x="7905" y="148"/>
                </a:lnTo>
                <a:lnTo>
                  <a:pt x="7901" y="150"/>
                </a:lnTo>
                <a:lnTo>
                  <a:pt x="7901" y="150"/>
                </a:lnTo>
                <a:lnTo>
                  <a:pt x="7881" y="158"/>
                </a:lnTo>
                <a:lnTo>
                  <a:pt x="7881" y="158"/>
                </a:lnTo>
                <a:lnTo>
                  <a:pt x="7829" y="178"/>
                </a:lnTo>
                <a:lnTo>
                  <a:pt x="7829" y="178"/>
                </a:lnTo>
                <a:lnTo>
                  <a:pt x="7748" y="206"/>
                </a:lnTo>
                <a:lnTo>
                  <a:pt x="7710" y="218"/>
                </a:lnTo>
                <a:lnTo>
                  <a:pt x="7680" y="229"/>
                </a:lnTo>
                <a:lnTo>
                  <a:pt x="7688" y="229"/>
                </a:lnTo>
                <a:lnTo>
                  <a:pt x="7590" y="263"/>
                </a:lnTo>
                <a:lnTo>
                  <a:pt x="7590" y="263"/>
                </a:lnTo>
                <a:lnTo>
                  <a:pt x="7606" y="255"/>
                </a:lnTo>
                <a:lnTo>
                  <a:pt x="7638" y="245"/>
                </a:lnTo>
                <a:lnTo>
                  <a:pt x="7638" y="245"/>
                </a:lnTo>
                <a:lnTo>
                  <a:pt x="7558" y="271"/>
                </a:lnTo>
                <a:lnTo>
                  <a:pt x="7494" y="295"/>
                </a:lnTo>
                <a:lnTo>
                  <a:pt x="7494" y="295"/>
                </a:lnTo>
                <a:lnTo>
                  <a:pt x="7552" y="277"/>
                </a:lnTo>
                <a:lnTo>
                  <a:pt x="7552" y="277"/>
                </a:lnTo>
                <a:lnTo>
                  <a:pt x="7530" y="287"/>
                </a:lnTo>
                <a:lnTo>
                  <a:pt x="7510" y="291"/>
                </a:lnTo>
                <a:lnTo>
                  <a:pt x="7490" y="297"/>
                </a:lnTo>
                <a:lnTo>
                  <a:pt x="7460" y="307"/>
                </a:lnTo>
                <a:lnTo>
                  <a:pt x="7460" y="307"/>
                </a:lnTo>
                <a:lnTo>
                  <a:pt x="7462" y="307"/>
                </a:lnTo>
                <a:lnTo>
                  <a:pt x="7466" y="305"/>
                </a:lnTo>
                <a:lnTo>
                  <a:pt x="7468" y="303"/>
                </a:lnTo>
                <a:lnTo>
                  <a:pt x="7462" y="303"/>
                </a:lnTo>
                <a:lnTo>
                  <a:pt x="7462" y="303"/>
                </a:lnTo>
                <a:lnTo>
                  <a:pt x="7388" y="331"/>
                </a:lnTo>
                <a:lnTo>
                  <a:pt x="7388" y="331"/>
                </a:lnTo>
                <a:lnTo>
                  <a:pt x="7384" y="331"/>
                </a:lnTo>
                <a:lnTo>
                  <a:pt x="7394" y="327"/>
                </a:lnTo>
                <a:lnTo>
                  <a:pt x="7444" y="309"/>
                </a:lnTo>
                <a:lnTo>
                  <a:pt x="7444" y="309"/>
                </a:lnTo>
                <a:lnTo>
                  <a:pt x="7502" y="289"/>
                </a:lnTo>
                <a:lnTo>
                  <a:pt x="7554" y="273"/>
                </a:lnTo>
                <a:lnTo>
                  <a:pt x="7534" y="277"/>
                </a:lnTo>
                <a:lnTo>
                  <a:pt x="7534" y="277"/>
                </a:lnTo>
                <a:lnTo>
                  <a:pt x="7624" y="247"/>
                </a:lnTo>
                <a:lnTo>
                  <a:pt x="7624" y="247"/>
                </a:lnTo>
                <a:lnTo>
                  <a:pt x="7638" y="239"/>
                </a:lnTo>
                <a:lnTo>
                  <a:pt x="7622" y="245"/>
                </a:lnTo>
                <a:lnTo>
                  <a:pt x="7622" y="245"/>
                </a:lnTo>
                <a:lnTo>
                  <a:pt x="7678" y="222"/>
                </a:lnTo>
                <a:lnTo>
                  <a:pt x="7678" y="222"/>
                </a:lnTo>
                <a:lnTo>
                  <a:pt x="7648" y="235"/>
                </a:lnTo>
                <a:lnTo>
                  <a:pt x="7628" y="243"/>
                </a:lnTo>
                <a:lnTo>
                  <a:pt x="7598" y="255"/>
                </a:lnTo>
                <a:lnTo>
                  <a:pt x="7598" y="255"/>
                </a:lnTo>
                <a:lnTo>
                  <a:pt x="7544" y="273"/>
                </a:lnTo>
                <a:lnTo>
                  <a:pt x="7522" y="279"/>
                </a:lnTo>
                <a:lnTo>
                  <a:pt x="7500" y="287"/>
                </a:lnTo>
                <a:lnTo>
                  <a:pt x="7500" y="287"/>
                </a:lnTo>
                <a:lnTo>
                  <a:pt x="7488" y="289"/>
                </a:lnTo>
                <a:lnTo>
                  <a:pt x="7484" y="291"/>
                </a:lnTo>
                <a:lnTo>
                  <a:pt x="7492" y="287"/>
                </a:lnTo>
                <a:lnTo>
                  <a:pt x="7492" y="287"/>
                </a:lnTo>
                <a:lnTo>
                  <a:pt x="7524" y="275"/>
                </a:lnTo>
                <a:lnTo>
                  <a:pt x="7538" y="271"/>
                </a:lnTo>
                <a:lnTo>
                  <a:pt x="7538" y="271"/>
                </a:lnTo>
                <a:lnTo>
                  <a:pt x="7480" y="289"/>
                </a:lnTo>
                <a:lnTo>
                  <a:pt x="7480" y="289"/>
                </a:lnTo>
                <a:lnTo>
                  <a:pt x="7454" y="301"/>
                </a:lnTo>
                <a:lnTo>
                  <a:pt x="7410" y="317"/>
                </a:lnTo>
                <a:lnTo>
                  <a:pt x="7410" y="317"/>
                </a:lnTo>
                <a:lnTo>
                  <a:pt x="7360" y="335"/>
                </a:lnTo>
                <a:lnTo>
                  <a:pt x="7311" y="349"/>
                </a:lnTo>
                <a:lnTo>
                  <a:pt x="7311" y="349"/>
                </a:lnTo>
                <a:lnTo>
                  <a:pt x="7356" y="335"/>
                </a:lnTo>
                <a:lnTo>
                  <a:pt x="7366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29" y="341"/>
                </a:lnTo>
                <a:lnTo>
                  <a:pt x="7315" y="345"/>
                </a:lnTo>
                <a:lnTo>
                  <a:pt x="7313" y="347"/>
                </a:lnTo>
                <a:lnTo>
                  <a:pt x="7313" y="347"/>
                </a:lnTo>
                <a:lnTo>
                  <a:pt x="7313" y="347"/>
                </a:lnTo>
                <a:lnTo>
                  <a:pt x="7249" y="367"/>
                </a:lnTo>
                <a:lnTo>
                  <a:pt x="7223" y="375"/>
                </a:lnTo>
                <a:lnTo>
                  <a:pt x="7209" y="377"/>
                </a:lnTo>
                <a:lnTo>
                  <a:pt x="7209" y="377"/>
                </a:lnTo>
                <a:lnTo>
                  <a:pt x="7309" y="347"/>
                </a:lnTo>
                <a:lnTo>
                  <a:pt x="7309" y="347"/>
                </a:lnTo>
                <a:lnTo>
                  <a:pt x="7297" y="349"/>
                </a:lnTo>
                <a:lnTo>
                  <a:pt x="7295" y="349"/>
                </a:lnTo>
                <a:lnTo>
                  <a:pt x="7297" y="349"/>
                </a:lnTo>
                <a:lnTo>
                  <a:pt x="7341" y="335"/>
                </a:lnTo>
                <a:lnTo>
                  <a:pt x="7341" y="335"/>
                </a:lnTo>
                <a:lnTo>
                  <a:pt x="7309" y="343"/>
                </a:lnTo>
                <a:lnTo>
                  <a:pt x="7271" y="355"/>
                </a:lnTo>
                <a:lnTo>
                  <a:pt x="7271" y="355"/>
                </a:lnTo>
                <a:lnTo>
                  <a:pt x="7275" y="355"/>
                </a:lnTo>
                <a:lnTo>
                  <a:pt x="7241" y="365"/>
                </a:lnTo>
                <a:lnTo>
                  <a:pt x="7239" y="365"/>
                </a:lnTo>
                <a:lnTo>
                  <a:pt x="7239" y="365"/>
                </a:lnTo>
                <a:lnTo>
                  <a:pt x="7173" y="385"/>
                </a:lnTo>
                <a:lnTo>
                  <a:pt x="7087" y="411"/>
                </a:lnTo>
                <a:lnTo>
                  <a:pt x="7093" y="409"/>
                </a:lnTo>
                <a:lnTo>
                  <a:pt x="7093" y="409"/>
                </a:lnTo>
                <a:lnTo>
                  <a:pt x="7065" y="417"/>
                </a:lnTo>
                <a:lnTo>
                  <a:pt x="7045" y="425"/>
                </a:lnTo>
                <a:lnTo>
                  <a:pt x="7023" y="433"/>
                </a:lnTo>
                <a:lnTo>
                  <a:pt x="6993" y="443"/>
                </a:lnTo>
                <a:lnTo>
                  <a:pt x="6993" y="443"/>
                </a:lnTo>
                <a:lnTo>
                  <a:pt x="7001" y="439"/>
                </a:lnTo>
                <a:lnTo>
                  <a:pt x="6997" y="439"/>
                </a:lnTo>
                <a:lnTo>
                  <a:pt x="6997" y="439"/>
                </a:lnTo>
                <a:lnTo>
                  <a:pt x="6965" y="447"/>
                </a:lnTo>
                <a:lnTo>
                  <a:pt x="6933" y="455"/>
                </a:lnTo>
                <a:lnTo>
                  <a:pt x="6933" y="455"/>
                </a:lnTo>
                <a:lnTo>
                  <a:pt x="6943" y="453"/>
                </a:lnTo>
                <a:lnTo>
                  <a:pt x="6937" y="455"/>
                </a:lnTo>
                <a:lnTo>
                  <a:pt x="6929" y="459"/>
                </a:lnTo>
                <a:lnTo>
                  <a:pt x="6935" y="457"/>
                </a:lnTo>
                <a:lnTo>
                  <a:pt x="6935" y="457"/>
                </a:lnTo>
                <a:lnTo>
                  <a:pt x="6926" y="461"/>
                </a:lnTo>
                <a:lnTo>
                  <a:pt x="6906" y="467"/>
                </a:lnTo>
                <a:lnTo>
                  <a:pt x="6856" y="481"/>
                </a:lnTo>
                <a:lnTo>
                  <a:pt x="6856" y="481"/>
                </a:lnTo>
                <a:lnTo>
                  <a:pt x="6854" y="481"/>
                </a:lnTo>
                <a:lnTo>
                  <a:pt x="6856" y="479"/>
                </a:lnTo>
                <a:lnTo>
                  <a:pt x="6862" y="477"/>
                </a:lnTo>
                <a:lnTo>
                  <a:pt x="6886" y="471"/>
                </a:lnTo>
                <a:lnTo>
                  <a:pt x="6906" y="465"/>
                </a:lnTo>
                <a:lnTo>
                  <a:pt x="6908" y="463"/>
                </a:lnTo>
                <a:lnTo>
                  <a:pt x="6898" y="465"/>
                </a:lnTo>
                <a:lnTo>
                  <a:pt x="6898" y="465"/>
                </a:lnTo>
                <a:lnTo>
                  <a:pt x="6874" y="473"/>
                </a:lnTo>
                <a:lnTo>
                  <a:pt x="6884" y="471"/>
                </a:lnTo>
                <a:lnTo>
                  <a:pt x="6884" y="471"/>
                </a:lnTo>
                <a:lnTo>
                  <a:pt x="6826" y="485"/>
                </a:lnTo>
                <a:lnTo>
                  <a:pt x="6774" y="497"/>
                </a:lnTo>
                <a:lnTo>
                  <a:pt x="6774" y="497"/>
                </a:lnTo>
                <a:lnTo>
                  <a:pt x="6728" y="511"/>
                </a:lnTo>
                <a:lnTo>
                  <a:pt x="6694" y="521"/>
                </a:lnTo>
                <a:lnTo>
                  <a:pt x="6694" y="521"/>
                </a:lnTo>
                <a:lnTo>
                  <a:pt x="6716" y="515"/>
                </a:lnTo>
                <a:lnTo>
                  <a:pt x="6742" y="507"/>
                </a:lnTo>
                <a:lnTo>
                  <a:pt x="6714" y="517"/>
                </a:lnTo>
                <a:lnTo>
                  <a:pt x="6714" y="517"/>
                </a:lnTo>
                <a:lnTo>
                  <a:pt x="6660" y="529"/>
                </a:lnTo>
                <a:lnTo>
                  <a:pt x="6616" y="539"/>
                </a:lnTo>
                <a:lnTo>
                  <a:pt x="6644" y="531"/>
                </a:lnTo>
                <a:lnTo>
                  <a:pt x="6642" y="531"/>
                </a:lnTo>
                <a:lnTo>
                  <a:pt x="6642" y="531"/>
                </a:lnTo>
                <a:lnTo>
                  <a:pt x="6670" y="525"/>
                </a:lnTo>
                <a:lnTo>
                  <a:pt x="6686" y="519"/>
                </a:lnTo>
                <a:lnTo>
                  <a:pt x="6686" y="519"/>
                </a:lnTo>
                <a:lnTo>
                  <a:pt x="6650" y="529"/>
                </a:lnTo>
                <a:lnTo>
                  <a:pt x="6606" y="539"/>
                </a:lnTo>
                <a:lnTo>
                  <a:pt x="6608" y="539"/>
                </a:lnTo>
                <a:lnTo>
                  <a:pt x="6608" y="539"/>
                </a:lnTo>
                <a:lnTo>
                  <a:pt x="6566" y="549"/>
                </a:lnTo>
                <a:lnTo>
                  <a:pt x="6528" y="557"/>
                </a:lnTo>
                <a:lnTo>
                  <a:pt x="6495" y="563"/>
                </a:lnTo>
                <a:lnTo>
                  <a:pt x="6465" y="571"/>
                </a:lnTo>
                <a:lnTo>
                  <a:pt x="6465" y="571"/>
                </a:lnTo>
                <a:lnTo>
                  <a:pt x="6485" y="567"/>
                </a:lnTo>
                <a:lnTo>
                  <a:pt x="6493" y="567"/>
                </a:lnTo>
                <a:lnTo>
                  <a:pt x="6493" y="567"/>
                </a:lnTo>
                <a:lnTo>
                  <a:pt x="6491" y="567"/>
                </a:lnTo>
                <a:lnTo>
                  <a:pt x="6491" y="567"/>
                </a:lnTo>
                <a:lnTo>
                  <a:pt x="6461" y="573"/>
                </a:lnTo>
                <a:lnTo>
                  <a:pt x="6443" y="575"/>
                </a:lnTo>
                <a:lnTo>
                  <a:pt x="6455" y="573"/>
                </a:lnTo>
                <a:lnTo>
                  <a:pt x="6455" y="573"/>
                </a:lnTo>
                <a:lnTo>
                  <a:pt x="6387" y="587"/>
                </a:lnTo>
                <a:lnTo>
                  <a:pt x="6387" y="587"/>
                </a:lnTo>
                <a:lnTo>
                  <a:pt x="6381" y="589"/>
                </a:lnTo>
                <a:lnTo>
                  <a:pt x="6363" y="593"/>
                </a:lnTo>
                <a:lnTo>
                  <a:pt x="6363" y="593"/>
                </a:lnTo>
                <a:lnTo>
                  <a:pt x="6341" y="597"/>
                </a:lnTo>
                <a:lnTo>
                  <a:pt x="6349" y="595"/>
                </a:lnTo>
                <a:lnTo>
                  <a:pt x="6359" y="593"/>
                </a:lnTo>
                <a:lnTo>
                  <a:pt x="6347" y="593"/>
                </a:lnTo>
                <a:lnTo>
                  <a:pt x="6291" y="605"/>
                </a:lnTo>
                <a:lnTo>
                  <a:pt x="6279" y="607"/>
                </a:lnTo>
                <a:lnTo>
                  <a:pt x="6279" y="607"/>
                </a:lnTo>
                <a:lnTo>
                  <a:pt x="6163" y="627"/>
                </a:lnTo>
                <a:lnTo>
                  <a:pt x="6105" y="639"/>
                </a:lnTo>
                <a:lnTo>
                  <a:pt x="6040" y="649"/>
                </a:lnTo>
                <a:lnTo>
                  <a:pt x="6040" y="649"/>
                </a:lnTo>
                <a:lnTo>
                  <a:pt x="6050" y="647"/>
                </a:lnTo>
                <a:lnTo>
                  <a:pt x="6074" y="641"/>
                </a:lnTo>
                <a:lnTo>
                  <a:pt x="6127" y="633"/>
                </a:lnTo>
                <a:lnTo>
                  <a:pt x="6127" y="633"/>
                </a:lnTo>
                <a:lnTo>
                  <a:pt x="6076" y="641"/>
                </a:lnTo>
                <a:lnTo>
                  <a:pt x="6020" y="649"/>
                </a:lnTo>
                <a:lnTo>
                  <a:pt x="6020" y="649"/>
                </a:lnTo>
                <a:lnTo>
                  <a:pt x="5978" y="655"/>
                </a:lnTo>
                <a:lnTo>
                  <a:pt x="5968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34" y="663"/>
                </a:lnTo>
                <a:lnTo>
                  <a:pt x="5930" y="663"/>
                </a:lnTo>
                <a:lnTo>
                  <a:pt x="5930" y="663"/>
                </a:lnTo>
                <a:lnTo>
                  <a:pt x="5888" y="671"/>
                </a:lnTo>
                <a:lnTo>
                  <a:pt x="5828" y="680"/>
                </a:lnTo>
                <a:lnTo>
                  <a:pt x="5828" y="680"/>
                </a:lnTo>
                <a:lnTo>
                  <a:pt x="5774" y="688"/>
                </a:lnTo>
                <a:lnTo>
                  <a:pt x="5774" y="688"/>
                </a:lnTo>
                <a:lnTo>
                  <a:pt x="5780" y="688"/>
                </a:lnTo>
                <a:lnTo>
                  <a:pt x="5776" y="690"/>
                </a:lnTo>
                <a:lnTo>
                  <a:pt x="5762" y="692"/>
                </a:lnTo>
                <a:lnTo>
                  <a:pt x="5762" y="692"/>
                </a:lnTo>
                <a:lnTo>
                  <a:pt x="5804" y="688"/>
                </a:lnTo>
                <a:lnTo>
                  <a:pt x="5848" y="680"/>
                </a:lnTo>
                <a:lnTo>
                  <a:pt x="5892" y="673"/>
                </a:lnTo>
                <a:lnTo>
                  <a:pt x="5934" y="667"/>
                </a:lnTo>
                <a:lnTo>
                  <a:pt x="5934" y="667"/>
                </a:lnTo>
                <a:lnTo>
                  <a:pt x="5928" y="669"/>
                </a:lnTo>
                <a:lnTo>
                  <a:pt x="5928" y="669"/>
                </a:lnTo>
                <a:lnTo>
                  <a:pt x="5930" y="669"/>
                </a:lnTo>
                <a:lnTo>
                  <a:pt x="5924" y="671"/>
                </a:lnTo>
                <a:lnTo>
                  <a:pt x="5924" y="671"/>
                </a:lnTo>
                <a:lnTo>
                  <a:pt x="5906" y="673"/>
                </a:lnTo>
                <a:lnTo>
                  <a:pt x="5906" y="673"/>
                </a:lnTo>
                <a:lnTo>
                  <a:pt x="5890" y="677"/>
                </a:lnTo>
                <a:lnTo>
                  <a:pt x="5904" y="675"/>
                </a:lnTo>
                <a:lnTo>
                  <a:pt x="5904" y="675"/>
                </a:lnTo>
                <a:lnTo>
                  <a:pt x="5894" y="677"/>
                </a:lnTo>
                <a:lnTo>
                  <a:pt x="5870" y="682"/>
                </a:lnTo>
                <a:lnTo>
                  <a:pt x="5806" y="692"/>
                </a:lnTo>
                <a:lnTo>
                  <a:pt x="5806" y="692"/>
                </a:lnTo>
                <a:lnTo>
                  <a:pt x="5798" y="692"/>
                </a:lnTo>
                <a:lnTo>
                  <a:pt x="5812" y="690"/>
                </a:lnTo>
                <a:lnTo>
                  <a:pt x="5854" y="682"/>
                </a:lnTo>
                <a:lnTo>
                  <a:pt x="5854" y="682"/>
                </a:lnTo>
                <a:lnTo>
                  <a:pt x="5832" y="686"/>
                </a:lnTo>
                <a:lnTo>
                  <a:pt x="5804" y="690"/>
                </a:lnTo>
                <a:lnTo>
                  <a:pt x="5810" y="686"/>
                </a:lnTo>
                <a:lnTo>
                  <a:pt x="5810" y="686"/>
                </a:lnTo>
                <a:lnTo>
                  <a:pt x="5780" y="692"/>
                </a:lnTo>
                <a:lnTo>
                  <a:pt x="5784" y="692"/>
                </a:lnTo>
                <a:lnTo>
                  <a:pt x="5786" y="692"/>
                </a:lnTo>
                <a:lnTo>
                  <a:pt x="5782" y="694"/>
                </a:lnTo>
                <a:lnTo>
                  <a:pt x="5782" y="694"/>
                </a:lnTo>
                <a:lnTo>
                  <a:pt x="5768" y="696"/>
                </a:lnTo>
                <a:lnTo>
                  <a:pt x="5750" y="698"/>
                </a:lnTo>
                <a:lnTo>
                  <a:pt x="5718" y="702"/>
                </a:lnTo>
                <a:lnTo>
                  <a:pt x="5734" y="700"/>
                </a:lnTo>
                <a:lnTo>
                  <a:pt x="5734" y="700"/>
                </a:lnTo>
                <a:lnTo>
                  <a:pt x="5688" y="706"/>
                </a:lnTo>
                <a:lnTo>
                  <a:pt x="5643" y="712"/>
                </a:lnTo>
                <a:lnTo>
                  <a:pt x="5625" y="714"/>
                </a:lnTo>
                <a:lnTo>
                  <a:pt x="5625" y="714"/>
                </a:lnTo>
                <a:lnTo>
                  <a:pt x="5655" y="710"/>
                </a:lnTo>
                <a:lnTo>
                  <a:pt x="5676" y="706"/>
                </a:lnTo>
                <a:lnTo>
                  <a:pt x="5694" y="704"/>
                </a:lnTo>
                <a:lnTo>
                  <a:pt x="5712" y="700"/>
                </a:lnTo>
                <a:lnTo>
                  <a:pt x="5712" y="700"/>
                </a:lnTo>
                <a:lnTo>
                  <a:pt x="5684" y="702"/>
                </a:lnTo>
                <a:lnTo>
                  <a:pt x="5696" y="700"/>
                </a:lnTo>
                <a:lnTo>
                  <a:pt x="5748" y="690"/>
                </a:lnTo>
                <a:lnTo>
                  <a:pt x="5748" y="690"/>
                </a:lnTo>
                <a:lnTo>
                  <a:pt x="5674" y="700"/>
                </a:lnTo>
                <a:lnTo>
                  <a:pt x="5674" y="700"/>
                </a:lnTo>
                <a:lnTo>
                  <a:pt x="5639" y="704"/>
                </a:lnTo>
                <a:lnTo>
                  <a:pt x="5605" y="710"/>
                </a:lnTo>
                <a:lnTo>
                  <a:pt x="5571" y="714"/>
                </a:lnTo>
                <a:lnTo>
                  <a:pt x="5537" y="718"/>
                </a:lnTo>
                <a:lnTo>
                  <a:pt x="5537" y="718"/>
                </a:lnTo>
                <a:lnTo>
                  <a:pt x="5531" y="718"/>
                </a:lnTo>
                <a:lnTo>
                  <a:pt x="5537" y="718"/>
                </a:lnTo>
                <a:lnTo>
                  <a:pt x="5541" y="716"/>
                </a:lnTo>
                <a:lnTo>
                  <a:pt x="5533" y="718"/>
                </a:lnTo>
                <a:lnTo>
                  <a:pt x="5533" y="718"/>
                </a:lnTo>
                <a:lnTo>
                  <a:pt x="5391" y="736"/>
                </a:lnTo>
                <a:lnTo>
                  <a:pt x="5391" y="736"/>
                </a:lnTo>
                <a:lnTo>
                  <a:pt x="5371" y="738"/>
                </a:lnTo>
                <a:lnTo>
                  <a:pt x="5363" y="736"/>
                </a:lnTo>
                <a:lnTo>
                  <a:pt x="5363" y="736"/>
                </a:lnTo>
                <a:lnTo>
                  <a:pt x="5285" y="746"/>
                </a:lnTo>
                <a:lnTo>
                  <a:pt x="5218" y="754"/>
                </a:lnTo>
                <a:lnTo>
                  <a:pt x="5150" y="762"/>
                </a:lnTo>
                <a:lnTo>
                  <a:pt x="5064" y="772"/>
                </a:lnTo>
                <a:lnTo>
                  <a:pt x="5082" y="768"/>
                </a:lnTo>
                <a:lnTo>
                  <a:pt x="5082" y="768"/>
                </a:lnTo>
                <a:lnTo>
                  <a:pt x="5046" y="772"/>
                </a:lnTo>
                <a:lnTo>
                  <a:pt x="5018" y="776"/>
                </a:lnTo>
                <a:lnTo>
                  <a:pt x="5018" y="776"/>
                </a:lnTo>
                <a:lnTo>
                  <a:pt x="4984" y="778"/>
                </a:lnTo>
                <a:lnTo>
                  <a:pt x="4940" y="784"/>
                </a:lnTo>
                <a:lnTo>
                  <a:pt x="4896" y="788"/>
                </a:lnTo>
                <a:lnTo>
                  <a:pt x="4856" y="792"/>
                </a:lnTo>
                <a:lnTo>
                  <a:pt x="4856" y="792"/>
                </a:lnTo>
                <a:lnTo>
                  <a:pt x="4797" y="798"/>
                </a:lnTo>
                <a:lnTo>
                  <a:pt x="4749" y="806"/>
                </a:lnTo>
                <a:lnTo>
                  <a:pt x="4749" y="806"/>
                </a:lnTo>
                <a:lnTo>
                  <a:pt x="4753" y="804"/>
                </a:lnTo>
                <a:lnTo>
                  <a:pt x="4739" y="804"/>
                </a:lnTo>
                <a:lnTo>
                  <a:pt x="4739" y="804"/>
                </a:lnTo>
                <a:lnTo>
                  <a:pt x="4288" y="854"/>
                </a:lnTo>
                <a:lnTo>
                  <a:pt x="4288" y="854"/>
                </a:lnTo>
                <a:lnTo>
                  <a:pt x="4302" y="852"/>
                </a:lnTo>
                <a:lnTo>
                  <a:pt x="4302" y="852"/>
                </a:lnTo>
                <a:lnTo>
                  <a:pt x="4146" y="868"/>
                </a:lnTo>
                <a:lnTo>
                  <a:pt x="4002" y="884"/>
                </a:lnTo>
                <a:lnTo>
                  <a:pt x="4002" y="884"/>
                </a:lnTo>
                <a:lnTo>
                  <a:pt x="3963" y="888"/>
                </a:lnTo>
                <a:lnTo>
                  <a:pt x="3949" y="890"/>
                </a:lnTo>
                <a:lnTo>
                  <a:pt x="3947" y="890"/>
                </a:lnTo>
                <a:lnTo>
                  <a:pt x="3951" y="892"/>
                </a:lnTo>
                <a:lnTo>
                  <a:pt x="3951" y="892"/>
                </a:lnTo>
                <a:lnTo>
                  <a:pt x="3969" y="890"/>
                </a:lnTo>
                <a:lnTo>
                  <a:pt x="3973" y="890"/>
                </a:lnTo>
                <a:lnTo>
                  <a:pt x="3973" y="892"/>
                </a:lnTo>
                <a:lnTo>
                  <a:pt x="3973" y="892"/>
                </a:lnTo>
                <a:lnTo>
                  <a:pt x="3933" y="896"/>
                </a:lnTo>
                <a:lnTo>
                  <a:pt x="3917" y="896"/>
                </a:lnTo>
                <a:lnTo>
                  <a:pt x="3907" y="896"/>
                </a:lnTo>
                <a:lnTo>
                  <a:pt x="3881" y="898"/>
                </a:lnTo>
                <a:lnTo>
                  <a:pt x="3881" y="898"/>
                </a:lnTo>
                <a:lnTo>
                  <a:pt x="3877" y="898"/>
                </a:lnTo>
                <a:lnTo>
                  <a:pt x="3879" y="898"/>
                </a:lnTo>
                <a:lnTo>
                  <a:pt x="3891" y="896"/>
                </a:lnTo>
                <a:lnTo>
                  <a:pt x="3907" y="894"/>
                </a:lnTo>
                <a:lnTo>
                  <a:pt x="3913" y="892"/>
                </a:lnTo>
                <a:lnTo>
                  <a:pt x="3837" y="902"/>
                </a:lnTo>
                <a:lnTo>
                  <a:pt x="3837" y="902"/>
                </a:lnTo>
                <a:lnTo>
                  <a:pt x="3775" y="908"/>
                </a:lnTo>
                <a:lnTo>
                  <a:pt x="3715" y="914"/>
                </a:lnTo>
                <a:lnTo>
                  <a:pt x="3715" y="914"/>
                </a:lnTo>
                <a:lnTo>
                  <a:pt x="3727" y="912"/>
                </a:lnTo>
                <a:lnTo>
                  <a:pt x="3747" y="910"/>
                </a:lnTo>
                <a:lnTo>
                  <a:pt x="3747" y="910"/>
                </a:lnTo>
                <a:lnTo>
                  <a:pt x="3743" y="910"/>
                </a:lnTo>
                <a:lnTo>
                  <a:pt x="3743" y="910"/>
                </a:lnTo>
                <a:lnTo>
                  <a:pt x="3791" y="904"/>
                </a:lnTo>
                <a:lnTo>
                  <a:pt x="3833" y="900"/>
                </a:lnTo>
                <a:lnTo>
                  <a:pt x="3833" y="900"/>
                </a:lnTo>
                <a:lnTo>
                  <a:pt x="3671" y="916"/>
                </a:lnTo>
                <a:lnTo>
                  <a:pt x="3671" y="916"/>
                </a:lnTo>
                <a:lnTo>
                  <a:pt x="3673" y="916"/>
                </a:lnTo>
                <a:lnTo>
                  <a:pt x="3669" y="918"/>
                </a:lnTo>
                <a:lnTo>
                  <a:pt x="3655" y="918"/>
                </a:lnTo>
                <a:lnTo>
                  <a:pt x="3623" y="922"/>
                </a:lnTo>
                <a:lnTo>
                  <a:pt x="3621" y="922"/>
                </a:lnTo>
                <a:lnTo>
                  <a:pt x="3621" y="922"/>
                </a:lnTo>
                <a:lnTo>
                  <a:pt x="3585" y="928"/>
                </a:lnTo>
                <a:lnTo>
                  <a:pt x="3573" y="926"/>
                </a:lnTo>
                <a:lnTo>
                  <a:pt x="3573" y="926"/>
                </a:lnTo>
                <a:lnTo>
                  <a:pt x="3566" y="928"/>
                </a:lnTo>
                <a:lnTo>
                  <a:pt x="3558" y="930"/>
                </a:lnTo>
                <a:lnTo>
                  <a:pt x="3558" y="930"/>
                </a:lnTo>
                <a:lnTo>
                  <a:pt x="3484" y="938"/>
                </a:lnTo>
                <a:lnTo>
                  <a:pt x="3446" y="940"/>
                </a:lnTo>
                <a:lnTo>
                  <a:pt x="3426" y="942"/>
                </a:lnTo>
                <a:lnTo>
                  <a:pt x="3426" y="942"/>
                </a:lnTo>
                <a:lnTo>
                  <a:pt x="3348" y="950"/>
                </a:lnTo>
                <a:lnTo>
                  <a:pt x="3348" y="950"/>
                </a:lnTo>
                <a:lnTo>
                  <a:pt x="3360" y="948"/>
                </a:lnTo>
                <a:lnTo>
                  <a:pt x="3360" y="948"/>
                </a:lnTo>
                <a:lnTo>
                  <a:pt x="3242" y="960"/>
                </a:lnTo>
                <a:lnTo>
                  <a:pt x="3125" y="970"/>
                </a:lnTo>
                <a:lnTo>
                  <a:pt x="3125" y="970"/>
                </a:lnTo>
                <a:lnTo>
                  <a:pt x="2985" y="986"/>
                </a:lnTo>
                <a:lnTo>
                  <a:pt x="2985" y="986"/>
                </a:lnTo>
                <a:lnTo>
                  <a:pt x="3017" y="982"/>
                </a:lnTo>
                <a:lnTo>
                  <a:pt x="3025" y="982"/>
                </a:lnTo>
                <a:lnTo>
                  <a:pt x="3017" y="984"/>
                </a:lnTo>
                <a:lnTo>
                  <a:pt x="3017" y="984"/>
                </a:lnTo>
                <a:lnTo>
                  <a:pt x="2955" y="990"/>
                </a:lnTo>
                <a:lnTo>
                  <a:pt x="2955" y="990"/>
                </a:lnTo>
                <a:lnTo>
                  <a:pt x="2933" y="992"/>
                </a:lnTo>
                <a:lnTo>
                  <a:pt x="2925" y="992"/>
                </a:lnTo>
                <a:lnTo>
                  <a:pt x="2943" y="990"/>
                </a:lnTo>
                <a:lnTo>
                  <a:pt x="2943" y="990"/>
                </a:lnTo>
                <a:lnTo>
                  <a:pt x="2921" y="992"/>
                </a:lnTo>
                <a:lnTo>
                  <a:pt x="2887" y="994"/>
                </a:lnTo>
                <a:lnTo>
                  <a:pt x="2855" y="998"/>
                </a:lnTo>
                <a:lnTo>
                  <a:pt x="2841" y="998"/>
                </a:lnTo>
                <a:lnTo>
                  <a:pt x="2841" y="998"/>
                </a:lnTo>
                <a:lnTo>
                  <a:pt x="2795" y="1002"/>
                </a:lnTo>
                <a:lnTo>
                  <a:pt x="2739" y="1010"/>
                </a:lnTo>
                <a:lnTo>
                  <a:pt x="2739" y="1010"/>
                </a:lnTo>
                <a:lnTo>
                  <a:pt x="2755" y="1006"/>
                </a:lnTo>
                <a:lnTo>
                  <a:pt x="2775" y="1004"/>
                </a:lnTo>
                <a:lnTo>
                  <a:pt x="2743" y="1008"/>
                </a:lnTo>
                <a:lnTo>
                  <a:pt x="2743" y="1008"/>
                </a:lnTo>
                <a:lnTo>
                  <a:pt x="2743" y="1008"/>
                </a:lnTo>
                <a:lnTo>
                  <a:pt x="2682" y="1014"/>
                </a:lnTo>
                <a:lnTo>
                  <a:pt x="2638" y="1020"/>
                </a:lnTo>
                <a:lnTo>
                  <a:pt x="2640" y="1020"/>
                </a:lnTo>
                <a:lnTo>
                  <a:pt x="2616" y="1022"/>
                </a:lnTo>
                <a:lnTo>
                  <a:pt x="2644" y="1018"/>
                </a:lnTo>
                <a:lnTo>
                  <a:pt x="2644" y="1018"/>
                </a:lnTo>
                <a:lnTo>
                  <a:pt x="2546" y="1028"/>
                </a:lnTo>
                <a:lnTo>
                  <a:pt x="2542" y="1028"/>
                </a:lnTo>
                <a:lnTo>
                  <a:pt x="2516" y="1032"/>
                </a:lnTo>
                <a:lnTo>
                  <a:pt x="2516" y="1032"/>
                </a:lnTo>
                <a:lnTo>
                  <a:pt x="2520" y="1030"/>
                </a:lnTo>
                <a:lnTo>
                  <a:pt x="2520" y="1030"/>
                </a:lnTo>
                <a:lnTo>
                  <a:pt x="2470" y="1036"/>
                </a:lnTo>
                <a:lnTo>
                  <a:pt x="2420" y="1042"/>
                </a:lnTo>
                <a:lnTo>
                  <a:pt x="2420" y="1042"/>
                </a:lnTo>
                <a:lnTo>
                  <a:pt x="2396" y="1044"/>
                </a:lnTo>
                <a:lnTo>
                  <a:pt x="2368" y="1046"/>
                </a:lnTo>
                <a:lnTo>
                  <a:pt x="2372" y="1044"/>
                </a:lnTo>
                <a:lnTo>
                  <a:pt x="2372" y="1044"/>
                </a:lnTo>
                <a:lnTo>
                  <a:pt x="2410" y="1040"/>
                </a:lnTo>
                <a:lnTo>
                  <a:pt x="2450" y="1038"/>
                </a:lnTo>
                <a:lnTo>
                  <a:pt x="2450" y="1038"/>
                </a:lnTo>
                <a:lnTo>
                  <a:pt x="2406" y="1040"/>
                </a:lnTo>
                <a:lnTo>
                  <a:pt x="2342" y="1044"/>
                </a:lnTo>
                <a:lnTo>
                  <a:pt x="2205" y="1058"/>
                </a:lnTo>
                <a:lnTo>
                  <a:pt x="2205" y="1058"/>
                </a:lnTo>
                <a:lnTo>
                  <a:pt x="2091" y="1068"/>
                </a:lnTo>
                <a:lnTo>
                  <a:pt x="2039" y="1072"/>
                </a:lnTo>
                <a:lnTo>
                  <a:pt x="2005" y="1078"/>
                </a:lnTo>
                <a:lnTo>
                  <a:pt x="2013" y="1076"/>
                </a:lnTo>
                <a:lnTo>
                  <a:pt x="1903" y="1084"/>
                </a:lnTo>
                <a:lnTo>
                  <a:pt x="1903" y="1084"/>
                </a:lnTo>
                <a:lnTo>
                  <a:pt x="1764" y="1096"/>
                </a:lnTo>
                <a:lnTo>
                  <a:pt x="1642" y="1108"/>
                </a:lnTo>
                <a:lnTo>
                  <a:pt x="1622" y="1108"/>
                </a:lnTo>
                <a:lnTo>
                  <a:pt x="1622" y="1108"/>
                </a:lnTo>
                <a:lnTo>
                  <a:pt x="1552" y="1116"/>
                </a:lnTo>
                <a:lnTo>
                  <a:pt x="1463" y="1124"/>
                </a:lnTo>
                <a:lnTo>
                  <a:pt x="1381" y="1130"/>
                </a:lnTo>
                <a:lnTo>
                  <a:pt x="1323" y="1139"/>
                </a:lnTo>
                <a:lnTo>
                  <a:pt x="1323" y="1139"/>
                </a:lnTo>
                <a:lnTo>
                  <a:pt x="1309" y="1139"/>
                </a:lnTo>
                <a:lnTo>
                  <a:pt x="1315" y="1139"/>
                </a:lnTo>
                <a:lnTo>
                  <a:pt x="1341" y="1135"/>
                </a:lnTo>
                <a:lnTo>
                  <a:pt x="1341" y="1135"/>
                </a:lnTo>
                <a:lnTo>
                  <a:pt x="1285" y="1141"/>
                </a:lnTo>
                <a:lnTo>
                  <a:pt x="1255" y="1143"/>
                </a:lnTo>
                <a:lnTo>
                  <a:pt x="1229" y="1145"/>
                </a:lnTo>
                <a:lnTo>
                  <a:pt x="1229" y="1145"/>
                </a:lnTo>
                <a:lnTo>
                  <a:pt x="1249" y="1143"/>
                </a:lnTo>
                <a:lnTo>
                  <a:pt x="1257" y="1141"/>
                </a:lnTo>
                <a:lnTo>
                  <a:pt x="1253" y="1141"/>
                </a:lnTo>
                <a:lnTo>
                  <a:pt x="1253" y="1141"/>
                </a:lnTo>
                <a:lnTo>
                  <a:pt x="1225" y="1143"/>
                </a:lnTo>
                <a:lnTo>
                  <a:pt x="1195" y="1145"/>
                </a:lnTo>
                <a:lnTo>
                  <a:pt x="1195" y="1145"/>
                </a:lnTo>
                <a:lnTo>
                  <a:pt x="1197" y="1145"/>
                </a:lnTo>
                <a:lnTo>
                  <a:pt x="1193" y="1147"/>
                </a:lnTo>
                <a:lnTo>
                  <a:pt x="1175" y="1149"/>
                </a:lnTo>
                <a:lnTo>
                  <a:pt x="1119" y="1155"/>
                </a:lnTo>
                <a:lnTo>
                  <a:pt x="1119" y="1155"/>
                </a:lnTo>
                <a:lnTo>
                  <a:pt x="1129" y="1153"/>
                </a:lnTo>
                <a:lnTo>
                  <a:pt x="1129" y="1153"/>
                </a:lnTo>
                <a:lnTo>
                  <a:pt x="1117" y="1155"/>
                </a:lnTo>
                <a:lnTo>
                  <a:pt x="1091" y="1157"/>
                </a:lnTo>
                <a:lnTo>
                  <a:pt x="1091" y="1157"/>
                </a:lnTo>
                <a:lnTo>
                  <a:pt x="1097" y="1157"/>
                </a:lnTo>
                <a:lnTo>
                  <a:pt x="1097" y="1157"/>
                </a:lnTo>
                <a:lnTo>
                  <a:pt x="790" y="1181"/>
                </a:lnTo>
                <a:lnTo>
                  <a:pt x="634" y="1191"/>
                </a:lnTo>
                <a:lnTo>
                  <a:pt x="477" y="1199"/>
                </a:lnTo>
                <a:lnTo>
                  <a:pt x="515" y="1197"/>
                </a:lnTo>
                <a:lnTo>
                  <a:pt x="515" y="1197"/>
                </a:lnTo>
                <a:lnTo>
                  <a:pt x="461" y="1199"/>
                </a:lnTo>
                <a:lnTo>
                  <a:pt x="417" y="1201"/>
                </a:lnTo>
                <a:lnTo>
                  <a:pt x="421" y="1201"/>
                </a:lnTo>
                <a:lnTo>
                  <a:pt x="421" y="1201"/>
                </a:lnTo>
                <a:lnTo>
                  <a:pt x="389" y="1203"/>
                </a:lnTo>
                <a:lnTo>
                  <a:pt x="365" y="1203"/>
                </a:lnTo>
                <a:lnTo>
                  <a:pt x="345" y="1205"/>
                </a:lnTo>
                <a:lnTo>
                  <a:pt x="319" y="1205"/>
                </a:lnTo>
                <a:lnTo>
                  <a:pt x="327" y="1205"/>
                </a:lnTo>
                <a:lnTo>
                  <a:pt x="327" y="1205"/>
                </a:lnTo>
                <a:lnTo>
                  <a:pt x="243" y="1207"/>
                </a:lnTo>
                <a:lnTo>
                  <a:pt x="158" y="1211"/>
                </a:lnTo>
                <a:lnTo>
                  <a:pt x="158" y="1211"/>
                </a:lnTo>
                <a:lnTo>
                  <a:pt x="112" y="1209"/>
                </a:lnTo>
                <a:lnTo>
                  <a:pt x="78" y="1209"/>
                </a:lnTo>
                <a:lnTo>
                  <a:pt x="78" y="1209"/>
                </a:lnTo>
                <a:lnTo>
                  <a:pt x="34" y="1209"/>
                </a:lnTo>
                <a:lnTo>
                  <a:pt x="48" y="1209"/>
                </a:lnTo>
                <a:lnTo>
                  <a:pt x="48" y="1209"/>
                </a:lnTo>
                <a:lnTo>
                  <a:pt x="52" y="1211"/>
                </a:lnTo>
                <a:lnTo>
                  <a:pt x="50" y="1211"/>
                </a:lnTo>
                <a:lnTo>
                  <a:pt x="36" y="1211"/>
                </a:lnTo>
                <a:lnTo>
                  <a:pt x="36" y="1211"/>
                </a:lnTo>
                <a:lnTo>
                  <a:pt x="16" y="1209"/>
                </a:lnTo>
                <a:lnTo>
                  <a:pt x="16" y="1209"/>
                </a:lnTo>
                <a:lnTo>
                  <a:pt x="6" y="1207"/>
                </a:lnTo>
                <a:lnTo>
                  <a:pt x="6" y="1207"/>
                </a:lnTo>
                <a:lnTo>
                  <a:pt x="4" y="1207"/>
                </a:lnTo>
                <a:lnTo>
                  <a:pt x="0" y="1205"/>
                </a:lnTo>
                <a:lnTo>
                  <a:pt x="0" y="1205"/>
                </a:lnTo>
                <a:lnTo>
                  <a:pt x="4" y="1209"/>
                </a:lnTo>
                <a:lnTo>
                  <a:pt x="4" y="1209"/>
                </a:lnTo>
                <a:lnTo>
                  <a:pt x="6" y="1209"/>
                </a:lnTo>
                <a:lnTo>
                  <a:pt x="6" y="1209"/>
                </a:lnTo>
                <a:lnTo>
                  <a:pt x="14" y="1213"/>
                </a:lnTo>
                <a:lnTo>
                  <a:pt x="14" y="1213"/>
                </a:lnTo>
                <a:lnTo>
                  <a:pt x="30" y="1215"/>
                </a:lnTo>
                <a:lnTo>
                  <a:pt x="62" y="1219"/>
                </a:lnTo>
                <a:lnTo>
                  <a:pt x="62" y="1219"/>
                </a:lnTo>
                <a:lnTo>
                  <a:pt x="88" y="1219"/>
                </a:lnTo>
                <a:lnTo>
                  <a:pt x="106" y="1219"/>
                </a:lnTo>
                <a:lnTo>
                  <a:pt x="124" y="1221"/>
                </a:lnTo>
                <a:lnTo>
                  <a:pt x="152" y="1221"/>
                </a:lnTo>
                <a:lnTo>
                  <a:pt x="152" y="1221"/>
                </a:lnTo>
                <a:lnTo>
                  <a:pt x="176" y="1219"/>
                </a:lnTo>
                <a:lnTo>
                  <a:pt x="204" y="1219"/>
                </a:lnTo>
                <a:lnTo>
                  <a:pt x="235" y="1219"/>
                </a:lnTo>
                <a:lnTo>
                  <a:pt x="267" y="1217"/>
                </a:lnTo>
                <a:lnTo>
                  <a:pt x="267" y="1217"/>
                </a:lnTo>
                <a:lnTo>
                  <a:pt x="263" y="1217"/>
                </a:lnTo>
                <a:lnTo>
                  <a:pt x="265" y="1217"/>
                </a:lnTo>
                <a:lnTo>
                  <a:pt x="281" y="1217"/>
                </a:lnTo>
                <a:lnTo>
                  <a:pt x="293" y="1217"/>
                </a:lnTo>
                <a:lnTo>
                  <a:pt x="283" y="1219"/>
                </a:lnTo>
                <a:lnTo>
                  <a:pt x="283" y="1219"/>
                </a:lnTo>
                <a:lnTo>
                  <a:pt x="341" y="1215"/>
                </a:lnTo>
                <a:lnTo>
                  <a:pt x="411" y="1213"/>
                </a:lnTo>
                <a:lnTo>
                  <a:pt x="411" y="1213"/>
                </a:lnTo>
                <a:lnTo>
                  <a:pt x="399" y="1215"/>
                </a:lnTo>
                <a:lnTo>
                  <a:pt x="399" y="1215"/>
                </a:lnTo>
                <a:lnTo>
                  <a:pt x="439" y="1213"/>
                </a:lnTo>
                <a:lnTo>
                  <a:pt x="469" y="1211"/>
                </a:lnTo>
                <a:lnTo>
                  <a:pt x="467" y="1211"/>
                </a:lnTo>
                <a:lnTo>
                  <a:pt x="467" y="1211"/>
                </a:lnTo>
                <a:lnTo>
                  <a:pt x="497" y="1209"/>
                </a:lnTo>
                <a:lnTo>
                  <a:pt x="497" y="1209"/>
                </a:lnTo>
                <a:lnTo>
                  <a:pt x="481" y="1209"/>
                </a:lnTo>
                <a:lnTo>
                  <a:pt x="475" y="1209"/>
                </a:lnTo>
                <a:lnTo>
                  <a:pt x="479" y="1209"/>
                </a:lnTo>
                <a:lnTo>
                  <a:pt x="479" y="1209"/>
                </a:lnTo>
                <a:lnTo>
                  <a:pt x="527" y="1205"/>
                </a:lnTo>
                <a:lnTo>
                  <a:pt x="527" y="1205"/>
                </a:lnTo>
                <a:lnTo>
                  <a:pt x="505" y="1207"/>
                </a:lnTo>
                <a:lnTo>
                  <a:pt x="505" y="1207"/>
                </a:lnTo>
                <a:lnTo>
                  <a:pt x="547" y="1205"/>
                </a:lnTo>
                <a:lnTo>
                  <a:pt x="547" y="1205"/>
                </a:lnTo>
                <a:lnTo>
                  <a:pt x="503" y="1209"/>
                </a:lnTo>
                <a:lnTo>
                  <a:pt x="503" y="1209"/>
                </a:lnTo>
                <a:lnTo>
                  <a:pt x="529" y="1209"/>
                </a:lnTo>
                <a:lnTo>
                  <a:pt x="525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7" y="1209"/>
                </a:lnTo>
                <a:lnTo>
                  <a:pt x="555" y="1207"/>
                </a:lnTo>
                <a:lnTo>
                  <a:pt x="605" y="1205"/>
                </a:lnTo>
                <a:lnTo>
                  <a:pt x="605" y="1205"/>
                </a:lnTo>
                <a:lnTo>
                  <a:pt x="595" y="1205"/>
                </a:lnTo>
                <a:lnTo>
                  <a:pt x="579" y="1207"/>
                </a:lnTo>
                <a:lnTo>
                  <a:pt x="579" y="1207"/>
                </a:lnTo>
                <a:lnTo>
                  <a:pt x="615" y="1205"/>
                </a:lnTo>
                <a:lnTo>
                  <a:pt x="648" y="1203"/>
                </a:lnTo>
                <a:lnTo>
                  <a:pt x="728" y="1197"/>
                </a:lnTo>
                <a:lnTo>
                  <a:pt x="728" y="1197"/>
                </a:lnTo>
                <a:lnTo>
                  <a:pt x="714" y="1199"/>
                </a:lnTo>
                <a:lnTo>
                  <a:pt x="714" y="1199"/>
                </a:lnTo>
                <a:lnTo>
                  <a:pt x="756" y="1197"/>
                </a:lnTo>
                <a:lnTo>
                  <a:pt x="788" y="1195"/>
                </a:lnTo>
                <a:lnTo>
                  <a:pt x="788" y="1195"/>
                </a:lnTo>
                <a:lnTo>
                  <a:pt x="804" y="1193"/>
                </a:lnTo>
                <a:lnTo>
                  <a:pt x="808" y="1195"/>
                </a:lnTo>
                <a:lnTo>
                  <a:pt x="842" y="1193"/>
                </a:lnTo>
                <a:lnTo>
                  <a:pt x="842" y="1193"/>
                </a:lnTo>
                <a:lnTo>
                  <a:pt x="840" y="1193"/>
                </a:lnTo>
                <a:lnTo>
                  <a:pt x="844" y="1191"/>
                </a:lnTo>
                <a:lnTo>
                  <a:pt x="864" y="1191"/>
                </a:lnTo>
                <a:lnTo>
                  <a:pt x="886" y="1189"/>
                </a:lnTo>
                <a:lnTo>
                  <a:pt x="898" y="1187"/>
                </a:lnTo>
                <a:lnTo>
                  <a:pt x="934" y="1185"/>
                </a:lnTo>
                <a:lnTo>
                  <a:pt x="934" y="1185"/>
                </a:lnTo>
                <a:lnTo>
                  <a:pt x="948" y="1183"/>
                </a:lnTo>
                <a:lnTo>
                  <a:pt x="950" y="1183"/>
                </a:lnTo>
                <a:lnTo>
                  <a:pt x="958" y="1181"/>
                </a:lnTo>
                <a:lnTo>
                  <a:pt x="988" y="1177"/>
                </a:lnTo>
                <a:lnTo>
                  <a:pt x="988" y="1177"/>
                </a:lnTo>
                <a:lnTo>
                  <a:pt x="1012" y="1177"/>
                </a:lnTo>
                <a:lnTo>
                  <a:pt x="1014" y="1177"/>
                </a:lnTo>
                <a:lnTo>
                  <a:pt x="1012" y="1179"/>
                </a:lnTo>
                <a:lnTo>
                  <a:pt x="1006" y="1181"/>
                </a:lnTo>
                <a:lnTo>
                  <a:pt x="1016" y="1181"/>
                </a:lnTo>
                <a:lnTo>
                  <a:pt x="1030" y="1179"/>
                </a:lnTo>
                <a:lnTo>
                  <a:pt x="1059" y="1177"/>
                </a:lnTo>
                <a:lnTo>
                  <a:pt x="1055" y="1177"/>
                </a:lnTo>
                <a:lnTo>
                  <a:pt x="1055" y="1177"/>
                </a:lnTo>
                <a:lnTo>
                  <a:pt x="1103" y="1175"/>
                </a:lnTo>
                <a:lnTo>
                  <a:pt x="1103" y="1175"/>
                </a:lnTo>
                <a:lnTo>
                  <a:pt x="1079" y="1177"/>
                </a:lnTo>
                <a:lnTo>
                  <a:pt x="1079" y="1177"/>
                </a:lnTo>
                <a:lnTo>
                  <a:pt x="1147" y="1173"/>
                </a:lnTo>
                <a:lnTo>
                  <a:pt x="1187" y="1171"/>
                </a:lnTo>
                <a:lnTo>
                  <a:pt x="1217" y="1167"/>
                </a:lnTo>
                <a:lnTo>
                  <a:pt x="1217" y="1167"/>
                </a:lnTo>
                <a:lnTo>
                  <a:pt x="1249" y="1165"/>
                </a:lnTo>
                <a:lnTo>
                  <a:pt x="1263" y="1165"/>
                </a:lnTo>
                <a:lnTo>
                  <a:pt x="1263" y="1165"/>
                </a:lnTo>
                <a:lnTo>
                  <a:pt x="1309" y="1161"/>
                </a:lnTo>
                <a:lnTo>
                  <a:pt x="1359" y="1157"/>
                </a:lnTo>
                <a:lnTo>
                  <a:pt x="1359" y="1157"/>
                </a:lnTo>
                <a:lnTo>
                  <a:pt x="1369" y="1157"/>
                </a:lnTo>
                <a:lnTo>
                  <a:pt x="1395" y="1155"/>
                </a:lnTo>
                <a:lnTo>
                  <a:pt x="1395" y="1155"/>
                </a:lnTo>
                <a:lnTo>
                  <a:pt x="1383" y="1155"/>
                </a:lnTo>
                <a:lnTo>
                  <a:pt x="1401" y="1153"/>
                </a:lnTo>
                <a:lnTo>
                  <a:pt x="1401" y="1153"/>
                </a:lnTo>
                <a:lnTo>
                  <a:pt x="1447" y="1149"/>
                </a:lnTo>
                <a:lnTo>
                  <a:pt x="1486" y="1147"/>
                </a:lnTo>
                <a:lnTo>
                  <a:pt x="1486" y="1147"/>
                </a:lnTo>
                <a:lnTo>
                  <a:pt x="1508" y="1145"/>
                </a:lnTo>
                <a:lnTo>
                  <a:pt x="1510" y="1143"/>
                </a:lnTo>
                <a:lnTo>
                  <a:pt x="1512" y="1141"/>
                </a:lnTo>
                <a:lnTo>
                  <a:pt x="1512" y="1141"/>
                </a:lnTo>
                <a:lnTo>
                  <a:pt x="1558" y="1139"/>
                </a:lnTo>
                <a:lnTo>
                  <a:pt x="1580" y="1139"/>
                </a:lnTo>
                <a:lnTo>
                  <a:pt x="1584" y="1139"/>
                </a:lnTo>
                <a:lnTo>
                  <a:pt x="1582" y="1139"/>
                </a:lnTo>
                <a:lnTo>
                  <a:pt x="1582" y="1139"/>
                </a:lnTo>
                <a:lnTo>
                  <a:pt x="1550" y="1141"/>
                </a:lnTo>
                <a:lnTo>
                  <a:pt x="1538" y="1143"/>
                </a:lnTo>
                <a:lnTo>
                  <a:pt x="1534" y="1143"/>
                </a:lnTo>
                <a:lnTo>
                  <a:pt x="1536" y="1143"/>
                </a:lnTo>
                <a:lnTo>
                  <a:pt x="1536" y="1143"/>
                </a:lnTo>
                <a:lnTo>
                  <a:pt x="1558" y="1141"/>
                </a:lnTo>
                <a:lnTo>
                  <a:pt x="1576" y="1139"/>
                </a:lnTo>
                <a:lnTo>
                  <a:pt x="1576" y="1139"/>
                </a:lnTo>
                <a:lnTo>
                  <a:pt x="1584" y="1139"/>
                </a:lnTo>
                <a:lnTo>
                  <a:pt x="1588" y="1141"/>
                </a:lnTo>
                <a:lnTo>
                  <a:pt x="1588" y="1141"/>
                </a:lnTo>
                <a:lnTo>
                  <a:pt x="1648" y="1135"/>
                </a:lnTo>
                <a:lnTo>
                  <a:pt x="1648" y="1135"/>
                </a:lnTo>
                <a:lnTo>
                  <a:pt x="1636" y="1135"/>
                </a:lnTo>
                <a:lnTo>
                  <a:pt x="1644" y="1135"/>
                </a:lnTo>
                <a:lnTo>
                  <a:pt x="1654" y="1133"/>
                </a:lnTo>
                <a:lnTo>
                  <a:pt x="1650" y="1133"/>
                </a:lnTo>
                <a:lnTo>
                  <a:pt x="1616" y="1137"/>
                </a:lnTo>
                <a:lnTo>
                  <a:pt x="1616" y="1137"/>
                </a:lnTo>
                <a:lnTo>
                  <a:pt x="1594" y="1139"/>
                </a:lnTo>
                <a:lnTo>
                  <a:pt x="1596" y="1137"/>
                </a:lnTo>
                <a:lnTo>
                  <a:pt x="1592" y="1137"/>
                </a:lnTo>
                <a:lnTo>
                  <a:pt x="1592" y="1137"/>
                </a:lnTo>
                <a:lnTo>
                  <a:pt x="1656" y="1130"/>
                </a:lnTo>
                <a:lnTo>
                  <a:pt x="1716" y="1122"/>
                </a:lnTo>
                <a:lnTo>
                  <a:pt x="1758" y="1120"/>
                </a:lnTo>
                <a:lnTo>
                  <a:pt x="1758" y="1120"/>
                </a:lnTo>
                <a:lnTo>
                  <a:pt x="1742" y="1122"/>
                </a:lnTo>
                <a:lnTo>
                  <a:pt x="1752" y="1124"/>
                </a:lnTo>
                <a:lnTo>
                  <a:pt x="1752" y="1124"/>
                </a:lnTo>
                <a:lnTo>
                  <a:pt x="1804" y="1118"/>
                </a:lnTo>
                <a:lnTo>
                  <a:pt x="1850" y="1116"/>
                </a:lnTo>
                <a:lnTo>
                  <a:pt x="1850" y="1116"/>
                </a:lnTo>
                <a:lnTo>
                  <a:pt x="1834" y="1116"/>
                </a:lnTo>
                <a:lnTo>
                  <a:pt x="1846" y="1114"/>
                </a:lnTo>
                <a:lnTo>
                  <a:pt x="1846" y="1114"/>
                </a:lnTo>
                <a:lnTo>
                  <a:pt x="1886" y="1112"/>
                </a:lnTo>
                <a:lnTo>
                  <a:pt x="1889" y="1112"/>
                </a:lnTo>
                <a:lnTo>
                  <a:pt x="1901" y="1112"/>
                </a:lnTo>
                <a:lnTo>
                  <a:pt x="1901" y="1112"/>
                </a:lnTo>
                <a:lnTo>
                  <a:pt x="2027" y="1102"/>
                </a:lnTo>
                <a:lnTo>
                  <a:pt x="2141" y="1092"/>
                </a:lnTo>
                <a:lnTo>
                  <a:pt x="2103" y="1092"/>
                </a:lnTo>
                <a:lnTo>
                  <a:pt x="2091" y="1096"/>
                </a:lnTo>
                <a:lnTo>
                  <a:pt x="2091" y="1096"/>
                </a:lnTo>
                <a:lnTo>
                  <a:pt x="2079" y="1096"/>
                </a:lnTo>
                <a:lnTo>
                  <a:pt x="2085" y="1094"/>
                </a:lnTo>
                <a:lnTo>
                  <a:pt x="2113" y="1088"/>
                </a:lnTo>
                <a:lnTo>
                  <a:pt x="2113" y="1088"/>
                </a:lnTo>
                <a:lnTo>
                  <a:pt x="2137" y="1088"/>
                </a:lnTo>
                <a:lnTo>
                  <a:pt x="2149" y="1086"/>
                </a:lnTo>
                <a:lnTo>
                  <a:pt x="2145" y="1088"/>
                </a:lnTo>
                <a:lnTo>
                  <a:pt x="2193" y="1082"/>
                </a:lnTo>
                <a:lnTo>
                  <a:pt x="2193" y="1082"/>
                </a:lnTo>
                <a:lnTo>
                  <a:pt x="2175" y="1084"/>
                </a:lnTo>
                <a:lnTo>
                  <a:pt x="2169" y="1084"/>
                </a:lnTo>
                <a:lnTo>
                  <a:pt x="2177" y="1082"/>
                </a:lnTo>
                <a:lnTo>
                  <a:pt x="2177" y="1082"/>
                </a:lnTo>
                <a:lnTo>
                  <a:pt x="2211" y="1080"/>
                </a:lnTo>
                <a:lnTo>
                  <a:pt x="2221" y="1080"/>
                </a:lnTo>
                <a:lnTo>
                  <a:pt x="2211" y="1082"/>
                </a:lnTo>
                <a:lnTo>
                  <a:pt x="2211" y="1082"/>
                </a:lnTo>
                <a:lnTo>
                  <a:pt x="2247" y="1078"/>
                </a:lnTo>
                <a:lnTo>
                  <a:pt x="2261" y="1076"/>
                </a:lnTo>
                <a:lnTo>
                  <a:pt x="2261" y="1076"/>
                </a:lnTo>
                <a:lnTo>
                  <a:pt x="2277" y="1074"/>
                </a:lnTo>
                <a:lnTo>
                  <a:pt x="2273" y="1076"/>
                </a:lnTo>
                <a:lnTo>
                  <a:pt x="2241" y="1080"/>
                </a:lnTo>
                <a:lnTo>
                  <a:pt x="2241" y="1080"/>
                </a:lnTo>
                <a:lnTo>
                  <a:pt x="2265" y="1078"/>
                </a:lnTo>
                <a:lnTo>
                  <a:pt x="2259" y="1080"/>
                </a:lnTo>
                <a:lnTo>
                  <a:pt x="2303" y="1076"/>
                </a:lnTo>
                <a:lnTo>
                  <a:pt x="2303" y="1076"/>
                </a:lnTo>
                <a:lnTo>
                  <a:pt x="2283" y="1080"/>
                </a:lnTo>
                <a:lnTo>
                  <a:pt x="2283" y="1080"/>
                </a:lnTo>
                <a:lnTo>
                  <a:pt x="2324" y="1076"/>
                </a:lnTo>
                <a:lnTo>
                  <a:pt x="2360" y="1072"/>
                </a:lnTo>
                <a:lnTo>
                  <a:pt x="2370" y="1070"/>
                </a:lnTo>
                <a:lnTo>
                  <a:pt x="2370" y="1070"/>
                </a:lnTo>
                <a:lnTo>
                  <a:pt x="2518" y="1058"/>
                </a:lnTo>
                <a:lnTo>
                  <a:pt x="2506" y="1058"/>
                </a:lnTo>
                <a:lnTo>
                  <a:pt x="2506" y="1058"/>
                </a:lnTo>
                <a:lnTo>
                  <a:pt x="2536" y="1054"/>
                </a:lnTo>
                <a:lnTo>
                  <a:pt x="2556" y="1054"/>
                </a:lnTo>
                <a:lnTo>
                  <a:pt x="2580" y="1052"/>
                </a:lnTo>
                <a:lnTo>
                  <a:pt x="2624" y="1048"/>
                </a:lnTo>
                <a:lnTo>
                  <a:pt x="2624" y="1048"/>
                </a:lnTo>
                <a:lnTo>
                  <a:pt x="2674" y="1042"/>
                </a:lnTo>
                <a:lnTo>
                  <a:pt x="2686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714" y="1038"/>
                </a:lnTo>
                <a:lnTo>
                  <a:pt x="2731" y="1036"/>
                </a:lnTo>
                <a:lnTo>
                  <a:pt x="2731" y="1036"/>
                </a:lnTo>
                <a:lnTo>
                  <a:pt x="2771" y="1032"/>
                </a:lnTo>
                <a:lnTo>
                  <a:pt x="2821" y="1026"/>
                </a:lnTo>
                <a:lnTo>
                  <a:pt x="2765" y="1032"/>
                </a:lnTo>
                <a:lnTo>
                  <a:pt x="2765" y="1032"/>
                </a:lnTo>
                <a:lnTo>
                  <a:pt x="2805" y="1030"/>
                </a:lnTo>
                <a:lnTo>
                  <a:pt x="2863" y="1024"/>
                </a:lnTo>
                <a:lnTo>
                  <a:pt x="2997" y="1008"/>
                </a:lnTo>
                <a:lnTo>
                  <a:pt x="2997" y="1008"/>
                </a:lnTo>
                <a:lnTo>
                  <a:pt x="2989" y="1008"/>
                </a:lnTo>
                <a:lnTo>
                  <a:pt x="2987" y="1006"/>
                </a:lnTo>
                <a:lnTo>
                  <a:pt x="2989" y="1006"/>
                </a:lnTo>
                <a:lnTo>
                  <a:pt x="3023" y="1000"/>
                </a:lnTo>
                <a:lnTo>
                  <a:pt x="3023" y="1000"/>
                </a:lnTo>
                <a:lnTo>
                  <a:pt x="3047" y="1000"/>
                </a:lnTo>
                <a:lnTo>
                  <a:pt x="3095" y="996"/>
                </a:lnTo>
                <a:lnTo>
                  <a:pt x="3095" y="996"/>
                </a:lnTo>
                <a:lnTo>
                  <a:pt x="3095" y="996"/>
                </a:lnTo>
                <a:lnTo>
                  <a:pt x="3099" y="996"/>
                </a:lnTo>
                <a:lnTo>
                  <a:pt x="3113" y="996"/>
                </a:lnTo>
                <a:lnTo>
                  <a:pt x="3119" y="996"/>
                </a:lnTo>
                <a:lnTo>
                  <a:pt x="3099" y="998"/>
                </a:lnTo>
                <a:lnTo>
                  <a:pt x="3099" y="998"/>
                </a:lnTo>
                <a:lnTo>
                  <a:pt x="3079" y="998"/>
                </a:lnTo>
                <a:lnTo>
                  <a:pt x="3055" y="1000"/>
                </a:lnTo>
                <a:lnTo>
                  <a:pt x="3055" y="1000"/>
                </a:lnTo>
                <a:lnTo>
                  <a:pt x="3137" y="996"/>
                </a:lnTo>
                <a:lnTo>
                  <a:pt x="3137" y="996"/>
                </a:lnTo>
                <a:lnTo>
                  <a:pt x="3097" y="1000"/>
                </a:lnTo>
                <a:lnTo>
                  <a:pt x="3097" y="1000"/>
                </a:lnTo>
                <a:lnTo>
                  <a:pt x="3103" y="1000"/>
                </a:lnTo>
                <a:lnTo>
                  <a:pt x="3101" y="1000"/>
                </a:ln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1" name="Freeform 106"/>
          <p:cNvSpPr>
            <a:spLocks/>
          </p:cNvSpPr>
          <p:nvPr userDrawn="1"/>
        </p:nvSpPr>
        <p:spPr bwMode="auto">
          <a:xfrm>
            <a:off x="-6673850" y="4697413"/>
            <a:ext cx="13293725" cy="1878013"/>
          </a:xfrm>
          <a:custGeom>
            <a:avLst/>
            <a:gdLst>
              <a:gd name="T0" fmla="*/ 5070 w 8374"/>
              <a:gd name="T1" fmla="*/ 768 h 1183"/>
              <a:gd name="T2" fmla="*/ 4872 w 8374"/>
              <a:gd name="T3" fmla="*/ 790 h 1183"/>
              <a:gd name="T4" fmla="*/ 4795 w 8374"/>
              <a:gd name="T5" fmla="*/ 802 h 1183"/>
              <a:gd name="T6" fmla="*/ 4691 w 8374"/>
              <a:gd name="T7" fmla="*/ 812 h 1183"/>
              <a:gd name="T8" fmla="*/ 4294 w 8374"/>
              <a:gd name="T9" fmla="*/ 852 h 1183"/>
              <a:gd name="T10" fmla="*/ 4046 w 8374"/>
              <a:gd name="T11" fmla="*/ 876 h 1183"/>
              <a:gd name="T12" fmla="*/ 3943 w 8374"/>
              <a:gd name="T13" fmla="*/ 886 h 1183"/>
              <a:gd name="T14" fmla="*/ 3783 w 8374"/>
              <a:gd name="T15" fmla="*/ 902 h 1183"/>
              <a:gd name="T16" fmla="*/ 3595 w 8374"/>
              <a:gd name="T17" fmla="*/ 915 h 1183"/>
              <a:gd name="T18" fmla="*/ 3362 w 8374"/>
              <a:gd name="T19" fmla="*/ 931 h 1183"/>
              <a:gd name="T20" fmla="*/ 3035 w 8374"/>
              <a:gd name="T21" fmla="*/ 951 h 1183"/>
              <a:gd name="T22" fmla="*/ 2923 w 8374"/>
              <a:gd name="T23" fmla="*/ 963 h 1183"/>
              <a:gd name="T24" fmla="*/ 2660 w 8374"/>
              <a:gd name="T25" fmla="*/ 987 h 1183"/>
              <a:gd name="T26" fmla="*/ 2554 w 8374"/>
              <a:gd name="T27" fmla="*/ 993 h 1183"/>
              <a:gd name="T28" fmla="*/ 2307 w 8374"/>
              <a:gd name="T29" fmla="*/ 1017 h 1183"/>
              <a:gd name="T30" fmla="*/ 1943 w 8374"/>
              <a:gd name="T31" fmla="*/ 1049 h 1183"/>
              <a:gd name="T32" fmla="*/ 1812 w 8374"/>
              <a:gd name="T33" fmla="*/ 1057 h 1183"/>
              <a:gd name="T34" fmla="*/ 1638 w 8374"/>
              <a:gd name="T35" fmla="*/ 1071 h 1183"/>
              <a:gd name="T36" fmla="*/ 1461 w 8374"/>
              <a:gd name="T37" fmla="*/ 1091 h 1183"/>
              <a:gd name="T38" fmla="*/ 1375 w 8374"/>
              <a:gd name="T39" fmla="*/ 1093 h 1183"/>
              <a:gd name="T40" fmla="*/ 1157 w 8374"/>
              <a:gd name="T41" fmla="*/ 1109 h 1183"/>
              <a:gd name="T42" fmla="*/ 892 w 8374"/>
              <a:gd name="T43" fmla="*/ 1119 h 1183"/>
              <a:gd name="T44" fmla="*/ 634 w 8374"/>
              <a:gd name="T45" fmla="*/ 1135 h 1183"/>
              <a:gd name="T46" fmla="*/ 459 w 8374"/>
              <a:gd name="T47" fmla="*/ 1145 h 1183"/>
              <a:gd name="T48" fmla="*/ 269 w 8374"/>
              <a:gd name="T49" fmla="*/ 1159 h 1183"/>
              <a:gd name="T50" fmla="*/ 549 w 8374"/>
              <a:gd name="T51" fmla="*/ 1147 h 1183"/>
              <a:gd name="T52" fmla="*/ 174 w 8374"/>
              <a:gd name="T53" fmla="*/ 1161 h 1183"/>
              <a:gd name="T54" fmla="*/ 78 w 8374"/>
              <a:gd name="T55" fmla="*/ 1173 h 1183"/>
              <a:gd name="T56" fmla="*/ 98 w 8374"/>
              <a:gd name="T57" fmla="*/ 1175 h 1183"/>
              <a:gd name="T58" fmla="*/ 190 w 8374"/>
              <a:gd name="T59" fmla="*/ 1175 h 1183"/>
              <a:gd name="T60" fmla="*/ 449 w 8374"/>
              <a:gd name="T61" fmla="*/ 1159 h 1183"/>
              <a:gd name="T62" fmla="*/ 567 w 8374"/>
              <a:gd name="T63" fmla="*/ 1153 h 1183"/>
              <a:gd name="T64" fmla="*/ 950 w 8374"/>
              <a:gd name="T65" fmla="*/ 1129 h 1183"/>
              <a:gd name="T66" fmla="*/ 868 w 8374"/>
              <a:gd name="T67" fmla="*/ 1139 h 1183"/>
              <a:gd name="T68" fmla="*/ 1107 w 8374"/>
              <a:gd name="T69" fmla="*/ 1127 h 1183"/>
              <a:gd name="T70" fmla="*/ 1339 w 8374"/>
              <a:gd name="T71" fmla="*/ 1117 h 1183"/>
              <a:gd name="T72" fmla="*/ 1554 w 8374"/>
              <a:gd name="T73" fmla="*/ 1099 h 1183"/>
              <a:gd name="T74" fmla="*/ 1762 w 8374"/>
              <a:gd name="T75" fmla="*/ 1085 h 1183"/>
              <a:gd name="T76" fmla="*/ 2107 w 8374"/>
              <a:gd name="T77" fmla="*/ 1055 h 1183"/>
              <a:gd name="T78" fmla="*/ 2530 w 8374"/>
              <a:gd name="T79" fmla="*/ 1021 h 1183"/>
              <a:gd name="T80" fmla="*/ 2556 w 8374"/>
              <a:gd name="T81" fmla="*/ 1013 h 1183"/>
              <a:gd name="T82" fmla="*/ 2819 w 8374"/>
              <a:gd name="T83" fmla="*/ 989 h 1183"/>
              <a:gd name="T84" fmla="*/ 3073 w 8374"/>
              <a:gd name="T85" fmla="*/ 977 h 1183"/>
              <a:gd name="T86" fmla="*/ 3727 w 8374"/>
              <a:gd name="T87" fmla="*/ 929 h 1183"/>
              <a:gd name="T88" fmla="*/ 4577 w 8374"/>
              <a:gd name="T89" fmla="*/ 850 h 1183"/>
              <a:gd name="T90" fmla="*/ 4884 w 8374"/>
              <a:gd name="T91" fmla="*/ 816 h 1183"/>
              <a:gd name="T92" fmla="*/ 5513 w 8374"/>
              <a:gd name="T93" fmla="*/ 738 h 1183"/>
              <a:gd name="T94" fmla="*/ 5920 w 8374"/>
              <a:gd name="T95" fmla="*/ 682 h 1183"/>
              <a:gd name="T96" fmla="*/ 6558 w 8374"/>
              <a:gd name="T97" fmla="*/ 576 h 1183"/>
              <a:gd name="T98" fmla="*/ 7223 w 8374"/>
              <a:gd name="T99" fmla="*/ 429 h 1183"/>
              <a:gd name="T100" fmla="*/ 8045 w 8374"/>
              <a:gd name="T101" fmla="*/ 171 h 1183"/>
              <a:gd name="T102" fmla="*/ 8360 w 8374"/>
              <a:gd name="T103" fmla="*/ 9 h 1183"/>
              <a:gd name="T104" fmla="*/ 7973 w 8374"/>
              <a:gd name="T105" fmla="*/ 187 h 1183"/>
              <a:gd name="T106" fmla="*/ 7885 w 8374"/>
              <a:gd name="T107" fmla="*/ 217 h 1183"/>
              <a:gd name="T108" fmla="*/ 7546 w 8374"/>
              <a:gd name="T109" fmla="*/ 323 h 1183"/>
              <a:gd name="T110" fmla="*/ 7255 w 8374"/>
              <a:gd name="T111" fmla="*/ 397 h 1183"/>
              <a:gd name="T112" fmla="*/ 6868 w 8374"/>
              <a:gd name="T113" fmla="*/ 488 h 1183"/>
              <a:gd name="T114" fmla="*/ 6860 w 8374"/>
              <a:gd name="T115" fmla="*/ 488 h 1183"/>
              <a:gd name="T116" fmla="*/ 6369 w 8374"/>
              <a:gd name="T117" fmla="*/ 582 h 1183"/>
              <a:gd name="T118" fmla="*/ 6221 w 8374"/>
              <a:gd name="T119" fmla="*/ 610 h 1183"/>
              <a:gd name="T120" fmla="*/ 5752 w 8374"/>
              <a:gd name="T121" fmla="*/ 682 h 1183"/>
              <a:gd name="T122" fmla="*/ 5367 w 8374"/>
              <a:gd name="T123" fmla="*/ 736 h 1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74" h="1183">
                <a:moveTo>
                  <a:pt x="5367" y="734"/>
                </a:moveTo>
                <a:lnTo>
                  <a:pt x="5367" y="734"/>
                </a:lnTo>
                <a:lnTo>
                  <a:pt x="5391" y="730"/>
                </a:lnTo>
                <a:lnTo>
                  <a:pt x="5385" y="730"/>
                </a:lnTo>
                <a:lnTo>
                  <a:pt x="5367" y="732"/>
                </a:lnTo>
                <a:lnTo>
                  <a:pt x="5361" y="732"/>
                </a:lnTo>
                <a:lnTo>
                  <a:pt x="5361" y="732"/>
                </a:lnTo>
                <a:lnTo>
                  <a:pt x="5331" y="736"/>
                </a:lnTo>
                <a:lnTo>
                  <a:pt x="5321" y="738"/>
                </a:lnTo>
                <a:lnTo>
                  <a:pt x="5325" y="738"/>
                </a:lnTo>
                <a:lnTo>
                  <a:pt x="5325" y="738"/>
                </a:lnTo>
                <a:lnTo>
                  <a:pt x="5295" y="740"/>
                </a:lnTo>
                <a:lnTo>
                  <a:pt x="5259" y="746"/>
                </a:lnTo>
                <a:lnTo>
                  <a:pt x="5220" y="750"/>
                </a:lnTo>
                <a:lnTo>
                  <a:pt x="5188" y="754"/>
                </a:lnTo>
                <a:lnTo>
                  <a:pt x="5188" y="754"/>
                </a:lnTo>
                <a:lnTo>
                  <a:pt x="5194" y="754"/>
                </a:lnTo>
                <a:lnTo>
                  <a:pt x="5182" y="756"/>
                </a:lnTo>
                <a:lnTo>
                  <a:pt x="5182" y="756"/>
                </a:lnTo>
                <a:lnTo>
                  <a:pt x="5150" y="760"/>
                </a:lnTo>
                <a:lnTo>
                  <a:pt x="5132" y="760"/>
                </a:lnTo>
                <a:lnTo>
                  <a:pt x="5132" y="760"/>
                </a:lnTo>
                <a:lnTo>
                  <a:pt x="5070" y="768"/>
                </a:lnTo>
                <a:lnTo>
                  <a:pt x="5070" y="768"/>
                </a:lnTo>
                <a:lnTo>
                  <a:pt x="5064" y="770"/>
                </a:lnTo>
                <a:lnTo>
                  <a:pt x="5070" y="770"/>
                </a:lnTo>
                <a:lnTo>
                  <a:pt x="5074" y="770"/>
                </a:lnTo>
                <a:lnTo>
                  <a:pt x="5062" y="774"/>
                </a:lnTo>
                <a:lnTo>
                  <a:pt x="5062" y="774"/>
                </a:lnTo>
                <a:lnTo>
                  <a:pt x="5022" y="778"/>
                </a:lnTo>
                <a:lnTo>
                  <a:pt x="4980" y="784"/>
                </a:lnTo>
                <a:lnTo>
                  <a:pt x="4980" y="784"/>
                </a:lnTo>
                <a:lnTo>
                  <a:pt x="4972" y="784"/>
                </a:lnTo>
                <a:lnTo>
                  <a:pt x="4986" y="782"/>
                </a:lnTo>
                <a:lnTo>
                  <a:pt x="5026" y="776"/>
                </a:lnTo>
                <a:lnTo>
                  <a:pt x="4932" y="788"/>
                </a:lnTo>
                <a:lnTo>
                  <a:pt x="4932" y="788"/>
                </a:lnTo>
                <a:lnTo>
                  <a:pt x="4924" y="788"/>
                </a:lnTo>
                <a:lnTo>
                  <a:pt x="4932" y="788"/>
                </a:lnTo>
                <a:lnTo>
                  <a:pt x="4972" y="782"/>
                </a:lnTo>
                <a:lnTo>
                  <a:pt x="4972" y="782"/>
                </a:lnTo>
                <a:lnTo>
                  <a:pt x="4914" y="788"/>
                </a:lnTo>
                <a:lnTo>
                  <a:pt x="4876" y="794"/>
                </a:lnTo>
                <a:lnTo>
                  <a:pt x="4876" y="794"/>
                </a:lnTo>
                <a:lnTo>
                  <a:pt x="4817" y="800"/>
                </a:lnTo>
                <a:lnTo>
                  <a:pt x="4817" y="800"/>
                </a:lnTo>
                <a:lnTo>
                  <a:pt x="4840" y="796"/>
                </a:lnTo>
                <a:lnTo>
                  <a:pt x="4872" y="790"/>
                </a:lnTo>
                <a:lnTo>
                  <a:pt x="4872" y="790"/>
                </a:lnTo>
                <a:lnTo>
                  <a:pt x="4894" y="788"/>
                </a:lnTo>
                <a:lnTo>
                  <a:pt x="4890" y="790"/>
                </a:lnTo>
                <a:lnTo>
                  <a:pt x="4884" y="790"/>
                </a:lnTo>
                <a:lnTo>
                  <a:pt x="4900" y="790"/>
                </a:lnTo>
                <a:lnTo>
                  <a:pt x="4904" y="788"/>
                </a:lnTo>
                <a:lnTo>
                  <a:pt x="4904" y="788"/>
                </a:lnTo>
                <a:lnTo>
                  <a:pt x="4934" y="784"/>
                </a:lnTo>
                <a:lnTo>
                  <a:pt x="4964" y="780"/>
                </a:lnTo>
                <a:lnTo>
                  <a:pt x="4964" y="780"/>
                </a:lnTo>
                <a:lnTo>
                  <a:pt x="4968" y="780"/>
                </a:lnTo>
                <a:lnTo>
                  <a:pt x="4966" y="780"/>
                </a:lnTo>
                <a:lnTo>
                  <a:pt x="4952" y="782"/>
                </a:lnTo>
                <a:lnTo>
                  <a:pt x="4952" y="782"/>
                </a:lnTo>
                <a:lnTo>
                  <a:pt x="5008" y="776"/>
                </a:lnTo>
                <a:lnTo>
                  <a:pt x="5056" y="770"/>
                </a:lnTo>
                <a:lnTo>
                  <a:pt x="5056" y="770"/>
                </a:lnTo>
                <a:lnTo>
                  <a:pt x="4964" y="780"/>
                </a:lnTo>
                <a:lnTo>
                  <a:pt x="4896" y="786"/>
                </a:lnTo>
                <a:lnTo>
                  <a:pt x="4787" y="800"/>
                </a:lnTo>
                <a:lnTo>
                  <a:pt x="4787" y="800"/>
                </a:lnTo>
                <a:lnTo>
                  <a:pt x="4803" y="800"/>
                </a:lnTo>
                <a:lnTo>
                  <a:pt x="4807" y="800"/>
                </a:lnTo>
                <a:lnTo>
                  <a:pt x="4795" y="802"/>
                </a:lnTo>
                <a:lnTo>
                  <a:pt x="4795" y="802"/>
                </a:lnTo>
                <a:lnTo>
                  <a:pt x="4763" y="804"/>
                </a:lnTo>
                <a:lnTo>
                  <a:pt x="4709" y="808"/>
                </a:lnTo>
                <a:lnTo>
                  <a:pt x="4709" y="808"/>
                </a:lnTo>
                <a:lnTo>
                  <a:pt x="4709" y="810"/>
                </a:lnTo>
                <a:lnTo>
                  <a:pt x="4705" y="810"/>
                </a:lnTo>
                <a:lnTo>
                  <a:pt x="4683" y="814"/>
                </a:lnTo>
                <a:lnTo>
                  <a:pt x="4663" y="816"/>
                </a:lnTo>
                <a:lnTo>
                  <a:pt x="4659" y="816"/>
                </a:lnTo>
                <a:lnTo>
                  <a:pt x="4663" y="816"/>
                </a:lnTo>
                <a:lnTo>
                  <a:pt x="4663" y="816"/>
                </a:lnTo>
                <a:lnTo>
                  <a:pt x="4685" y="814"/>
                </a:lnTo>
                <a:lnTo>
                  <a:pt x="4695" y="814"/>
                </a:lnTo>
                <a:lnTo>
                  <a:pt x="4695" y="814"/>
                </a:lnTo>
                <a:lnTo>
                  <a:pt x="4677" y="816"/>
                </a:lnTo>
                <a:lnTo>
                  <a:pt x="4675" y="818"/>
                </a:lnTo>
                <a:lnTo>
                  <a:pt x="4675" y="818"/>
                </a:lnTo>
                <a:lnTo>
                  <a:pt x="4667" y="818"/>
                </a:lnTo>
                <a:lnTo>
                  <a:pt x="4667" y="818"/>
                </a:lnTo>
                <a:lnTo>
                  <a:pt x="4633" y="822"/>
                </a:lnTo>
                <a:lnTo>
                  <a:pt x="4597" y="824"/>
                </a:lnTo>
                <a:lnTo>
                  <a:pt x="4597" y="824"/>
                </a:lnTo>
                <a:lnTo>
                  <a:pt x="4691" y="812"/>
                </a:lnTo>
                <a:lnTo>
                  <a:pt x="4691" y="812"/>
                </a:lnTo>
                <a:lnTo>
                  <a:pt x="4635" y="816"/>
                </a:lnTo>
                <a:lnTo>
                  <a:pt x="4635" y="816"/>
                </a:lnTo>
                <a:lnTo>
                  <a:pt x="4643" y="816"/>
                </a:lnTo>
                <a:lnTo>
                  <a:pt x="4637" y="818"/>
                </a:lnTo>
                <a:lnTo>
                  <a:pt x="4633" y="818"/>
                </a:lnTo>
                <a:lnTo>
                  <a:pt x="4637" y="818"/>
                </a:lnTo>
                <a:lnTo>
                  <a:pt x="4637" y="818"/>
                </a:lnTo>
                <a:lnTo>
                  <a:pt x="4545" y="830"/>
                </a:lnTo>
                <a:lnTo>
                  <a:pt x="4441" y="840"/>
                </a:lnTo>
                <a:lnTo>
                  <a:pt x="4441" y="840"/>
                </a:lnTo>
                <a:lnTo>
                  <a:pt x="4465" y="838"/>
                </a:lnTo>
                <a:lnTo>
                  <a:pt x="4501" y="832"/>
                </a:lnTo>
                <a:lnTo>
                  <a:pt x="4533" y="828"/>
                </a:lnTo>
                <a:lnTo>
                  <a:pt x="4541" y="826"/>
                </a:lnTo>
                <a:lnTo>
                  <a:pt x="4537" y="826"/>
                </a:lnTo>
                <a:lnTo>
                  <a:pt x="4537" y="826"/>
                </a:lnTo>
                <a:lnTo>
                  <a:pt x="4505" y="830"/>
                </a:lnTo>
                <a:lnTo>
                  <a:pt x="4475" y="834"/>
                </a:lnTo>
                <a:lnTo>
                  <a:pt x="4475" y="834"/>
                </a:lnTo>
                <a:lnTo>
                  <a:pt x="4419" y="838"/>
                </a:lnTo>
                <a:lnTo>
                  <a:pt x="4346" y="846"/>
                </a:lnTo>
                <a:lnTo>
                  <a:pt x="4366" y="844"/>
                </a:lnTo>
                <a:lnTo>
                  <a:pt x="4366" y="844"/>
                </a:lnTo>
                <a:lnTo>
                  <a:pt x="4294" y="852"/>
                </a:lnTo>
                <a:lnTo>
                  <a:pt x="4300" y="850"/>
                </a:lnTo>
                <a:lnTo>
                  <a:pt x="4280" y="854"/>
                </a:lnTo>
                <a:lnTo>
                  <a:pt x="4280" y="854"/>
                </a:lnTo>
                <a:lnTo>
                  <a:pt x="4276" y="854"/>
                </a:lnTo>
                <a:lnTo>
                  <a:pt x="4276" y="854"/>
                </a:lnTo>
                <a:lnTo>
                  <a:pt x="4222" y="858"/>
                </a:lnTo>
                <a:lnTo>
                  <a:pt x="4152" y="864"/>
                </a:lnTo>
                <a:lnTo>
                  <a:pt x="4152" y="864"/>
                </a:lnTo>
                <a:lnTo>
                  <a:pt x="4176" y="864"/>
                </a:lnTo>
                <a:lnTo>
                  <a:pt x="4216" y="860"/>
                </a:lnTo>
                <a:lnTo>
                  <a:pt x="4216" y="860"/>
                </a:lnTo>
                <a:lnTo>
                  <a:pt x="4238" y="858"/>
                </a:lnTo>
                <a:lnTo>
                  <a:pt x="4246" y="858"/>
                </a:lnTo>
                <a:lnTo>
                  <a:pt x="4242" y="858"/>
                </a:lnTo>
                <a:lnTo>
                  <a:pt x="4242" y="858"/>
                </a:lnTo>
                <a:lnTo>
                  <a:pt x="4090" y="874"/>
                </a:lnTo>
                <a:lnTo>
                  <a:pt x="4108" y="872"/>
                </a:lnTo>
                <a:lnTo>
                  <a:pt x="4108" y="872"/>
                </a:lnTo>
                <a:lnTo>
                  <a:pt x="4076" y="876"/>
                </a:lnTo>
                <a:lnTo>
                  <a:pt x="4034" y="880"/>
                </a:lnTo>
                <a:lnTo>
                  <a:pt x="4034" y="880"/>
                </a:lnTo>
                <a:lnTo>
                  <a:pt x="4018" y="880"/>
                </a:lnTo>
                <a:lnTo>
                  <a:pt x="4030" y="878"/>
                </a:lnTo>
                <a:lnTo>
                  <a:pt x="4046" y="876"/>
                </a:lnTo>
                <a:lnTo>
                  <a:pt x="4040" y="876"/>
                </a:lnTo>
                <a:lnTo>
                  <a:pt x="4040" y="876"/>
                </a:lnTo>
                <a:lnTo>
                  <a:pt x="4078" y="872"/>
                </a:lnTo>
                <a:lnTo>
                  <a:pt x="4102" y="870"/>
                </a:lnTo>
                <a:lnTo>
                  <a:pt x="4070" y="870"/>
                </a:lnTo>
                <a:lnTo>
                  <a:pt x="4070" y="870"/>
                </a:lnTo>
                <a:lnTo>
                  <a:pt x="4028" y="874"/>
                </a:lnTo>
                <a:lnTo>
                  <a:pt x="3992" y="876"/>
                </a:lnTo>
                <a:lnTo>
                  <a:pt x="4012" y="876"/>
                </a:lnTo>
                <a:lnTo>
                  <a:pt x="4012" y="876"/>
                </a:lnTo>
                <a:lnTo>
                  <a:pt x="3998" y="878"/>
                </a:lnTo>
                <a:lnTo>
                  <a:pt x="3979" y="878"/>
                </a:lnTo>
                <a:lnTo>
                  <a:pt x="3994" y="880"/>
                </a:lnTo>
                <a:lnTo>
                  <a:pt x="3994" y="880"/>
                </a:lnTo>
                <a:lnTo>
                  <a:pt x="4034" y="876"/>
                </a:lnTo>
                <a:lnTo>
                  <a:pt x="4066" y="874"/>
                </a:lnTo>
                <a:lnTo>
                  <a:pt x="4066" y="874"/>
                </a:lnTo>
                <a:lnTo>
                  <a:pt x="4018" y="878"/>
                </a:lnTo>
                <a:lnTo>
                  <a:pt x="3959" y="884"/>
                </a:lnTo>
                <a:lnTo>
                  <a:pt x="3959" y="884"/>
                </a:lnTo>
                <a:lnTo>
                  <a:pt x="3965" y="884"/>
                </a:lnTo>
                <a:lnTo>
                  <a:pt x="3979" y="882"/>
                </a:lnTo>
                <a:lnTo>
                  <a:pt x="3979" y="882"/>
                </a:lnTo>
                <a:lnTo>
                  <a:pt x="3943" y="886"/>
                </a:lnTo>
                <a:lnTo>
                  <a:pt x="3897" y="890"/>
                </a:lnTo>
                <a:lnTo>
                  <a:pt x="3897" y="890"/>
                </a:lnTo>
                <a:lnTo>
                  <a:pt x="3929" y="886"/>
                </a:lnTo>
                <a:lnTo>
                  <a:pt x="3935" y="884"/>
                </a:lnTo>
                <a:lnTo>
                  <a:pt x="3925" y="884"/>
                </a:lnTo>
                <a:lnTo>
                  <a:pt x="3905" y="888"/>
                </a:lnTo>
                <a:lnTo>
                  <a:pt x="3905" y="888"/>
                </a:lnTo>
                <a:lnTo>
                  <a:pt x="3889" y="888"/>
                </a:lnTo>
                <a:lnTo>
                  <a:pt x="3889" y="888"/>
                </a:lnTo>
                <a:lnTo>
                  <a:pt x="3879" y="890"/>
                </a:lnTo>
                <a:lnTo>
                  <a:pt x="3877" y="890"/>
                </a:lnTo>
                <a:lnTo>
                  <a:pt x="3857" y="892"/>
                </a:lnTo>
                <a:lnTo>
                  <a:pt x="3857" y="892"/>
                </a:lnTo>
                <a:lnTo>
                  <a:pt x="3847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13" y="896"/>
                </a:lnTo>
                <a:lnTo>
                  <a:pt x="3783" y="898"/>
                </a:lnTo>
                <a:lnTo>
                  <a:pt x="3783" y="898"/>
                </a:lnTo>
                <a:lnTo>
                  <a:pt x="3803" y="898"/>
                </a:lnTo>
                <a:lnTo>
                  <a:pt x="3811" y="898"/>
                </a:lnTo>
                <a:lnTo>
                  <a:pt x="3805" y="898"/>
                </a:lnTo>
                <a:lnTo>
                  <a:pt x="3783" y="902"/>
                </a:lnTo>
                <a:lnTo>
                  <a:pt x="3783" y="902"/>
                </a:lnTo>
                <a:lnTo>
                  <a:pt x="3715" y="906"/>
                </a:lnTo>
                <a:lnTo>
                  <a:pt x="3659" y="910"/>
                </a:lnTo>
                <a:lnTo>
                  <a:pt x="3635" y="913"/>
                </a:lnTo>
                <a:lnTo>
                  <a:pt x="3635" y="913"/>
                </a:lnTo>
                <a:lnTo>
                  <a:pt x="3637" y="913"/>
                </a:lnTo>
                <a:lnTo>
                  <a:pt x="3635" y="913"/>
                </a:lnTo>
                <a:lnTo>
                  <a:pt x="3621" y="913"/>
                </a:lnTo>
                <a:lnTo>
                  <a:pt x="3585" y="917"/>
                </a:lnTo>
                <a:lnTo>
                  <a:pt x="3585" y="917"/>
                </a:lnTo>
                <a:lnTo>
                  <a:pt x="3595" y="915"/>
                </a:lnTo>
                <a:lnTo>
                  <a:pt x="3621" y="913"/>
                </a:lnTo>
                <a:lnTo>
                  <a:pt x="3651" y="910"/>
                </a:lnTo>
                <a:lnTo>
                  <a:pt x="3663" y="908"/>
                </a:lnTo>
                <a:lnTo>
                  <a:pt x="3663" y="908"/>
                </a:lnTo>
                <a:lnTo>
                  <a:pt x="3641" y="908"/>
                </a:lnTo>
                <a:lnTo>
                  <a:pt x="3655" y="906"/>
                </a:lnTo>
                <a:lnTo>
                  <a:pt x="3655" y="906"/>
                </a:lnTo>
                <a:lnTo>
                  <a:pt x="3637" y="908"/>
                </a:lnTo>
                <a:lnTo>
                  <a:pt x="3631" y="908"/>
                </a:lnTo>
                <a:lnTo>
                  <a:pt x="3631" y="910"/>
                </a:lnTo>
                <a:lnTo>
                  <a:pt x="3625" y="913"/>
                </a:lnTo>
                <a:lnTo>
                  <a:pt x="3625" y="913"/>
                </a:lnTo>
                <a:lnTo>
                  <a:pt x="3595" y="915"/>
                </a:lnTo>
                <a:lnTo>
                  <a:pt x="3579" y="915"/>
                </a:lnTo>
                <a:lnTo>
                  <a:pt x="3579" y="915"/>
                </a:lnTo>
                <a:lnTo>
                  <a:pt x="3583" y="913"/>
                </a:lnTo>
                <a:lnTo>
                  <a:pt x="3583" y="913"/>
                </a:lnTo>
                <a:lnTo>
                  <a:pt x="3548" y="917"/>
                </a:lnTo>
                <a:lnTo>
                  <a:pt x="3520" y="919"/>
                </a:lnTo>
                <a:lnTo>
                  <a:pt x="3520" y="919"/>
                </a:lnTo>
                <a:lnTo>
                  <a:pt x="3526" y="919"/>
                </a:lnTo>
                <a:lnTo>
                  <a:pt x="3526" y="917"/>
                </a:lnTo>
                <a:lnTo>
                  <a:pt x="3526" y="917"/>
                </a:lnTo>
                <a:lnTo>
                  <a:pt x="3526" y="917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21"/>
                </a:lnTo>
                <a:lnTo>
                  <a:pt x="3504" y="919"/>
                </a:lnTo>
                <a:lnTo>
                  <a:pt x="3504" y="919"/>
                </a:lnTo>
                <a:lnTo>
                  <a:pt x="3468" y="923"/>
                </a:lnTo>
                <a:lnTo>
                  <a:pt x="3440" y="925"/>
                </a:lnTo>
                <a:lnTo>
                  <a:pt x="3440" y="925"/>
                </a:lnTo>
                <a:lnTo>
                  <a:pt x="3406" y="927"/>
                </a:lnTo>
                <a:lnTo>
                  <a:pt x="3352" y="931"/>
                </a:lnTo>
                <a:lnTo>
                  <a:pt x="3352" y="931"/>
                </a:lnTo>
                <a:lnTo>
                  <a:pt x="3362" y="931"/>
                </a:lnTo>
                <a:lnTo>
                  <a:pt x="3380" y="929"/>
                </a:lnTo>
                <a:lnTo>
                  <a:pt x="3402" y="927"/>
                </a:lnTo>
                <a:lnTo>
                  <a:pt x="3416" y="927"/>
                </a:lnTo>
                <a:lnTo>
                  <a:pt x="3416" y="927"/>
                </a:lnTo>
                <a:lnTo>
                  <a:pt x="3328" y="935"/>
                </a:lnTo>
                <a:lnTo>
                  <a:pt x="3222" y="943"/>
                </a:lnTo>
                <a:lnTo>
                  <a:pt x="3222" y="943"/>
                </a:lnTo>
                <a:lnTo>
                  <a:pt x="3200" y="943"/>
                </a:lnTo>
                <a:lnTo>
                  <a:pt x="3198" y="943"/>
                </a:lnTo>
                <a:lnTo>
                  <a:pt x="3200" y="943"/>
                </a:lnTo>
                <a:lnTo>
                  <a:pt x="3210" y="941"/>
                </a:lnTo>
                <a:lnTo>
                  <a:pt x="3212" y="941"/>
                </a:lnTo>
                <a:lnTo>
                  <a:pt x="3210" y="941"/>
                </a:lnTo>
                <a:lnTo>
                  <a:pt x="3210" y="941"/>
                </a:lnTo>
                <a:lnTo>
                  <a:pt x="3316" y="933"/>
                </a:lnTo>
                <a:lnTo>
                  <a:pt x="3316" y="933"/>
                </a:lnTo>
                <a:lnTo>
                  <a:pt x="3232" y="939"/>
                </a:lnTo>
                <a:lnTo>
                  <a:pt x="3156" y="945"/>
                </a:lnTo>
                <a:lnTo>
                  <a:pt x="3156" y="945"/>
                </a:lnTo>
                <a:lnTo>
                  <a:pt x="3125" y="947"/>
                </a:lnTo>
                <a:lnTo>
                  <a:pt x="3099" y="947"/>
                </a:lnTo>
                <a:lnTo>
                  <a:pt x="3073" y="949"/>
                </a:lnTo>
                <a:lnTo>
                  <a:pt x="3035" y="951"/>
                </a:lnTo>
                <a:lnTo>
                  <a:pt x="3035" y="951"/>
                </a:lnTo>
                <a:lnTo>
                  <a:pt x="3045" y="953"/>
                </a:lnTo>
                <a:lnTo>
                  <a:pt x="3063" y="951"/>
                </a:lnTo>
                <a:lnTo>
                  <a:pt x="3063" y="951"/>
                </a:lnTo>
                <a:lnTo>
                  <a:pt x="3009" y="955"/>
                </a:lnTo>
                <a:lnTo>
                  <a:pt x="3009" y="955"/>
                </a:lnTo>
                <a:lnTo>
                  <a:pt x="3007" y="955"/>
                </a:lnTo>
                <a:lnTo>
                  <a:pt x="3007" y="957"/>
                </a:lnTo>
                <a:lnTo>
                  <a:pt x="3015" y="955"/>
                </a:lnTo>
                <a:lnTo>
                  <a:pt x="3019" y="955"/>
                </a:lnTo>
                <a:lnTo>
                  <a:pt x="3011" y="957"/>
                </a:lnTo>
                <a:lnTo>
                  <a:pt x="3011" y="957"/>
                </a:lnTo>
                <a:lnTo>
                  <a:pt x="2993" y="957"/>
                </a:lnTo>
                <a:lnTo>
                  <a:pt x="2985" y="957"/>
                </a:lnTo>
                <a:lnTo>
                  <a:pt x="2989" y="957"/>
                </a:lnTo>
                <a:lnTo>
                  <a:pt x="2989" y="957"/>
                </a:lnTo>
                <a:lnTo>
                  <a:pt x="2957" y="959"/>
                </a:lnTo>
                <a:lnTo>
                  <a:pt x="2939" y="961"/>
                </a:lnTo>
                <a:lnTo>
                  <a:pt x="2923" y="961"/>
                </a:lnTo>
                <a:lnTo>
                  <a:pt x="2895" y="965"/>
                </a:lnTo>
                <a:lnTo>
                  <a:pt x="2895" y="965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11" y="965"/>
                </a:lnTo>
                <a:lnTo>
                  <a:pt x="2877" y="969"/>
                </a:lnTo>
                <a:lnTo>
                  <a:pt x="2877" y="969"/>
                </a:lnTo>
                <a:lnTo>
                  <a:pt x="2865" y="969"/>
                </a:lnTo>
                <a:lnTo>
                  <a:pt x="2839" y="971"/>
                </a:lnTo>
                <a:lnTo>
                  <a:pt x="2839" y="971"/>
                </a:lnTo>
                <a:lnTo>
                  <a:pt x="2837" y="971"/>
                </a:lnTo>
                <a:lnTo>
                  <a:pt x="2841" y="971"/>
                </a:lnTo>
                <a:lnTo>
                  <a:pt x="2857" y="969"/>
                </a:lnTo>
                <a:lnTo>
                  <a:pt x="2889" y="965"/>
                </a:lnTo>
                <a:lnTo>
                  <a:pt x="2843" y="969"/>
                </a:lnTo>
                <a:lnTo>
                  <a:pt x="2853" y="969"/>
                </a:lnTo>
                <a:lnTo>
                  <a:pt x="2803" y="973"/>
                </a:lnTo>
                <a:lnTo>
                  <a:pt x="2803" y="973"/>
                </a:lnTo>
                <a:lnTo>
                  <a:pt x="2819" y="973"/>
                </a:lnTo>
                <a:lnTo>
                  <a:pt x="2823" y="973"/>
                </a:lnTo>
                <a:lnTo>
                  <a:pt x="2805" y="975"/>
                </a:lnTo>
                <a:lnTo>
                  <a:pt x="2805" y="975"/>
                </a:lnTo>
                <a:lnTo>
                  <a:pt x="2757" y="979"/>
                </a:lnTo>
                <a:lnTo>
                  <a:pt x="2743" y="979"/>
                </a:lnTo>
                <a:lnTo>
                  <a:pt x="2739" y="979"/>
                </a:lnTo>
                <a:lnTo>
                  <a:pt x="2739" y="979"/>
                </a:lnTo>
                <a:lnTo>
                  <a:pt x="2708" y="983"/>
                </a:lnTo>
                <a:lnTo>
                  <a:pt x="2660" y="987"/>
                </a:lnTo>
                <a:lnTo>
                  <a:pt x="2660" y="987"/>
                </a:lnTo>
                <a:lnTo>
                  <a:pt x="2674" y="985"/>
                </a:lnTo>
                <a:lnTo>
                  <a:pt x="2674" y="987"/>
                </a:lnTo>
                <a:lnTo>
                  <a:pt x="2654" y="989"/>
                </a:lnTo>
                <a:lnTo>
                  <a:pt x="2604" y="991"/>
                </a:lnTo>
                <a:lnTo>
                  <a:pt x="2604" y="991"/>
                </a:lnTo>
                <a:lnTo>
                  <a:pt x="2626" y="989"/>
                </a:lnTo>
                <a:lnTo>
                  <a:pt x="2620" y="989"/>
                </a:lnTo>
                <a:lnTo>
                  <a:pt x="2608" y="989"/>
                </a:lnTo>
                <a:lnTo>
                  <a:pt x="2604" y="989"/>
                </a:lnTo>
                <a:lnTo>
                  <a:pt x="2606" y="989"/>
                </a:lnTo>
                <a:lnTo>
                  <a:pt x="2606" y="989"/>
                </a:lnTo>
                <a:lnTo>
                  <a:pt x="2638" y="985"/>
                </a:lnTo>
                <a:lnTo>
                  <a:pt x="2680" y="983"/>
                </a:lnTo>
                <a:lnTo>
                  <a:pt x="2680" y="983"/>
                </a:lnTo>
                <a:lnTo>
                  <a:pt x="2646" y="985"/>
                </a:lnTo>
                <a:lnTo>
                  <a:pt x="2616" y="987"/>
                </a:lnTo>
                <a:lnTo>
                  <a:pt x="2588" y="991"/>
                </a:lnTo>
                <a:lnTo>
                  <a:pt x="2558" y="993"/>
                </a:lnTo>
                <a:lnTo>
                  <a:pt x="2558" y="993"/>
                </a:lnTo>
                <a:lnTo>
                  <a:pt x="2562" y="991"/>
                </a:lnTo>
                <a:lnTo>
                  <a:pt x="2582" y="989"/>
                </a:lnTo>
                <a:lnTo>
                  <a:pt x="2582" y="989"/>
                </a:lnTo>
                <a:lnTo>
                  <a:pt x="2554" y="993"/>
                </a:lnTo>
                <a:lnTo>
                  <a:pt x="2508" y="997"/>
                </a:lnTo>
                <a:lnTo>
                  <a:pt x="2508" y="997"/>
                </a:lnTo>
                <a:lnTo>
                  <a:pt x="2520" y="997"/>
                </a:lnTo>
                <a:lnTo>
                  <a:pt x="2518" y="997"/>
                </a:lnTo>
                <a:lnTo>
                  <a:pt x="2502" y="999"/>
                </a:lnTo>
                <a:lnTo>
                  <a:pt x="2460" y="1001"/>
                </a:lnTo>
                <a:lnTo>
                  <a:pt x="2460" y="1001"/>
                </a:lnTo>
                <a:lnTo>
                  <a:pt x="2436" y="1003"/>
                </a:lnTo>
                <a:lnTo>
                  <a:pt x="2428" y="1005"/>
                </a:lnTo>
                <a:lnTo>
                  <a:pt x="2422" y="1005"/>
                </a:lnTo>
                <a:lnTo>
                  <a:pt x="2404" y="1009"/>
                </a:lnTo>
                <a:lnTo>
                  <a:pt x="2430" y="1007"/>
                </a:lnTo>
                <a:lnTo>
                  <a:pt x="2430" y="1007"/>
                </a:lnTo>
                <a:lnTo>
                  <a:pt x="2402" y="1011"/>
                </a:lnTo>
                <a:lnTo>
                  <a:pt x="2374" y="1013"/>
                </a:lnTo>
                <a:lnTo>
                  <a:pt x="2374" y="1013"/>
                </a:lnTo>
                <a:lnTo>
                  <a:pt x="2440" y="1007"/>
                </a:lnTo>
                <a:lnTo>
                  <a:pt x="2440" y="1007"/>
                </a:lnTo>
                <a:lnTo>
                  <a:pt x="2442" y="1007"/>
                </a:lnTo>
                <a:lnTo>
                  <a:pt x="2438" y="1009"/>
                </a:lnTo>
                <a:lnTo>
                  <a:pt x="2424" y="1009"/>
                </a:lnTo>
                <a:lnTo>
                  <a:pt x="2392" y="1013"/>
                </a:lnTo>
                <a:lnTo>
                  <a:pt x="2392" y="1013"/>
                </a:lnTo>
                <a:lnTo>
                  <a:pt x="2307" y="1017"/>
                </a:lnTo>
                <a:lnTo>
                  <a:pt x="2307" y="1017"/>
                </a:lnTo>
                <a:lnTo>
                  <a:pt x="2318" y="1015"/>
                </a:lnTo>
                <a:lnTo>
                  <a:pt x="2340" y="1013"/>
                </a:lnTo>
                <a:lnTo>
                  <a:pt x="2360" y="1009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275" y="1015"/>
                </a:lnTo>
                <a:lnTo>
                  <a:pt x="2201" y="1021"/>
                </a:lnTo>
                <a:lnTo>
                  <a:pt x="2201" y="1021"/>
                </a:lnTo>
                <a:lnTo>
                  <a:pt x="2163" y="1025"/>
                </a:lnTo>
                <a:lnTo>
                  <a:pt x="2161" y="1027"/>
                </a:lnTo>
                <a:lnTo>
                  <a:pt x="2161" y="1027"/>
                </a:lnTo>
                <a:lnTo>
                  <a:pt x="2165" y="1027"/>
                </a:lnTo>
                <a:lnTo>
                  <a:pt x="2165" y="1027"/>
                </a:lnTo>
                <a:lnTo>
                  <a:pt x="2123" y="1031"/>
                </a:lnTo>
                <a:lnTo>
                  <a:pt x="2145" y="1029"/>
                </a:lnTo>
                <a:lnTo>
                  <a:pt x="2145" y="1029"/>
                </a:lnTo>
                <a:lnTo>
                  <a:pt x="1993" y="1043"/>
                </a:lnTo>
                <a:lnTo>
                  <a:pt x="1993" y="1043"/>
                </a:lnTo>
                <a:lnTo>
                  <a:pt x="1971" y="1045"/>
                </a:lnTo>
                <a:lnTo>
                  <a:pt x="1981" y="1047"/>
                </a:lnTo>
                <a:lnTo>
                  <a:pt x="1943" y="1049"/>
                </a:lnTo>
                <a:lnTo>
                  <a:pt x="1949" y="1049"/>
                </a:lnTo>
                <a:lnTo>
                  <a:pt x="1949" y="1049"/>
                </a:lnTo>
                <a:lnTo>
                  <a:pt x="1921" y="1053"/>
                </a:lnTo>
                <a:lnTo>
                  <a:pt x="1882" y="1055"/>
                </a:lnTo>
                <a:lnTo>
                  <a:pt x="1882" y="1055"/>
                </a:lnTo>
                <a:lnTo>
                  <a:pt x="1895" y="1053"/>
                </a:lnTo>
                <a:lnTo>
                  <a:pt x="1895" y="1053"/>
                </a:lnTo>
                <a:lnTo>
                  <a:pt x="1822" y="1059"/>
                </a:lnTo>
                <a:lnTo>
                  <a:pt x="1822" y="1059"/>
                </a:lnTo>
                <a:lnTo>
                  <a:pt x="1832" y="1057"/>
                </a:lnTo>
                <a:lnTo>
                  <a:pt x="1862" y="1055"/>
                </a:lnTo>
                <a:lnTo>
                  <a:pt x="1862" y="1055"/>
                </a:lnTo>
                <a:lnTo>
                  <a:pt x="1866" y="1055"/>
                </a:lnTo>
                <a:lnTo>
                  <a:pt x="1913" y="1051"/>
                </a:lnTo>
                <a:lnTo>
                  <a:pt x="1913" y="1051"/>
                </a:lnTo>
                <a:lnTo>
                  <a:pt x="1852" y="1055"/>
                </a:lnTo>
                <a:lnTo>
                  <a:pt x="1836" y="1055"/>
                </a:lnTo>
                <a:lnTo>
                  <a:pt x="1830" y="1055"/>
                </a:lnTo>
                <a:lnTo>
                  <a:pt x="1830" y="1055"/>
                </a:lnTo>
                <a:lnTo>
                  <a:pt x="1814" y="1057"/>
                </a:lnTo>
                <a:lnTo>
                  <a:pt x="1824" y="1055"/>
                </a:lnTo>
                <a:lnTo>
                  <a:pt x="1832" y="1055"/>
                </a:lnTo>
                <a:lnTo>
                  <a:pt x="1812" y="1057"/>
                </a:lnTo>
                <a:lnTo>
                  <a:pt x="1812" y="1057"/>
                </a:lnTo>
                <a:lnTo>
                  <a:pt x="1752" y="1061"/>
                </a:lnTo>
                <a:lnTo>
                  <a:pt x="1698" y="1065"/>
                </a:lnTo>
                <a:lnTo>
                  <a:pt x="1652" y="1069"/>
                </a:lnTo>
                <a:lnTo>
                  <a:pt x="1614" y="1069"/>
                </a:lnTo>
                <a:lnTo>
                  <a:pt x="1614" y="1069"/>
                </a:lnTo>
                <a:lnTo>
                  <a:pt x="1552" y="1075"/>
                </a:lnTo>
                <a:lnTo>
                  <a:pt x="1474" y="1083"/>
                </a:lnTo>
                <a:lnTo>
                  <a:pt x="1474" y="1083"/>
                </a:lnTo>
                <a:lnTo>
                  <a:pt x="1453" y="1085"/>
                </a:lnTo>
                <a:lnTo>
                  <a:pt x="1443" y="1085"/>
                </a:lnTo>
                <a:lnTo>
                  <a:pt x="1439" y="1087"/>
                </a:lnTo>
                <a:lnTo>
                  <a:pt x="1439" y="1087"/>
                </a:lnTo>
                <a:lnTo>
                  <a:pt x="1439" y="1087"/>
                </a:lnTo>
                <a:lnTo>
                  <a:pt x="1480" y="1085"/>
                </a:lnTo>
                <a:lnTo>
                  <a:pt x="1518" y="1081"/>
                </a:lnTo>
                <a:lnTo>
                  <a:pt x="1554" y="1077"/>
                </a:lnTo>
                <a:lnTo>
                  <a:pt x="1590" y="1075"/>
                </a:lnTo>
                <a:lnTo>
                  <a:pt x="1590" y="1075"/>
                </a:lnTo>
                <a:lnTo>
                  <a:pt x="1608" y="1073"/>
                </a:lnTo>
                <a:lnTo>
                  <a:pt x="1616" y="1071"/>
                </a:lnTo>
                <a:lnTo>
                  <a:pt x="1616" y="1071"/>
                </a:lnTo>
                <a:lnTo>
                  <a:pt x="1662" y="1069"/>
                </a:lnTo>
                <a:lnTo>
                  <a:pt x="1662" y="1069"/>
                </a:lnTo>
                <a:lnTo>
                  <a:pt x="1638" y="1071"/>
                </a:lnTo>
                <a:lnTo>
                  <a:pt x="1628" y="1073"/>
                </a:lnTo>
                <a:lnTo>
                  <a:pt x="1616" y="1075"/>
                </a:lnTo>
                <a:lnTo>
                  <a:pt x="1584" y="1079"/>
                </a:lnTo>
                <a:lnTo>
                  <a:pt x="1584" y="1079"/>
                </a:lnTo>
                <a:lnTo>
                  <a:pt x="1620" y="1077"/>
                </a:lnTo>
                <a:lnTo>
                  <a:pt x="1668" y="1073"/>
                </a:lnTo>
                <a:lnTo>
                  <a:pt x="1668" y="1073"/>
                </a:lnTo>
                <a:lnTo>
                  <a:pt x="1666" y="1073"/>
                </a:lnTo>
                <a:lnTo>
                  <a:pt x="1668" y="1073"/>
                </a:lnTo>
                <a:lnTo>
                  <a:pt x="1684" y="1073"/>
                </a:lnTo>
                <a:lnTo>
                  <a:pt x="1684" y="1073"/>
                </a:lnTo>
                <a:lnTo>
                  <a:pt x="1610" y="1081"/>
                </a:lnTo>
                <a:lnTo>
                  <a:pt x="1610" y="1081"/>
                </a:lnTo>
                <a:lnTo>
                  <a:pt x="1612" y="1081"/>
                </a:lnTo>
                <a:lnTo>
                  <a:pt x="1612" y="1081"/>
                </a:lnTo>
                <a:lnTo>
                  <a:pt x="1610" y="1081"/>
                </a:lnTo>
                <a:lnTo>
                  <a:pt x="1610" y="1081"/>
                </a:lnTo>
                <a:lnTo>
                  <a:pt x="1542" y="1087"/>
                </a:lnTo>
                <a:lnTo>
                  <a:pt x="1542" y="1087"/>
                </a:lnTo>
                <a:lnTo>
                  <a:pt x="1522" y="1087"/>
                </a:lnTo>
                <a:lnTo>
                  <a:pt x="1522" y="1087"/>
                </a:lnTo>
                <a:lnTo>
                  <a:pt x="1528" y="1087"/>
                </a:lnTo>
                <a:lnTo>
                  <a:pt x="1528" y="1087"/>
                </a:lnTo>
                <a:lnTo>
                  <a:pt x="1461" y="1091"/>
                </a:lnTo>
                <a:lnTo>
                  <a:pt x="1435" y="1093"/>
                </a:lnTo>
                <a:lnTo>
                  <a:pt x="1425" y="1093"/>
                </a:lnTo>
                <a:lnTo>
                  <a:pt x="1425" y="1093"/>
                </a:lnTo>
                <a:lnTo>
                  <a:pt x="1407" y="1095"/>
                </a:lnTo>
                <a:lnTo>
                  <a:pt x="1415" y="1095"/>
                </a:lnTo>
                <a:lnTo>
                  <a:pt x="1445" y="1093"/>
                </a:lnTo>
                <a:lnTo>
                  <a:pt x="1441" y="1093"/>
                </a:lnTo>
                <a:lnTo>
                  <a:pt x="1492" y="1089"/>
                </a:lnTo>
                <a:lnTo>
                  <a:pt x="1492" y="1089"/>
                </a:lnTo>
                <a:lnTo>
                  <a:pt x="1486" y="1091"/>
                </a:lnTo>
                <a:lnTo>
                  <a:pt x="1463" y="1093"/>
                </a:lnTo>
                <a:lnTo>
                  <a:pt x="1439" y="1095"/>
                </a:lnTo>
                <a:lnTo>
                  <a:pt x="1425" y="1097"/>
                </a:lnTo>
                <a:lnTo>
                  <a:pt x="1425" y="1097"/>
                </a:lnTo>
                <a:lnTo>
                  <a:pt x="1419" y="1097"/>
                </a:lnTo>
                <a:lnTo>
                  <a:pt x="1409" y="1099"/>
                </a:lnTo>
                <a:lnTo>
                  <a:pt x="1381" y="1101"/>
                </a:lnTo>
                <a:lnTo>
                  <a:pt x="1317" y="1103"/>
                </a:lnTo>
                <a:lnTo>
                  <a:pt x="1357" y="1097"/>
                </a:lnTo>
                <a:lnTo>
                  <a:pt x="1321" y="1101"/>
                </a:lnTo>
                <a:lnTo>
                  <a:pt x="1321" y="1101"/>
                </a:lnTo>
                <a:lnTo>
                  <a:pt x="1343" y="1097"/>
                </a:lnTo>
                <a:lnTo>
                  <a:pt x="1375" y="1093"/>
                </a:lnTo>
                <a:lnTo>
                  <a:pt x="1375" y="1093"/>
                </a:lnTo>
                <a:lnTo>
                  <a:pt x="1221" y="1101"/>
                </a:lnTo>
                <a:lnTo>
                  <a:pt x="1221" y="1101"/>
                </a:lnTo>
                <a:lnTo>
                  <a:pt x="1207" y="1101"/>
                </a:lnTo>
                <a:lnTo>
                  <a:pt x="1207" y="1101"/>
                </a:lnTo>
                <a:lnTo>
                  <a:pt x="1209" y="1099"/>
                </a:lnTo>
                <a:lnTo>
                  <a:pt x="1209" y="1099"/>
                </a:lnTo>
                <a:lnTo>
                  <a:pt x="1175" y="1103"/>
                </a:lnTo>
                <a:lnTo>
                  <a:pt x="1145" y="1103"/>
                </a:lnTo>
                <a:lnTo>
                  <a:pt x="1087" y="1107"/>
                </a:lnTo>
                <a:lnTo>
                  <a:pt x="1087" y="1107"/>
                </a:lnTo>
                <a:lnTo>
                  <a:pt x="1075" y="1107"/>
                </a:lnTo>
                <a:lnTo>
                  <a:pt x="1089" y="1107"/>
                </a:lnTo>
                <a:lnTo>
                  <a:pt x="1105" y="1107"/>
                </a:lnTo>
                <a:lnTo>
                  <a:pt x="1107" y="1107"/>
                </a:lnTo>
                <a:lnTo>
                  <a:pt x="1101" y="1109"/>
                </a:lnTo>
                <a:lnTo>
                  <a:pt x="1101" y="1109"/>
                </a:lnTo>
                <a:lnTo>
                  <a:pt x="1073" y="1109"/>
                </a:lnTo>
                <a:lnTo>
                  <a:pt x="1048" y="1113"/>
                </a:lnTo>
                <a:lnTo>
                  <a:pt x="1048" y="1113"/>
                </a:lnTo>
                <a:lnTo>
                  <a:pt x="1145" y="1107"/>
                </a:lnTo>
                <a:lnTo>
                  <a:pt x="1145" y="1107"/>
                </a:lnTo>
                <a:lnTo>
                  <a:pt x="1123" y="1109"/>
                </a:lnTo>
                <a:lnTo>
                  <a:pt x="1115" y="1111"/>
                </a:lnTo>
                <a:lnTo>
                  <a:pt x="1157" y="1109"/>
                </a:lnTo>
                <a:lnTo>
                  <a:pt x="1157" y="1109"/>
                </a:lnTo>
                <a:lnTo>
                  <a:pt x="1149" y="1109"/>
                </a:lnTo>
                <a:lnTo>
                  <a:pt x="1129" y="1111"/>
                </a:lnTo>
                <a:lnTo>
                  <a:pt x="1087" y="1115"/>
                </a:lnTo>
                <a:lnTo>
                  <a:pt x="1087" y="1115"/>
                </a:lnTo>
                <a:lnTo>
                  <a:pt x="1105" y="1109"/>
                </a:lnTo>
                <a:lnTo>
                  <a:pt x="1105" y="1109"/>
                </a:lnTo>
                <a:lnTo>
                  <a:pt x="1040" y="1113"/>
                </a:lnTo>
                <a:lnTo>
                  <a:pt x="982" y="1117"/>
                </a:lnTo>
                <a:lnTo>
                  <a:pt x="982" y="1117"/>
                </a:lnTo>
                <a:lnTo>
                  <a:pt x="978" y="1117"/>
                </a:lnTo>
                <a:lnTo>
                  <a:pt x="984" y="1115"/>
                </a:lnTo>
                <a:lnTo>
                  <a:pt x="1008" y="1113"/>
                </a:lnTo>
                <a:lnTo>
                  <a:pt x="1008" y="1113"/>
                </a:lnTo>
                <a:lnTo>
                  <a:pt x="986" y="1115"/>
                </a:lnTo>
                <a:lnTo>
                  <a:pt x="964" y="1115"/>
                </a:lnTo>
                <a:lnTo>
                  <a:pt x="964" y="1115"/>
                </a:lnTo>
                <a:lnTo>
                  <a:pt x="978" y="1115"/>
                </a:lnTo>
                <a:lnTo>
                  <a:pt x="998" y="1113"/>
                </a:lnTo>
                <a:lnTo>
                  <a:pt x="894" y="1119"/>
                </a:lnTo>
                <a:lnTo>
                  <a:pt x="894" y="1119"/>
                </a:lnTo>
                <a:lnTo>
                  <a:pt x="936" y="1115"/>
                </a:lnTo>
                <a:lnTo>
                  <a:pt x="936" y="1115"/>
                </a:lnTo>
                <a:lnTo>
                  <a:pt x="892" y="1119"/>
                </a:lnTo>
                <a:lnTo>
                  <a:pt x="844" y="1123"/>
                </a:lnTo>
                <a:lnTo>
                  <a:pt x="844" y="1123"/>
                </a:lnTo>
                <a:lnTo>
                  <a:pt x="792" y="1125"/>
                </a:lnTo>
                <a:lnTo>
                  <a:pt x="778" y="1125"/>
                </a:lnTo>
                <a:lnTo>
                  <a:pt x="776" y="1125"/>
                </a:lnTo>
                <a:lnTo>
                  <a:pt x="778" y="1125"/>
                </a:lnTo>
                <a:lnTo>
                  <a:pt x="778" y="1125"/>
                </a:lnTo>
                <a:lnTo>
                  <a:pt x="768" y="1125"/>
                </a:lnTo>
                <a:lnTo>
                  <a:pt x="772" y="1127"/>
                </a:lnTo>
                <a:lnTo>
                  <a:pt x="772" y="1127"/>
                </a:lnTo>
                <a:lnTo>
                  <a:pt x="724" y="1129"/>
                </a:lnTo>
                <a:lnTo>
                  <a:pt x="688" y="1133"/>
                </a:lnTo>
                <a:lnTo>
                  <a:pt x="712" y="1133"/>
                </a:lnTo>
                <a:lnTo>
                  <a:pt x="712" y="1133"/>
                </a:lnTo>
                <a:lnTo>
                  <a:pt x="688" y="1133"/>
                </a:lnTo>
                <a:lnTo>
                  <a:pt x="682" y="1135"/>
                </a:lnTo>
                <a:lnTo>
                  <a:pt x="678" y="1135"/>
                </a:lnTo>
                <a:lnTo>
                  <a:pt x="658" y="1137"/>
                </a:lnTo>
                <a:lnTo>
                  <a:pt x="658" y="1137"/>
                </a:lnTo>
                <a:lnTo>
                  <a:pt x="662" y="1135"/>
                </a:lnTo>
                <a:lnTo>
                  <a:pt x="662" y="1135"/>
                </a:lnTo>
                <a:lnTo>
                  <a:pt x="656" y="1133"/>
                </a:lnTo>
                <a:lnTo>
                  <a:pt x="656" y="1133"/>
                </a:lnTo>
                <a:lnTo>
                  <a:pt x="634" y="1135"/>
                </a:lnTo>
                <a:lnTo>
                  <a:pt x="603" y="1135"/>
                </a:lnTo>
                <a:lnTo>
                  <a:pt x="603" y="1135"/>
                </a:lnTo>
                <a:lnTo>
                  <a:pt x="605" y="1135"/>
                </a:lnTo>
                <a:lnTo>
                  <a:pt x="601" y="1137"/>
                </a:lnTo>
                <a:lnTo>
                  <a:pt x="591" y="1137"/>
                </a:lnTo>
                <a:lnTo>
                  <a:pt x="585" y="1139"/>
                </a:lnTo>
                <a:lnTo>
                  <a:pt x="593" y="1139"/>
                </a:lnTo>
                <a:lnTo>
                  <a:pt x="593" y="1139"/>
                </a:lnTo>
                <a:lnTo>
                  <a:pt x="543" y="1141"/>
                </a:lnTo>
                <a:lnTo>
                  <a:pt x="501" y="1145"/>
                </a:lnTo>
                <a:lnTo>
                  <a:pt x="501" y="1145"/>
                </a:lnTo>
                <a:lnTo>
                  <a:pt x="505" y="1145"/>
                </a:lnTo>
                <a:lnTo>
                  <a:pt x="493" y="1145"/>
                </a:lnTo>
                <a:lnTo>
                  <a:pt x="481" y="1147"/>
                </a:lnTo>
                <a:lnTo>
                  <a:pt x="479" y="1147"/>
                </a:lnTo>
                <a:lnTo>
                  <a:pt x="483" y="1147"/>
                </a:lnTo>
                <a:lnTo>
                  <a:pt x="483" y="1147"/>
                </a:lnTo>
                <a:lnTo>
                  <a:pt x="435" y="1149"/>
                </a:lnTo>
                <a:lnTo>
                  <a:pt x="423" y="1149"/>
                </a:lnTo>
                <a:lnTo>
                  <a:pt x="423" y="1149"/>
                </a:lnTo>
                <a:lnTo>
                  <a:pt x="425" y="1147"/>
                </a:lnTo>
                <a:lnTo>
                  <a:pt x="425" y="1147"/>
                </a:lnTo>
                <a:lnTo>
                  <a:pt x="449" y="1147"/>
                </a:lnTo>
                <a:lnTo>
                  <a:pt x="459" y="1145"/>
                </a:lnTo>
                <a:lnTo>
                  <a:pt x="385" y="1149"/>
                </a:lnTo>
                <a:lnTo>
                  <a:pt x="385" y="1149"/>
                </a:lnTo>
                <a:lnTo>
                  <a:pt x="357" y="1149"/>
                </a:lnTo>
                <a:lnTo>
                  <a:pt x="341" y="1149"/>
                </a:lnTo>
                <a:lnTo>
                  <a:pt x="341" y="1149"/>
                </a:lnTo>
                <a:lnTo>
                  <a:pt x="295" y="1151"/>
                </a:lnTo>
                <a:lnTo>
                  <a:pt x="271" y="1151"/>
                </a:lnTo>
                <a:lnTo>
                  <a:pt x="253" y="1153"/>
                </a:lnTo>
                <a:lnTo>
                  <a:pt x="253" y="1153"/>
                </a:lnTo>
                <a:lnTo>
                  <a:pt x="287" y="1151"/>
                </a:lnTo>
                <a:lnTo>
                  <a:pt x="307" y="1151"/>
                </a:lnTo>
                <a:lnTo>
                  <a:pt x="297" y="1153"/>
                </a:lnTo>
                <a:lnTo>
                  <a:pt x="303" y="1153"/>
                </a:lnTo>
                <a:lnTo>
                  <a:pt x="271" y="1157"/>
                </a:lnTo>
                <a:lnTo>
                  <a:pt x="271" y="1157"/>
                </a:lnTo>
                <a:lnTo>
                  <a:pt x="285" y="1155"/>
                </a:lnTo>
                <a:lnTo>
                  <a:pt x="291" y="1155"/>
                </a:lnTo>
                <a:lnTo>
                  <a:pt x="297" y="1153"/>
                </a:lnTo>
                <a:lnTo>
                  <a:pt x="319" y="1153"/>
                </a:lnTo>
                <a:lnTo>
                  <a:pt x="319" y="1153"/>
                </a:lnTo>
                <a:lnTo>
                  <a:pt x="327" y="1153"/>
                </a:lnTo>
                <a:lnTo>
                  <a:pt x="323" y="1153"/>
                </a:lnTo>
                <a:lnTo>
                  <a:pt x="295" y="1157"/>
                </a:lnTo>
                <a:lnTo>
                  <a:pt x="269" y="1159"/>
                </a:lnTo>
                <a:lnTo>
                  <a:pt x="265" y="1159"/>
                </a:lnTo>
                <a:lnTo>
                  <a:pt x="273" y="1159"/>
                </a:lnTo>
                <a:lnTo>
                  <a:pt x="273" y="1159"/>
                </a:lnTo>
                <a:lnTo>
                  <a:pt x="303" y="1157"/>
                </a:lnTo>
                <a:lnTo>
                  <a:pt x="327" y="1155"/>
                </a:lnTo>
                <a:lnTo>
                  <a:pt x="319" y="1155"/>
                </a:lnTo>
                <a:lnTo>
                  <a:pt x="379" y="1151"/>
                </a:lnTo>
                <a:lnTo>
                  <a:pt x="379" y="1151"/>
                </a:lnTo>
                <a:lnTo>
                  <a:pt x="373" y="1153"/>
                </a:lnTo>
                <a:lnTo>
                  <a:pt x="363" y="1153"/>
                </a:lnTo>
                <a:lnTo>
                  <a:pt x="363" y="1153"/>
                </a:lnTo>
                <a:lnTo>
                  <a:pt x="525" y="1147"/>
                </a:lnTo>
                <a:lnTo>
                  <a:pt x="525" y="1147"/>
                </a:lnTo>
                <a:lnTo>
                  <a:pt x="517" y="1147"/>
                </a:lnTo>
                <a:lnTo>
                  <a:pt x="521" y="1145"/>
                </a:lnTo>
                <a:lnTo>
                  <a:pt x="539" y="1143"/>
                </a:lnTo>
                <a:lnTo>
                  <a:pt x="539" y="1143"/>
                </a:lnTo>
                <a:lnTo>
                  <a:pt x="565" y="1143"/>
                </a:lnTo>
                <a:lnTo>
                  <a:pt x="587" y="1141"/>
                </a:lnTo>
                <a:lnTo>
                  <a:pt x="587" y="1141"/>
                </a:lnTo>
                <a:lnTo>
                  <a:pt x="569" y="1143"/>
                </a:lnTo>
                <a:lnTo>
                  <a:pt x="547" y="1145"/>
                </a:lnTo>
                <a:lnTo>
                  <a:pt x="549" y="1147"/>
                </a:lnTo>
                <a:lnTo>
                  <a:pt x="549" y="1147"/>
                </a:lnTo>
                <a:lnTo>
                  <a:pt x="503" y="1151"/>
                </a:lnTo>
                <a:lnTo>
                  <a:pt x="443" y="1157"/>
                </a:lnTo>
                <a:lnTo>
                  <a:pt x="443" y="1157"/>
                </a:lnTo>
                <a:lnTo>
                  <a:pt x="405" y="1159"/>
                </a:lnTo>
                <a:lnTo>
                  <a:pt x="339" y="1163"/>
                </a:lnTo>
                <a:lnTo>
                  <a:pt x="359" y="1163"/>
                </a:lnTo>
                <a:lnTo>
                  <a:pt x="359" y="1163"/>
                </a:lnTo>
                <a:lnTo>
                  <a:pt x="339" y="1165"/>
                </a:lnTo>
                <a:lnTo>
                  <a:pt x="331" y="1165"/>
                </a:lnTo>
                <a:lnTo>
                  <a:pt x="321" y="1165"/>
                </a:lnTo>
                <a:lnTo>
                  <a:pt x="293" y="1167"/>
                </a:lnTo>
                <a:lnTo>
                  <a:pt x="293" y="1167"/>
                </a:lnTo>
                <a:lnTo>
                  <a:pt x="255" y="1165"/>
                </a:lnTo>
                <a:lnTo>
                  <a:pt x="247" y="1163"/>
                </a:lnTo>
                <a:lnTo>
                  <a:pt x="259" y="1161"/>
                </a:lnTo>
                <a:lnTo>
                  <a:pt x="259" y="1161"/>
                </a:lnTo>
                <a:lnTo>
                  <a:pt x="211" y="1163"/>
                </a:lnTo>
                <a:lnTo>
                  <a:pt x="166" y="1165"/>
                </a:lnTo>
                <a:lnTo>
                  <a:pt x="166" y="1165"/>
                </a:lnTo>
                <a:lnTo>
                  <a:pt x="160" y="1165"/>
                </a:lnTo>
                <a:lnTo>
                  <a:pt x="164" y="1163"/>
                </a:lnTo>
                <a:lnTo>
                  <a:pt x="172" y="1163"/>
                </a:lnTo>
                <a:lnTo>
                  <a:pt x="174" y="1161"/>
                </a:lnTo>
                <a:lnTo>
                  <a:pt x="174" y="1161"/>
                </a:lnTo>
                <a:lnTo>
                  <a:pt x="174" y="1161"/>
                </a:lnTo>
                <a:lnTo>
                  <a:pt x="136" y="1163"/>
                </a:lnTo>
                <a:lnTo>
                  <a:pt x="128" y="1165"/>
                </a:lnTo>
                <a:lnTo>
                  <a:pt x="134" y="1165"/>
                </a:lnTo>
                <a:lnTo>
                  <a:pt x="84" y="1167"/>
                </a:lnTo>
                <a:lnTo>
                  <a:pt x="84" y="1167"/>
                </a:lnTo>
                <a:lnTo>
                  <a:pt x="106" y="1165"/>
                </a:lnTo>
                <a:lnTo>
                  <a:pt x="106" y="1165"/>
                </a:lnTo>
                <a:lnTo>
                  <a:pt x="38" y="1169"/>
                </a:lnTo>
                <a:lnTo>
                  <a:pt x="38" y="1169"/>
                </a:lnTo>
                <a:lnTo>
                  <a:pt x="60" y="1167"/>
                </a:lnTo>
                <a:lnTo>
                  <a:pt x="60" y="1167"/>
                </a:lnTo>
                <a:lnTo>
                  <a:pt x="0" y="1173"/>
                </a:lnTo>
                <a:lnTo>
                  <a:pt x="0" y="1173"/>
                </a:lnTo>
                <a:lnTo>
                  <a:pt x="32" y="1171"/>
                </a:lnTo>
                <a:lnTo>
                  <a:pt x="66" y="1169"/>
                </a:lnTo>
                <a:lnTo>
                  <a:pt x="66" y="1169"/>
                </a:lnTo>
                <a:lnTo>
                  <a:pt x="58" y="1171"/>
                </a:lnTo>
                <a:lnTo>
                  <a:pt x="40" y="1171"/>
                </a:lnTo>
                <a:lnTo>
                  <a:pt x="40" y="1171"/>
                </a:lnTo>
                <a:lnTo>
                  <a:pt x="78" y="1171"/>
                </a:lnTo>
                <a:lnTo>
                  <a:pt x="104" y="1171"/>
                </a:lnTo>
                <a:lnTo>
                  <a:pt x="104" y="1171"/>
                </a:lnTo>
                <a:lnTo>
                  <a:pt x="78" y="1173"/>
                </a:lnTo>
                <a:lnTo>
                  <a:pt x="64" y="1173"/>
                </a:lnTo>
                <a:lnTo>
                  <a:pt x="64" y="1173"/>
                </a:lnTo>
                <a:lnTo>
                  <a:pt x="136" y="1171"/>
                </a:lnTo>
                <a:lnTo>
                  <a:pt x="136" y="1171"/>
                </a:lnTo>
                <a:lnTo>
                  <a:pt x="150" y="1171"/>
                </a:lnTo>
                <a:lnTo>
                  <a:pt x="174" y="1169"/>
                </a:lnTo>
                <a:lnTo>
                  <a:pt x="192" y="1169"/>
                </a:lnTo>
                <a:lnTo>
                  <a:pt x="194" y="1169"/>
                </a:lnTo>
                <a:lnTo>
                  <a:pt x="188" y="1169"/>
                </a:lnTo>
                <a:lnTo>
                  <a:pt x="188" y="1169"/>
                </a:lnTo>
                <a:lnTo>
                  <a:pt x="237" y="1167"/>
                </a:lnTo>
                <a:lnTo>
                  <a:pt x="237" y="1167"/>
                </a:lnTo>
                <a:lnTo>
                  <a:pt x="215" y="1169"/>
                </a:lnTo>
                <a:lnTo>
                  <a:pt x="180" y="1173"/>
                </a:lnTo>
                <a:lnTo>
                  <a:pt x="180" y="1173"/>
                </a:lnTo>
                <a:lnTo>
                  <a:pt x="148" y="1175"/>
                </a:lnTo>
                <a:lnTo>
                  <a:pt x="146" y="1173"/>
                </a:lnTo>
                <a:lnTo>
                  <a:pt x="150" y="1173"/>
                </a:lnTo>
                <a:lnTo>
                  <a:pt x="162" y="1171"/>
                </a:lnTo>
                <a:lnTo>
                  <a:pt x="166" y="1171"/>
                </a:lnTo>
                <a:lnTo>
                  <a:pt x="164" y="1171"/>
                </a:lnTo>
                <a:lnTo>
                  <a:pt x="104" y="1173"/>
                </a:lnTo>
                <a:lnTo>
                  <a:pt x="104" y="1173"/>
                </a:lnTo>
                <a:lnTo>
                  <a:pt x="98" y="1175"/>
                </a:lnTo>
                <a:lnTo>
                  <a:pt x="118" y="1175"/>
                </a:lnTo>
                <a:lnTo>
                  <a:pt x="118" y="1175"/>
                </a:lnTo>
                <a:lnTo>
                  <a:pt x="80" y="1177"/>
                </a:lnTo>
                <a:lnTo>
                  <a:pt x="32" y="1179"/>
                </a:lnTo>
                <a:lnTo>
                  <a:pt x="32" y="1179"/>
                </a:lnTo>
                <a:lnTo>
                  <a:pt x="54" y="1179"/>
                </a:lnTo>
                <a:lnTo>
                  <a:pt x="54" y="1179"/>
                </a:lnTo>
                <a:lnTo>
                  <a:pt x="36" y="1181"/>
                </a:lnTo>
                <a:lnTo>
                  <a:pt x="34" y="1181"/>
                </a:lnTo>
                <a:lnTo>
                  <a:pt x="36" y="1183"/>
                </a:lnTo>
                <a:lnTo>
                  <a:pt x="60" y="1181"/>
                </a:lnTo>
                <a:lnTo>
                  <a:pt x="60" y="1181"/>
                </a:lnTo>
                <a:lnTo>
                  <a:pt x="56" y="1181"/>
                </a:lnTo>
                <a:lnTo>
                  <a:pt x="62" y="1181"/>
                </a:lnTo>
                <a:lnTo>
                  <a:pt x="66" y="1181"/>
                </a:lnTo>
                <a:lnTo>
                  <a:pt x="58" y="1181"/>
                </a:lnTo>
                <a:lnTo>
                  <a:pt x="58" y="1181"/>
                </a:lnTo>
                <a:lnTo>
                  <a:pt x="98" y="1179"/>
                </a:lnTo>
                <a:lnTo>
                  <a:pt x="112" y="1179"/>
                </a:lnTo>
                <a:lnTo>
                  <a:pt x="114" y="1179"/>
                </a:lnTo>
                <a:lnTo>
                  <a:pt x="110" y="1181"/>
                </a:lnTo>
                <a:lnTo>
                  <a:pt x="196" y="1175"/>
                </a:lnTo>
                <a:lnTo>
                  <a:pt x="196" y="1175"/>
                </a:lnTo>
                <a:lnTo>
                  <a:pt x="190" y="1175"/>
                </a:lnTo>
                <a:lnTo>
                  <a:pt x="170" y="1177"/>
                </a:lnTo>
                <a:lnTo>
                  <a:pt x="239" y="1173"/>
                </a:lnTo>
                <a:lnTo>
                  <a:pt x="221" y="1173"/>
                </a:lnTo>
                <a:lnTo>
                  <a:pt x="221" y="1173"/>
                </a:lnTo>
                <a:lnTo>
                  <a:pt x="285" y="1169"/>
                </a:lnTo>
                <a:lnTo>
                  <a:pt x="343" y="1165"/>
                </a:lnTo>
                <a:lnTo>
                  <a:pt x="343" y="1165"/>
                </a:lnTo>
                <a:lnTo>
                  <a:pt x="317" y="1167"/>
                </a:lnTo>
                <a:lnTo>
                  <a:pt x="277" y="1171"/>
                </a:lnTo>
                <a:lnTo>
                  <a:pt x="277" y="1171"/>
                </a:lnTo>
                <a:lnTo>
                  <a:pt x="291" y="1171"/>
                </a:lnTo>
                <a:lnTo>
                  <a:pt x="301" y="1169"/>
                </a:lnTo>
                <a:lnTo>
                  <a:pt x="335" y="1167"/>
                </a:lnTo>
                <a:lnTo>
                  <a:pt x="335" y="1167"/>
                </a:lnTo>
                <a:lnTo>
                  <a:pt x="341" y="1167"/>
                </a:lnTo>
                <a:lnTo>
                  <a:pt x="341" y="1169"/>
                </a:lnTo>
                <a:lnTo>
                  <a:pt x="373" y="1165"/>
                </a:lnTo>
                <a:lnTo>
                  <a:pt x="373" y="1165"/>
                </a:lnTo>
                <a:lnTo>
                  <a:pt x="379" y="1165"/>
                </a:lnTo>
                <a:lnTo>
                  <a:pt x="373" y="1165"/>
                </a:lnTo>
                <a:lnTo>
                  <a:pt x="373" y="1165"/>
                </a:lnTo>
                <a:lnTo>
                  <a:pt x="399" y="1163"/>
                </a:lnTo>
                <a:lnTo>
                  <a:pt x="403" y="1163"/>
                </a:lnTo>
                <a:lnTo>
                  <a:pt x="449" y="1159"/>
                </a:lnTo>
                <a:lnTo>
                  <a:pt x="449" y="1159"/>
                </a:lnTo>
                <a:lnTo>
                  <a:pt x="407" y="1161"/>
                </a:lnTo>
                <a:lnTo>
                  <a:pt x="371" y="1163"/>
                </a:lnTo>
                <a:lnTo>
                  <a:pt x="371" y="1163"/>
                </a:lnTo>
                <a:lnTo>
                  <a:pt x="365" y="1163"/>
                </a:lnTo>
                <a:lnTo>
                  <a:pt x="369" y="1163"/>
                </a:lnTo>
                <a:lnTo>
                  <a:pt x="385" y="1161"/>
                </a:lnTo>
                <a:lnTo>
                  <a:pt x="425" y="1159"/>
                </a:lnTo>
                <a:lnTo>
                  <a:pt x="425" y="1159"/>
                </a:lnTo>
                <a:lnTo>
                  <a:pt x="467" y="1157"/>
                </a:lnTo>
                <a:lnTo>
                  <a:pt x="515" y="1155"/>
                </a:lnTo>
                <a:lnTo>
                  <a:pt x="515" y="1155"/>
                </a:lnTo>
                <a:lnTo>
                  <a:pt x="497" y="1157"/>
                </a:lnTo>
                <a:lnTo>
                  <a:pt x="467" y="1159"/>
                </a:lnTo>
                <a:lnTo>
                  <a:pt x="467" y="1159"/>
                </a:lnTo>
                <a:lnTo>
                  <a:pt x="457" y="1161"/>
                </a:lnTo>
                <a:lnTo>
                  <a:pt x="465" y="1161"/>
                </a:lnTo>
                <a:lnTo>
                  <a:pt x="487" y="1161"/>
                </a:lnTo>
                <a:lnTo>
                  <a:pt x="487" y="1161"/>
                </a:lnTo>
                <a:lnTo>
                  <a:pt x="491" y="1159"/>
                </a:lnTo>
                <a:lnTo>
                  <a:pt x="491" y="1159"/>
                </a:lnTo>
                <a:lnTo>
                  <a:pt x="513" y="1157"/>
                </a:lnTo>
                <a:lnTo>
                  <a:pt x="511" y="1157"/>
                </a:lnTo>
                <a:lnTo>
                  <a:pt x="567" y="1153"/>
                </a:lnTo>
                <a:lnTo>
                  <a:pt x="567" y="1153"/>
                </a:lnTo>
                <a:lnTo>
                  <a:pt x="654" y="1149"/>
                </a:lnTo>
                <a:lnTo>
                  <a:pt x="692" y="1145"/>
                </a:lnTo>
                <a:lnTo>
                  <a:pt x="724" y="1145"/>
                </a:lnTo>
                <a:lnTo>
                  <a:pt x="716" y="1143"/>
                </a:lnTo>
                <a:lnTo>
                  <a:pt x="716" y="1143"/>
                </a:lnTo>
                <a:lnTo>
                  <a:pt x="820" y="1137"/>
                </a:lnTo>
                <a:lnTo>
                  <a:pt x="820" y="1137"/>
                </a:lnTo>
                <a:lnTo>
                  <a:pt x="802" y="1139"/>
                </a:lnTo>
                <a:lnTo>
                  <a:pt x="770" y="1141"/>
                </a:lnTo>
                <a:lnTo>
                  <a:pt x="770" y="1141"/>
                </a:lnTo>
                <a:lnTo>
                  <a:pt x="854" y="1137"/>
                </a:lnTo>
                <a:lnTo>
                  <a:pt x="922" y="1131"/>
                </a:lnTo>
                <a:lnTo>
                  <a:pt x="922" y="1131"/>
                </a:lnTo>
                <a:lnTo>
                  <a:pt x="860" y="1131"/>
                </a:lnTo>
                <a:lnTo>
                  <a:pt x="860" y="1131"/>
                </a:lnTo>
                <a:lnTo>
                  <a:pt x="886" y="1129"/>
                </a:lnTo>
                <a:lnTo>
                  <a:pt x="904" y="1129"/>
                </a:lnTo>
                <a:lnTo>
                  <a:pt x="926" y="1129"/>
                </a:lnTo>
                <a:lnTo>
                  <a:pt x="956" y="1127"/>
                </a:lnTo>
                <a:lnTo>
                  <a:pt x="956" y="1127"/>
                </a:lnTo>
                <a:lnTo>
                  <a:pt x="956" y="1127"/>
                </a:lnTo>
                <a:lnTo>
                  <a:pt x="952" y="1129"/>
                </a:lnTo>
                <a:lnTo>
                  <a:pt x="950" y="1129"/>
                </a:lnTo>
                <a:lnTo>
                  <a:pt x="954" y="1131"/>
                </a:lnTo>
                <a:lnTo>
                  <a:pt x="954" y="1131"/>
                </a:lnTo>
                <a:lnTo>
                  <a:pt x="1034" y="1123"/>
                </a:lnTo>
                <a:lnTo>
                  <a:pt x="1034" y="1123"/>
                </a:lnTo>
                <a:lnTo>
                  <a:pt x="1036" y="1125"/>
                </a:lnTo>
                <a:lnTo>
                  <a:pt x="1028" y="1125"/>
                </a:lnTo>
                <a:lnTo>
                  <a:pt x="972" y="1131"/>
                </a:lnTo>
                <a:lnTo>
                  <a:pt x="972" y="1131"/>
                </a:lnTo>
                <a:lnTo>
                  <a:pt x="912" y="1133"/>
                </a:lnTo>
                <a:lnTo>
                  <a:pt x="858" y="1137"/>
                </a:lnTo>
                <a:lnTo>
                  <a:pt x="878" y="1137"/>
                </a:lnTo>
                <a:lnTo>
                  <a:pt x="878" y="1137"/>
                </a:lnTo>
                <a:lnTo>
                  <a:pt x="782" y="1143"/>
                </a:lnTo>
                <a:lnTo>
                  <a:pt x="784" y="1143"/>
                </a:lnTo>
                <a:lnTo>
                  <a:pt x="766" y="1145"/>
                </a:lnTo>
                <a:lnTo>
                  <a:pt x="784" y="1145"/>
                </a:lnTo>
                <a:lnTo>
                  <a:pt x="784" y="1145"/>
                </a:lnTo>
                <a:lnTo>
                  <a:pt x="724" y="1151"/>
                </a:lnTo>
                <a:lnTo>
                  <a:pt x="724" y="1151"/>
                </a:lnTo>
                <a:lnTo>
                  <a:pt x="758" y="1149"/>
                </a:lnTo>
                <a:lnTo>
                  <a:pt x="778" y="1145"/>
                </a:lnTo>
                <a:lnTo>
                  <a:pt x="810" y="1141"/>
                </a:lnTo>
                <a:lnTo>
                  <a:pt x="810" y="1141"/>
                </a:lnTo>
                <a:lnTo>
                  <a:pt x="868" y="1139"/>
                </a:lnTo>
                <a:lnTo>
                  <a:pt x="890" y="1139"/>
                </a:lnTo>
                <a:lnTo>
                  <a:pt x="914" y="1137"/>
                </a:lnTo>
                <a:lnTo>
                  <a:pt x="914" y="1137"/>
                </a:lnTo>
                <a:lnTo>
                  <a:pt x="926" y="1137"/>
                </a:lnTo>
                <a:lnTo>
                  <a:pt x="930" y="1137"/>
                </a:lnTo>
                <a:lnTo>
                  <a:pt x="922" y="1139"/>
                </a:lnTo>
                <a:lnTo>
                  <a:pt x="922" y="1139"/>
                </a:lnTo>
                <a:lnTo>
                  <a:pt x="888" y="1141"/>
                </a:lnTo>
                <a:lnTo>
                  <a:pt x="872" y="1143"/>
                </a:lnTo>
                <a:lnTo>
                  <a:pt x="872" y="1143"/>
                </a:lnTo>
                <a:lnTo>
                  <a:pt x="934" y="1139"/>
                </a:lnTo>
                <a:lnTo>
                  <a:pt x="934" y="1139"/>
                </a:lnTo>
                <a:lnTo>
                  <a:pt x="962" y="1135"/>
                </a:lnTo>
                <a:lnTo>
                  <a:pt x="1008" y="1131"/>
                </a:lnTo>
                <a:lnTo>
                  <a:pt x="1008" y="1131"/>
                </a:lnTo>
                <a:lnTo>
                  <a:pt x="1111" y="1123"/>
                </a:lnTo>
                <a:lnTo>
                  <a:pt x="1111" y="1123"/>
                </a:lnTo>
                <a:lnTo>
                  <a:pt x="1067" y="1127"/>
                </a:lnTo>
                <a:lnTo>
                  <a:pt x="1055" y="1129"/>
                </a:lnTo>
                <a:lnTo>
                  <a:pt x="1051" y="1129"/>
                </a:lnTo>
                <a:lnTo>
                  <a:pt x="1053" y="1131"/>
                </a:lnTo>
                <a:lnTo>
                  <a:pt x="1053" y="1131"/>
                </a:lnTo>
                <a:lnTo>
                  <a:pt x="1093" y="1127"/>
                </a:lnTo>
                <a:lnTo>
                  <a:pt x="1107" y="1127"/>
                </a:lnTo>
                <a:lnTo>
                  <a:pt x="1111" y="1127"/>
                </a:lnTo>
                <a:lnTo>
                  <a:pt x="1109" y="1125"/>
                </a:lnTo>
                <a:lnTo>
                  <a:pt x="1109" y="1125"/>
                </a:lnTo>
                <a:lnTo>
                  <a:pt x="1177" y="1121"/>
                </a:lnTo>
                <a:lnTo>
                  <a:pt x="1205" y="1121"/>
                </a:lnTo>
                <a:lnTo>
                  <a:pt x="1217" y="1121"/>
                </a:lnTo>
                <a:lnTo>
                  <a:pt x="1217" y="1121"/>
                </a:lnTo>
                <a:lnTo>
                  <a:pt x="1113" y="1127"/>
                </a:lnTo>
                <a:lnTo>
                  <a:pt x="1113" y="1127"/>
                </a:lnTo>
                <a:lnTo>
                  <a:pt x="1125" y="1127"/>
                </a:lnTo>
                <a:lnTo>
                  <a:pt x="1127" y="1127"/>
                </a:lnTo>
                <a:lnTo>
                  <a:pt x="1125" y="1127"/>
                </a:lnTo>
                <a:lnTo>
                  <a:pt x="1079" y="1131"/>
                </a:lnTo>
                <a:lnTo>
                  <a:pt x="1079" y="1131"/>
                </a:lnTo>
                <a:lnTo>
                  <a:pt x="1113" y="1129"/>
                </a:lnTo>
                <a:lnTo>
                  <a:pt x="1153" y="1127"/>
                </a:lnTo>
                <a:lnTo>
                  <a:pt x="1153" y="1127"/>
                </a:lnTo>
                <a:lnTo>
                  <a:pt x="1149" y="1127"/>
                </a:lnTo>
                <a:lnTo>
                  <a:pt x="1185" y="1125"/>
                </a:lnTo>
                <a:lnTo>
                  <a:pt x="1185" y="1127"/>
                </a:lnTo>
                <a:lnTo>
                  <a:pt x="1185" y="1127"/>
                </a:lnTo>
                <a:lnTo>
                  <a:pt x="1255" y="1121"/>
                </a:lnTo>
                <a:lnTo>
                  <a:pt x="1345" y="1115"/>
                </a:lnTo>
                <a:lnTo>
                  <a:pt x="1339" y="1117"/>
                </a:lnTo>
                <a:lnTo>
                  <a:pt x="1339" y="1117"/>
                </a:lnTo>
                <a:lnTo>
                  <a:pt x="1369" y="1115"/>
                </a:lnTo>
                <a:lnTo>
                  <a:pt x="1391" y="1111"/>
                </a:lnTo>
                <a:lnTo>
                  <a:pt x="1445" y="1105"/>
                </a:lnTo>
                <a:lnTo>
                  <a:pt x="1445" y="1105"/>
                </a:lnTo>
                <a:lnTo>
                  <a:pt x="1435" y="1107"/>
                </a:lnTo>
                <a:lnTo>
                  <a:pt x="1439" y="1109"/>
                </a:lnTo>
                <a:lnTo>
                  <a:pt x="1439" y="1109"/>
                </a:lnTo>
                <a:lnTo>
                  <a:pt x="1474" y="1107"/>
                </a:lnTo>
                <a:lnTo>
                  <a:pt x="1506" y="1105"/>
                </a:lnTo>
                <a:lnTo>
                  <a:pt x="1506" y="1105"/>
                </a:lnTo>
                <a:lnTo>
                  <a:pt x="1496" y="1105"/>
                </a:lnTo>
                <a:lnTo>
                  <a:pt x="1502" y="1103"/>
                </a:lnTo>
                <a:lnTo>
                  <a:pt x="1510" y="1103"/>
                </a:lnTo>
                <a:lnTo>
                  <a:pt x="1506" y="1103"/>
                </a:lnTo>
                <a:lnTo>
                  <a:pt x="1506" y="1103"/>
                </a:lnTo>
                <a:lnTo>
                  <a:pt x="1514" y="1101"/>
                </a:lnTo>
                <a:lnTo>
                  <a:pt x="1534" y="1099"/>
                </a:lnTo>
                <a:lnTo>
                  <a:pt x="1586" y="1095"/>
                </a:lnTo>
                <a:lnTo>
                  <a:pt x="1586" y="1095"/>
                </a:lnTo>
                <a:lnTo>
                  <a:pt x="1588" y="1095"/>
                </a:lnTo>
                <a:lnTo>
                  <a:pt x="1586" y="1095"/>
                </a:lnTo>
                <a:lnTo>
                  <a:pt x="1580" y="1097"/>
                </a:lnTo>
                <a:lnTo>
                  <a:pt x="1554" y="1099"/>
                </a:lnTo>
                <a:lnTo>
                  <a:pt x="1534" y="1101"/>
                </a:lnTo>
                <a:lnTo>
                  <a:pt x="1532" y="1101"/>
                </a:lnTo>
                <a:lnTo>
                  <a:pt x="1542" y="1101"/>
                </a:lnTo>
                <a:lnTo>
                  <a:pt x="1542" y="1101"/>
                </a:lnTo>
                <a:lnTo>
                  <a:pt x="1566" y="1099"/>
                </a:lnTo>
                <a:lnTo>
                  <a:pt x="1556" y="1099"/>
                </a:lnTo>
                <a:lnTo>
                  <a:pt x="1556" y="1099"/>
                </a:lnTo>
                <a:lnTo>
                  <a:pt x="1616" y="1095"/>
                </a:lnTo>
                <a:lnTo>
                  <a:pt x="1670" y="1093"/>
                </a:lnTo>
                <a:lnTo>
                  <a:pt x="1670" y="1093"/>
                </a:lnTo>
                <a:lnTo>
                  <a:pt x="1718" y="1087"/>
                </a:lnTo>
                <a:lnTo>
                  <a:pt x="1754" y="1083"/>
                </a:lnTo>
                <a:lnTo>
                  <a:pt x="1754" y="1083"/>
                </a:lnTo>
                <a:lnTo>
                  <a:pt x="1730" y="1085"/>
                </a:lnTo>
                <a:lnTo>
                  <a:pt x="1702" y="1087"/>
                </a:lnTo>
                <a:lnTo>
                  <a:pt x="1732" y="1083"/>
                </a:lnTo>
                <a:lnTo>
                  <a:pt x="1732" y="1083"/>
                </a:lnTo>
                <a:lnTo>
                  <a:pt x="1834" y="1077"/>
                </a:lnTo>
                <a:lnTo>
                  <a:pt x="1804" y="1081"/>
                </a:lnTo>
                <a:lnTo>
                  <a:pt x="1806" y="1081"/>
                </a:lnTo>
                <a:lnTo>
                  <a:pt x="1806" y="1081"/>
                </a:lnTo>
                <a:lnTo>
                  <a:pt x="1778" y="1083"/>
                </a:lnTo>
                <a:lnTo>
                  <a:pt x="1762" y="1085"/>
                </a:lnTo>
                <a:lnTo>
                  <a:pt x="1762" y="1085"/>
                </a:lnTo>
                <a:lnTo>
                  <a:pt x="1798" y="1081"/>
                </a:lnTo>
                <a:lnTo>
                  <a:pt x="1844" y="1077"/>
                </a:lnTo>
                <a:lnTo>
                  <a:pt x="1842" y="1079"/>
                </a:lnTo>
                <a:lnTo>
                  <a:pt x="1842" y="1079"/>
                </a:lnTo>
                <a:lnTo>
                  <a:pt x="1923" y="1073"/>
                </a:lnTo>
                <a:lnTo>
                  <a:pt x="1957" y="1069"/>
                </a:lnTo>
                <a:lnTo>
                  <a:pt x="1987" y="1067"/>
                </a:lnTo>
                <a:lnTo>
                  <a:pt x="1987" y="1067"/>
                </a:lnTo>
                <a:lnTo>
                  <a:pt x="1967" y="1067"/>
                </a:lnTo>
                <a:lnTo>
                  <a:pt x="1961" y="1067"/>
                </a:lnTo>
                <a:lnTo>
                  <a:pt x="1959" y="1067"/>
                </a:lnTo>
                <a:lnTo>
                  <a:pt x="1961" y="1067"/>
                </a:lnTo>
                <a:lnTo>
                  <a:pt x="1961" y="1067"/>
                </a:lnTo>
                <a:lnTo>
                  <a:pt x="1991" y="1065"/>
                </a:lnTo>
                <a:lnTo>
                  <a:pt x="2011" y="1063"/>
                </a:lnTo>
                <a:lnTo>
                  <a:pt x="1999" y="1065"/>
                </a:lnTo>
                <a:lnTo>
                  <a:pt x="1999" y="1065"/>
                </a:lnTo>
                <a:lnTo>
                  <a:pt x="2067" y="1059"/>
                </a:lnTo>
                <a:lnTo>
                  <a:pt x="2067" y="1059"/>
                </a:lnTo>
                <a:lnTo>
                  <a:pt x="2073" y="1057"/>
                </a:lnTo>
                <a:lnTo>
                  <a:pt x="2091" y="1055"/>
                </a:lnTo>
                <a:lnTo>
                  <a:pt x="2091" y="1055"/>
                </a:lnTo>
                <a:lnTo>
                  <a:pt x="2113" y="1053"/>
                </a:lnTo>
                <a:lnTo>
                  <a:pt x="2107" y="1055"/>
                </a:lnTo>
                <a:lnTo>
                  <a:pt x="2097" y="1057"/>
                </a:lnTo>
                <a:lnTo>
                  <a:pt x="2109" y="1057"/>
                </a:lnTo>
                <a:lnTo>
                  <a:pt x="2165" y="1051"/>
                </a:lnTo>
                <a:lnTo>
                  <a:pt x="2177" y="1051"/>
                </a:lnTo>
                <a:lnTo>
                  <a:pt x="2177" y="1051"/>
                </a:lnTo>
                <a:lnTo>
                  <a:pt x="2239" y="1047"/>
                </a:lnTo>
                <a:lnTo>
                  <a:pt x="2295" y="1041"/>
                </a:lnTo>
                <a:lnTo>
                  <a:pt x="2418" y="1029"/>
                </a:lnTo>
                <a:lnTo>
                  <a:pt x="2418" y="1029"/>
                </a:lnTo>
                <a:lnTo>
                  <a:pt x="2408" y="1031"/>
                </a:lnTo>
                <a:lnTo>
                  <a:pt x="2384" y="1033"/>
                </a:lnTo>
                <a:lnTo>
                  <a:pt x="2332" y="1039"/>
                </a:lnTo>
                <a:lnTo>
                  <a:pt x="2332" y="1039"/>
                </a:lnTo>
                <a:lnTo>
                  <a:pt x="2382" y="1035"/>
                </a:lnTo>
                <a:lnTo>
                  <a:pt x="2438" y="1031"/>
                </a:lnTo>
                <a:lnTo>
                  <a:pt x="2438" y="1031"/>
                </a:lnTo>
                <a:lnTo>
                  <a:pt x="2482" y="1027"/>
                </a:lnTo>
                <a:lnTo>
                  <a:pt x="2492" y="1025"/>
                </a:lnTo>
                <a:lnTo>
                  <a:pt x="2494" y="1023"/>
                </a:lnTo>
                <a:lnTo>
                  <a:pt x="2494" y="1023"/>
                </a:lnTo>
                <a:lnTo>
                  <a:pt x="2494" y="1023"/>
                </a:lnTo>
                <a:lnTo>
                  <a:pt x="2526" y="1021"/>
                </a:lnTo>
                <a:lnTo>
                  <a:pt x="2530" y="1021"/>
                </a:lnTo>
                <a:lnTo>
                  <a:pt x="2530" y="1021"/>
                </a:lnTo>
                <a:lnTo>
                  <a:pt x="2574" y="1017"/>
                </a:lnTo>
                <a:lnTo>
                  <a:pt x="2632" y="1011"/>
                </a:lnTo>
                <a:lnTo>
                  <a:pt x="2634" y="1013"/>
                </a:lnTo>
                <a:lnTo>
                  <a:pt x="2688" y="1007"/>
                </a:lnTo>
                <a:lnTo>
                  <a:pt x="2688" y="1007"/>
                </a:lnTo>
                <a:lnTo>
                  <a:pt x="2682" y="1007"/>
                </a:lnTo>
                <a:lnTo>
                  <a:pt x="2686" y="1005"/>
                </a:lnTo>
                <a:lnTo>
                  <a:pt x="2700" y="1005"/>
                </a:lnTo>
                <a:lnTo>
                  <a:pt x="2700" y="1005"/>
                </a:lnTo>
                <a:lnTo>
                  <a:pt x="2658" y="1007"/>
                </a:lnTo>
                <a:lnTo>
                  <a:pt x="2614" y="1011"/>
                </a:lnTo>
                <a:lnTo>
                  <a:pt x="2570" y="1015"/>
                </a:lnTo>
                <a:lnTo>
                  <a:pt x="2526" y="1017"/>
                </a:lnTo>
                <a:lnTo>
                  <a:pt x="2526" y="1017"/>
                </a:lnTo>
                <a:lnTo>
                  <a:pt x="2532" y="1017"/>
                </a:lnTo>
                <a:lnTo>
                  <a:pt x="2532" y="1017"/>
                </a:lnTo>
                <a:lnTo>
                  <a:pt x="2530" y="1015"/>
                </a:lnTo>
                <a:lnTo>
                  <a:pt x="2538" y="1015"/>
                </a:lnTo>
                <a:lnTo>
                  <a:pt x="2538" y="1015"/>
                </a:lnTo>
                <a:lnTo>
                  <a:pt x="2556" y="1015"/>
                </a:lnTo>
                <a:lnTo>
                  <a:pt x="2556" y="1015"/>
                </a:lnTo>
                <a:lnTo>
                  <a:pt x="2570" y="1011"/>
                </a:lnTo>
                <a:lnTo>
                  <a:pt x="2556" y="1013"/>
                </a:lnTo>
                <a:lnTo>
                  <a:pt x="2556" y="1013"/>
                </a:lnTo>
                <a:lnTo>
                  <a:pt x="2568" y="1011"/>
                </a:lnTo>
                <a:lnTo>
                  <a:pt x="2592" y="1007"/>
                </a:lnTo>
                <a:lnTo>
                  <a:pt x="2656" y="1001"/>
                </a:lnTo>
                <a:lnTo>
                  <a:pt x="2656" y="1001"/>
                </a:lnTo>
                <a:lnTo>
                  <a:pt x="2664" y="1001"/>
                </a:lnTo>
                <a:lnTo>
                  <a:pt x="2650" y="1005"/>
                </a:lnTo>
                <a:lnTo>
                  <a:pt x="2606" y="1009"/>
                </a:lnTo>
                <a:lnTo>
                  <a:pt x="2606" y="1009"/>
                </a:lnTo>
                <a:lnTo>
                  <a:pt x="2630" y="1007"/>
                </a:lnTo>
                <a:lnTo>
                  <a:pt x="2656" y="1005"/>
                </a:lnTo>
                <a:lnTo>
                  <a:pt x="2652" y="1007"/>
                </a:lnTo>
                <a:lnTo>
                  <a:pt x="2652" y="1007"/>
                </a:lnTo>
                <a:lnTo>
                  <a:pt x="2682" y="1003"/>
                </a:lnTo>
                <a:lnTo>
                  <a:pt x="2678" y="1003"/>
                </a:lnTo>
                <a:lnTo>
                  <a:pt x="2676" y="1001"/>
                </a:lnTo>
                <a:lnTo>
                  <a:pt x="2678" y="1001"/>
                </a:lnTo>
                <a:lnTo>
                  <a:pt x="2678" y="1001"/>
                </a:lnTo>
                <a:lnTo>
                  <a:pt x="2694" y="999"/>
                </a:lnTo>
                <a:lnTo>
                  <a:pt x="2712" y="997"/>
                </a:lnTo>
                <a:lnTo>
                  <a:pt x="2745" y="995"/>
                </a:lnTo>
                <a:lnTo>
                  <a:pt x="2728" y="997"/>
                </a:lnTo>
                <a:lnTo>
                  <a:pt x="2728" y="997"/>
                </a:lnTo>
                <a:lnTo>
                  <a:pt x="2775" y="993"/>
                </a:lnTo>
                <a:lnTo>
                  <a:pt x="2819" y="989"/>
                </a:lnTo>
                <a:lnTo>
                  <a:pt x="2839" y="989"/>
                </a:lnTo>
                <a:lnTo>
                  <a:pt x="2839" y="989"/>
                </a:lnTo>
                <a:lnTo>
                  <a:pt x="2807" y="991"/>
                </a:lnTo>
                <a:lnTo>
                  <a:pt x="2787" y="993"/>
                </a:lnTo>
                <a:lnTo>
                  <a:pt x="2769" y="995"/>
                </a:lnTo>
                <a:lnTo>
                  <a:pt x="2751" y="997"/>
                </a:lnTo>
                <a:lnTo>
                  <a:pt x="2751" y="997"/>
                </a:lnTo>
                <a:lnTo>
                  <a:pt x="2779" y="997"/>
                </a:lnTo>
                <a:lnTo>
                  <a:pt x="2767" y="999"/>
                </a:lnTo>
                <a:lnTo>
                  <a:pt x="2712" y="1005"/>
                </a:lnTo>
                <a:lnTo>
                  <a:pt x="2712" y="1005"/>
                </a:lnTo>
                <a:lnTo>
                  <a:pt x="2789" y="1001"/>
                </a:lnTo>
                <a:lnTo>
                  <a:pt x="2789" y="1001"/>
                </a:lnTo>
                <a:lnTo>
                  <a:pt x="2823" y="997"/>
                </a:lnTo>
                <a:lnTo>
                  <a:pt x="2857" y="995"/>
                </a:lnTo>
                <a:lnTo>
                  <a:pt x="2891" y="991"/>
                </a:lnTo>
                <a:lnTo>
                  <a:pt x="2925" y="987"/>
                </a:lnTo>
                <a:lnTo>
                  <a:pt x="2925" y="987"/>
                </a:lnTo>
                <a:lnTo>
                  <a:pt x="2933" y="987"/>
                </a:lnTo>
                <a:lnTo>
                  <a:pt x="2927" y="989"/>
                </a:lnTo>
                <a:lnTo>
                  <a:pt x="2921" y="989"/>
                </a:lnTo>
                <a:lnTo>
                  <a:pt x="2929" y="989"/>
                </a:lnTo>
                <a:lnTo>
                  <a:pt x="2929" y="989"/>
                </a:lnTo>
                <a:lnTo>
                  <a:pt x="3073" y="977"/>
                </a:lnTo>
                <a:lnTo>
                  <a:pt x="3073" y="977"/>
                </a:lnTo>
                <a:lnTo>
                  <a:pt x="3093" y="975"/>
                </a:lnTo>
                <a:lnTo>
                  <a:pt x="3101" y="977"/>
                </a:lnTo>
                <a:lnTo>
                  <a:pt x="3101" y="977"/>
                </a:lnTo>
                <a:lnTo>
                  <a:pt x="3180" y="971"/>
                </a:lnTo>
                <a:lnTo>
                  <a:pt x="3246" y="965"/>
                </a:lnTo>
                <a:lnTo>
                  <a:pt x="3316" y="959"/>
                </a:lnTo>
                <a:lnTo>
                  <a:pt x="3402" y="953"/>
                </a:lnTo>
                <a:lnTo>
                  <a:pt x="3382" y="955"/>
                </a:lnTo>
                <a:lnTo>
                  <a:pt x="3382" y="955"/>
                </a:lnTo>
                <a:lnTo>
                  <a:pt x="3420" y="953"/>
                </a:lnTo>
                <a:lnTo>
                  <a:pt x="3446" y="949"/>
                </a:lnTo>
                <a:lnTo>
                  <a:pt x="3446" y="949"/>
                </a:lnTo>
                <a:lnTo>
                  <a:pt x="3480" y="949"/>
                </a:lnTo>
                <a:lnTo>
                  <a:pt x="3524" y="945"/>
                </a:lnTo>
                <a:lnTo>
                  <a:pt x="3571" y="941"/>
                </a:lnTo>
                <a:lnTo>
                  <a:pt x="3611" y="939"/>
                </a:lnTo>
                <a:lnTo>
                  <a:pt x="3611" y="939"/>
                </a:lnTo>
                <a:lnTo>
                  <a:pt x="3669" y="933"/>
                </a:lnTo>
                <a:lnTo>
                  <a:pt x="3717" y="929"/>
                </a:lnTo>
                <a:lnTo>
                  <a:pt x="3717" y="929"/>
                </a:lnTo>
                <a:lnTo>
                  <a:pt x="3713" y="929"/>
                </a:lnTo>
                <a:lnTo>
                  <a:pt x="3727" y="929"/>
                </a:lnTo>
                <a:lnTo>
                  <a:pt x="3727" y="929"/>
                </a:lnTo>
                <a:lnTo>
                  <a:pt x="4178" y="890"/>
                </a:lnTo>
                <a:lnTo>
                  <a:pt x="4178" y="890"/>
                </a:lnTo>
                <a:lnTo>
                  <a:pt x="4164" y="892"/>
                </a:lnTo>
                <a:lnTo>
                  <a:pt x="4164" y="892"/>
                </a:lnTo>
                <a:lnTo>
                  <a:pt x="4322" y="876"/>
                </a:lnTo>
                <a:lnTo>
                  <a:pt x="4467" y="862"/>
                </a:lnTo>
                <a:lnTo>
                  <a:pt x="4467" y="862"/>
                </a:lnTo>
                <a:lnTo>
                  <a:pt x="4505" y="856"/>
                </a:lnTo>
                <a:lnTo>
                  <a:pt x="4519" y="854"/>
                </a:lnTo>
                <a:lnTo>
                  <a:pt x="4521" y="854"/>
                </a:lnTo>
                <a:lnTo>
                  <a:pt x="4517" y="854"/>
                </a:lnTo>
                <a:lnTo>
                  <a:pt x="4517" y="854"/>
                </a:lnTo>
                <a:lnTo>
                  <a:pt x="4499" y="856"/>
                </a:lnTo>
                <a:lnTo>
                  <a:pt x="4495" y="854"/>
                </a:lnTo>
                <a:lnTo>
                  <a:pt x="4495" y="854"/>
                </a:lnTo>
                <a:lnTo>
                  <a:pt x="4495" y="854"/>
                </a:lnTo>
                <a:lnTo>
                  <a:pt x="4535" y="850"/>
                </a:lnTo>
                <a:lnTo>
                  <a:pt x="4551" y="848"/>
                </a:lnTo>
                <a:lnTo>
                  <a:pt x="4561" y="848"/>
                </a:lnTo>
                <a:lnTo>
                  <a:pt x="4587" y="846"/>
                </a:lnTo>
                <a:lnTo>
                  <a:pt x="4587" y="846"/>
                </a:lnTo>
                <a:lnTo>
                  <a:pt x="4591" y="846"/>
                </a:lnTo>
                <a:lnTo>
                  <a:pt x="4589" y="848"/>
                </a:lnTo>
                <a:lnTo>
                  <a:pt x="4577" y="850"/>
                </a:lnTo>
                <a:lnTo>
                  <a:pt x="4561" y="852"/>
                </a:lnTo>
                <a:lnTo>
                  <a:pt x="4553" y="854"/>
                </a:lnTo>
                <a:lnTo>
                  <a:pt x="4631" y="844"/>
                </a:lnTo>
                <a:lnTo>
                  <a:pt x="4631" y="844"/>
                </a:lnTo>
                <a:lnTo>
                  <a:pt x="4693" y="838"/>
                </a:lnTo>
                <a:lnTo>
                  <a:pt x="4753" y="832"/>
                </a:lnTo>
                <a:lnTo>
                  <a:pt x="4753" y="832"/>
                </a:lnTo>
                <a:lnTo>
                  <a:pt x="4741" y="834"/>
                </a:lnTo>
                <a:lnTo>
                  <a:pt x="4721" y="836"/>
                </a:lnTo>
                <a:lnTo>
                  <a:pt x="4721" y="836"/>
                </a:lnTo>
                <a:lnTo>
                  <a:pt x="4725" y="836"/>
                </a:lnTo>
                <a:lnTo>
                  <a:pt x="4725" y="836"/>
                </a:lnTo>
                <a:lnTo>
                  <a:pt x="4677" y="840"/>
                </a:lnTo>
                <a:lnTo>
                  <a:pt x="4635" y="846"/>
                </a:lnTo>
                <a:lnTo>
                  <a:pt x="4635" y="846"/>
                </a:lnTo>
                <a:lnTo>
                  <a:pt x="4797" y="828"/>
                </a:lnTo>
                <a:lnTo>
                  <a:pt x="4797" y="828"/>
                </a:lnTo>
                <a:lnTo>
                  <a:pt x="4795" y="828"/>
                </a:lnTo>
                <a:lnTo>
                  <a:pt x="4799" y="828"/>
                </a:lnTo>
                <a:lnTo>
                  <a:pt x="4813" y="826"/>
                </a:lnTo>
                <a:lnTo>
                  <a:pt x="4846" y="822"/>
                </a:lnTo>
                <a:lnTo>
                  <a:pt x="4848" y="822"/>
                </a:lnTo>
                <a:lnTo>
                  <a:pt x="4848" y="822"/>
                </a:lnTo>
                <a:lnTo>
                  <a:pt x="4884" y="816"/>
                </a:lnTo>
                <a:lnTo>
                  <a:pt x="4896" y="816"/>
                </a:lnTo>
                <a:lnTo>
                  <a:pt x="4896" y="816"/>
                </a:lnTo>
                <a:lnTo>
                  <a:pt x="4902" y="816"/>
                </a:lnTo>
                <a:lnTo>
                  <a:pt x="4910" y="814"/>
                </a:lnTo>
                <a:lnTo>
                  <a:pt x="4910" y="814"/>
                </a:lnTo>
                <a:lnTo>
                  <a:pt x="4984" y="806"/>
                </a:lnTo>
                <a:lnTo>
                  <a:pt x="5022" y="802"/>
                </a:lnTo>
                <a:lnTo>
                  <a:pt x="5042" y="800"/>
                </a:lnTo>
                <a:lnTo>
                  <a:pt x="5042" y="800"/>
                </a:lnTo>
                <a:lnTo>
                  <a:pt x="5120" y="790"/>
                </a:lnTo>
                <a:lnTo>
                  <a:pt x="5120" y="790"/>
                </a:lnTo>
                <a:lnTo>
                  <a:pt x="5108" y="792"/>
                </a:lnTo>
                <a:lnTo>
                  <a:pt x="5108" y="792"/>
                </a:lnTo>
                <a:lnTo>
                  <a:pt x="5341" y="766"/>
                </a:lnTo>
                <a:lnTo>
                  <a:pt x="5341" y="766"/>
                </a:lnTo>
                <a:lnTo>
                  <a:pt x="5419" y="754"/>
                </a:lnTo>
                <a:lnTo>
                  <a:pt x="5483" y="744"/>
                </a:lnTo>
                <a:lnTo>
                  <a:pt x="5483" y="744"/>
                </a:lnTo>
                <a:lnTo>
                  <a:pt x="5451" y="748"/>
                </a:lnTo>
                <a:lnTo>
                  <a:pt x="5441" y="750"/>
                </a:lnTo>
                <a:lnTo>
                  <a:pt x="5451" y="748"/>
                </a:lnTo>
                <a:lnTo>
                  <a:pt x="5451" y="748"/>
                </a:lnTo>
                <a:lnTo>
                  <a:pt x="5513" y="738"/>
                </a:lnTo>
                <a:lnTo>
                  <a:pt x="5513" y="738"/>
                </a:lnTo>
                <a:lnTo>
                  <a:pt x="5535" y="736"/>
                </a:lnTo>
                <a:lnTo>
                  <a:pt x="5543" y="736"/>
                </a:lnTo>
                <a:lnTo>
                  <a:pt x="5525" y="738"/>
                </a:lnTo>
                <a:lnTo>
                  <a:pt x="5525" y="738"/>
                </a:lnTo>
                <a:lnTo>
                  <a:pt x="5545" y="736"/>
                </a:lnTo>
                <a:lnTo>
                  <a:pt x="5581" y="732"/>
                </a:lnTo>
                <a:lnTo>
                  <a:pt x="5611" y="728"/>
                </a:lnTo>
                <a:lnTo>
                  <a:pt x="5625" y="726"/>
                </a:lnTo>
                <a:lnTo>
                  <a:pt x="5625" y="726"/>
                </a:lnTo>
                <a:lnTo>
                  <a:pt x="5672" y="720"/>
                </a:lnTo>
                <a:lnTo>
                  <a:pt x="5730" y="710"/>
                </a:lnTo>
                <a:lnTo>
                  <a:pt x="5730" y="710"/>
                </a:lnTo>
                <a:lnTo>
                  <a:pt x="5714" y="714"/>
                </a:lnTo>
                <a:lnTo>
                  <a:pt x="5694" y="718"/>
                </a:lnTo>
                <a:lnTo>
                  <a:pt x="5724" y="712"/>
                </a:lnTo>
                <a:lnTo>
                  <a:pt x="5724" y="714"/>
                </a:lnTo>
                <a:lnTo>
                  <a:pt x="5724" y="714"/>
                </a:lnTo>
                <a:lnTo>
                  <a:pt x="5784" y="704"/>
                </a:lnTo>
                <a:lnTo>
                  <a:pt x="5826" y="696"/>
                </a:lnTo>
                <a:lnTo>
                  <a:pt x="5826" y="696"/>
                </a:lnTo>
                <a:lnTo>
                  <a:pt x="5848" y="692"/>
                </a:lnTo>
                <a:lnTo>
                  <a:pt x="5822" y="698"/>
                </a:lnTo>
                <a:lnTo>
                  <a:pt x="5822" y="698"/>
                </a:lnTo>
                <a:lnTo>
                  <a:pt x="5920" y="682"/>
                </a:lnTo>
                <a:lnTo>
                  <a:pt x="5924" y="682"/>
                </a:lnTo>
                <a:lnTo>
                  <a:pt x="5948" y="676"/>
                </a:lnTo>
                <a:lnTo>
                  <a:pt x="5948" y="676"/>
                </a:lnTo>
                <a:lnTo>
                  <a:pt x="5946" y="678"/>
                </a:lnTo>
                <a:lnTo>
                  <a:pt x="5946" y="678"/>
                </a:lnTo>
                <a:lnTo>
                  <a:pt x="5996" y="668"/>
                </a:lnTo>
                <a:lnTo>
                  <a:pt x="6044" y="660"/>
                </a:lnTo>
                <a:lnTo>
                  <a:pt x="6044" y="660"/>
                </a:lnTo>
                <a:lnTo>
                  <a:pt x="6068" y="658"/>
                </a:lnTo>
                <a:lnTo>
                  <a:pt x="6097" y="652"/>
                </a:lnTo>
                <a:lnTo>
                  <a:pt x="6093" y="656"/>
                </a:lnTo>
                <a:lnTo>
                  <a:pt x="6093" y="656"/>
                </a:lnTo>
                <a:lnTo>
                  <a:pt x="6054" y="660"/>
                </a:lnTo>
                <a:lnTo>
                  <a:pt x="6014" y="666"/>
                </a:lnTo>
                <a:lnTo>
                  <a:pt x="6014" y="666"/>
                </a:lnTo>
                <a:lnTo>
                  <a:pt x="6060" y="662"/>
                </a:lnTo>
                <a:lnTo>
                  <a:pt x="6123" y="652"/>
                </a:lnTo>
                <a:lnTo>
                  <a:pt x="6257" y="630"/>
                </a:lnTo>
                <a:lnTo>
                  <a:pt x="6257" y="630"/>
                </a:lnTo>
                <a:lnTo>
                  <a:pt x="6371" y="610"/>
                </a:lnTo>
                <a:lnTo>
                  <a:pt x="6423" y="600"/>
                </a:lnTo>
                <a:lnTo>
                  <a:pt x="6455" y="592"/>
                </a:lnTo>
                <a:lnTo>
                  <a:pt x="6449" y="596"/>
                </a:lnTo>
                <a:lnTo>
                  <a:pt x="6558" y="576"/>
                </a:lnTo>
                <a:lnTo>
                  <a:pt x="6558" y="576"/>
                </a:lnTo>
                <a:lnTo>
                  <a:pt x="6694" y="550"/>
                </a:lnTo>
                <a:lnTo>
                  <a:pt x="6814" y="524"/>
                </a:lnTo>
                <a:lnTo>
                  <a:pt x="6834" y="522"/>
                </a:lnTo>
                <a:lnTo>
                  <a:pt x="6834" y="522"/>
                </a:lnTo>
                <a:lnTo>
                  <a:pt x="6902" y="506"/>
                </a:lnTo>
                <a:lnTo>
                  <a:pt x="6989" y="486"/>
                </a:lnTo>
                <a:lnTo>
                  <a:pt x="6989" y="486"/>
                </a:lnTo>
                <a:lnTo>
                  <a:pt x="7071" y="466"/>
                </a:lnTo>
                <a:lnTo>
                  <a:pt x="7125" y="449"/>
                </a:lnTo>
                <a:lnTo>
                  <a:pt x="7125" y="449"/>
                </a:lnTo>
                <a:lnTo>
                  <a:pt x="7141" y="447"/>
                </a:lnTo>
                <a:lnTo>
                  <a:pt x="7135" y="449"/>
                </a:lnTo>
                <a:lnTo>
                  <a:pt x="7109" y="457"/>
                </a:lnTo>
                <a:lnTo>
                  <a:pt x="7109" y="457"/>
                </a:lnTo>
                <a:lnTo>
                  <a:pt x="7165" y="443"/>
                </a:lnTo>
                <a:lnTo>
                  <a:pt x="7193" y="435"/>
                </a:lnTo>
                <a:lnTo>
                  <a:pt x="7219" y="429"/>
                </a:lnTo>
                <a:lnTo>
                  <a:pt x="7219" y="429"/>
                </a:lnTo>
                <a:lnTo>
                  <a:pt x="7199" y="435"/>
                </a:lnTo>
                <a:lnTo>
                  <a:pt x="7191" y="437"/>
                </a:lnTo>
                <a:lnTo>
                  <a:pt x="7195" y="437"/>
                </a:lnTo>
                <a:lnTo>
                  <a:pt x="7195" y="437"/>
                </a:lnTo>
                <a:lnTo>
                  <a:pt x="7223" y="429"/>
                </a:lnTo>
                <a:lnTo>
                  <a:pt x="7251" y="423"/>
                </a:lnTo>
                <a:lnTo>
                  <a:pt x="7251" y="423"/>
                </a:lnTo>
                <a:lnTo>
                  <a:pt x="7249" y="423"/>
                </a:lnTo>
                <a:lnTo>
                  <a:pt x="7253" y="421"/>
                </a:lnTo>
                <a:lnTo>
                  <a:pt x="7271" y="415"/>
                </a:lnTo>
                <a:lnTo>
                  <a:pt x="7325" y="401"/>
                </a:lnTo>
                <a:lnTo>
                  <a:pt x="7325" y="401"/>
                </a:lnTo>
                <a:lnTo>
                  <a:pt x="7317" y="403"/>
                </a:lnTo>
                <a:lnTo>
                  <a:pt x="7317" y="403"/>
                </a:lnTo>
                <a:lnTo>
                  <a:pt x="7327" y="399"/>
                </a:lnTo>
                <a:lnTo>
                  <a:pt x="7354" y="393"/>
                </a:lnTo>
                <a:lnTo>
                  <a:pt x="7354" y="393"/>
                </a:lnTo>
                <a:lnTo>
                  <a:pt x="7347" y="395"/>
                </a:lnTo>
                <a:lnTo>
                  <a:pt x="7347" y="395"/>
                </a:lnTo>
                <a:lnTo>
                  <a:pt x="7492" y="355"/>
                </a:lnTo>
                <a:lnTo>
                  <a:pt x="7642" y="309"/>
                </a:lnTo>
                <a:lnTo>
                  <a:pt x="7793" y="261"/>
                </a:lnTo>
                <a:lnTo>
                  <a:pt x="7941" y="211"/>
                </a:lnTo>
                <a:lnTo>
                  <a:pt x="7905" y="225"/>
                </a:lnTo>
                <a:lnTo>
                  <a:pt x="7997" y="191"/>
                </a:lnTo>
                <a:lnTo>
                  <a:pt x="7993" y="191"/>
                </a:lnTo>
                <a:lnTo>
                  <a:pt x="7993" y="191"/>
                </a:lnTo>
                <a:lnTo>
                  <a:pt x="8023" y="181"/>
                </a:lnTo>
                <a:lnTo>
                  <a:pt x="8045" y="171"/>
                </a:lnTo>
                <a:lnTo>
                  <a:pt x="8065" y="163"/>
                </a:lnTo>
                <a:lnTo>
                  <a:pt x="8089" y="153"/>
                </a:lnTo>
                <a:lnTo>
                  <a:pt x="8081" y="157"/>
                </a:lnTo>
                <a:lnTo>
                  <a:pt x="8081" y="157"/>
                </a:lnTo>
                <a:lnTo>
                  <a:pt x="8159" y="123"/>
                </a:lnTo>
                <a:lnTo>
                  <a:pt x="8196" y="107"/>
                </a:lnTo>
                <a:lnTo>
                  <a:pt x="8236" y="87"/>
                </a:lnTo>
                <a:lnTo>
                  <a:pt x="8236" y="87"/>
                </a:lnTo>
                <a:lnTo>
                  <a:pt x="8276" y="67"/>
                </a:lnTo>
                <a:lnTo>
                  <a:pt x="8308" y="51"/>
                </a:lnTo>
                <a:lnTo>
                  <a:pt x="8308" y="51"/>
                </a:lnTo>
                <a:lnTo>
                  <a:pt x="8334" y="33"/>
                </a:lnTo>
                <a:lnTo>
                  <a:pt x="8344" y="25"/>
                </a:lnTo>
                <a:lnTo>
                  <a:pt x="8332" y="33"/>
                </a:lnTo>
                <a:lnTo>
                  <a:pt x="8332" y="33"/>
                </a:lnTo>
                <a:lnTo>
                  <a:pt x="8330" y="35"/>
                </a:lnTo>
                <a:lnTo>
                  <a:pt x="8332" y="33"/>
                </a:lnTo>
                <a:lnTo>
                  <a:pt x="8342" y="25"/>
                </a:lnTo>
                <a:lnTo>
                  <a:pt x="8360" y="13"/>
                </a:lnTo>
                <a:lnTo>
                  <a:pt x="8374" y="0"/>
                </a:lnTo>
                <a:lnTo>
                  <a:pt x="8374" y="0"/>
                </a:lnTo>
                <a:lnTo>
                  <a:pt x="8366" y="4"/>
                </a:lnTo>
                <a:lnTo>
                  <a:pt x="8360" y="9"/>
                </a:lnTo>
                <a:lnTo>
                  <a:pt x="8360" y="9"/>
                </a:lnTo>
                <a:lnTo>
                  <a:pt x="8316" y="33"/>
                </a:lnTo>
                <a:lnTo>
                  <a:pt x="8316" y="33"/>
                </a:lnTo>
                <a:lnTo>
                  <a:pt x="8294" y="47"/>
                </a:lnTo>
                <a:lnTo>
                  <a:pt x="8278" y="55"/>
                </a:lnTo>
                <a:lnTo>
                  <a:pt x="8278" y="55"/>
                </a:lnTo>
                <a:lnTo>
                  <a:pt x="8236" y="75"/>
                </a:lnTo>
                <a:lnTo>
                  <a:pt x="8236" y="75"/>
                </a:lnTo>
                <a:lnTo>
                  <a:pt x="8216" y="87"/>
                </a:lnTo>
                <a:lnTo>
                  <a:pt x="8189" y="99"/>
                </a:lnTo>
                <a:lnTo>
                  <a:pt x="8133" y="125"/>
                </a:lnTo>
                <a:lnTo>
                  <a:pt x="8133" y="125"/>
                </a:lnTo>
                <a:lnTo>
                  <a:pt x="8137" y="123"/>
                </a:lnTo>
                <a:lnTo>
                  <a:pt x="8133" y="123"/>
                </a:lnTo>
                <a:lnTo>
                  <a:pt x="8121" y="129"/>
                </a:lnTo>
                <a:lnTo>
                  <a:pt x="8109" y="133"/>
                </a:lnTo>
                <a:lnTo>
                  <a:pt x="8119" y="129"/>
                </a:lnTo>
                <a:lnTo>
                  <a:pt x="8119" y="129"/>
                </a:lnTo>
                <a:lnTo>
                  <a:pt x="8065" y="151"/>
                </a:lnTo>
                <a:lnTo>
                  <a:pt x="8029" y="167"/>
                </a:lnTo>
                <a:lnTo>
                  <a:pt x="7999" y="177"/>
                </a:lnTo>
                <a:lnTo>
                  <a:pt x="7999" y="177"/>
                </a:lnTo>
                <a:lnTo>
                  <a:pt x="8011" y="173"/>
                </a:lnTo>
                <a:lnTo>
                  <a:pt x="8011" y="173"/>
                </a:lnTo>
                <a:lnTo>
                  <a:pt x="7973" y="187"/>
                </a:lnTo>
                <a:lnTo>
                  <a:pt x="7945" y="197"/>
                </a:lnTo>
                <a:lnTo>
                  <a:pt x="7947" y="197"/>
                </a:lnTo>
                <a:lnTo>
                  <a:pt x="7947" y="197"/>
                </a:lnTo>
                <a:lnTo>
                  <a:pt x="7917" y="207"/>
                </a:lnTo>
                <a:lnTo>
                  <a:pt x="7917" y="207"/>
                </a:lnTo>
                <a:lnTo>
                  <a:pt x="7935" y="203"/>
                </a:lnTo>
                <a:lnTo>
                  <a:pt x="7939" y="201"/>
                </a:lnTo>
                <a:lnTo>
                  <a:pt x="7937" y="203"/>
                </a:lnTo>
                <a:lnTo>
                  <a:pt x="7937" y="203"/>
                </a:lnTo>
                <a:lnTo>
                  <a:pt x="7891" y="221"/>
                </a:lnTo>
                <a:lnTo>
                  <a:pt x="7891" y="221"/>
                </a:lnTo>
                <a:lnTo>
                  <a:pt x="7911" y="211"/>
                </a:lnTo>
                <a:lnTo>
                  <a:pt x="7911" y="211"/>
                </a:lnTo>
                <a:lnTo>
                  <a:pt x="7891" y="219"/>
                </a:lnTo>
                <a:lnTo>
                  <a:pt x="7871" y="225"/>
                </a:lnTo>
                <a:lnTo>
                  <a:pt x="7871" y="225"/>
                </a:lnTo>
                <a:lnTo>
                  <a:pt x="7913" y="209"/>
                </a:lnTo>
                <a:lnTo>
                  <a:pt x="7913" y="209"/>
                </a:lnTo>
                <a:lnTo>
                  <a:pt x="7889" y="217"/>
                </a:lnTo>
                <a:lnTo>
                  <a:pt x="7891" y="215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1" y="219"/>
                </a:lnTo>
                <a:lnTo>
                  <a:pt x="7863" y="225"/>
                </a:lnTo>
                <a:lnTo>
                  <a:pt x="7817" y="241"/>
                </a:lnTo>
                <a:lnTo>
                  <a:pt x="7817" y="241"/>
                </a:lnTo>
                <a:lnTo>
                  <a:pt x="7825" y="239"/>
                </a:lnTo>
                <a:lnTo>
                  <a:pt x="7841" y="233"/>
                </a:lnTo>
                <a:lnTo>
                  <a:pt x="7841" y="233"/>
                </a:lnTo>
                <a:lnTo>
                  <a:pt x="7807" y="243"/>
                </a:lnTo>
                <a:lnTo>
                  <a:pt x="7777" y="253"/>
                </a:lnTo>
                <a:lnTo>
                  <a:pt x="7742" y="265"/>
                </a:lnTo>
                <a:lnTo>
                  <a:pt x="7700" y="279"/>
                </a:lnTo>
                <a:lnTo>
                  <a:pt x="7700" y="279"/>
                </a:lnTo>
                <a:lnTo>
                  <a:pt x="7712" y="273"/>
                </a:lnTo>
                <a:lnTo>
                  <a:pt x="7712" y="273"/>
                </a:lnTo>
                <a:lnTo>
                  <a:pt x="7672" y="287"/>
                </a:lnTo>
                <a:lnTo>
                  <a:pt x="7642" y="297"/>
                </a:lnTo>
                <a:lnTo>
                  <a:pt x="7642" y="297"/>
                </a:lnTo>
                <a:lnTo>
                  <a:pt x="7622" y="301"/>
                </a:lnTo>
                <a:lnTo>
                  <a:pt x="7590" y="309"/>
                </a:lnTo>
                <a:lnTo>
                  <a:pt x="7590" y="309"/>
                </a:lnTo>
                <a:lnTo>
                  <a:pt x="7592" y="309"/>
                </a:lnTo>
                <a:lnTo>
                  <a:pt x="7588" y="311"/>
                </a:lnTo>
                <a:lnTo>
                  <a:pt x="7568" y="317"/>
                </a:lnTo>
                <a:lnTo>
                  <a:pt x="7546" y="323"/>
                </a:lnTo>
                <a:lnTo>
                  <a:pt x="7536" y="327"/>
                </a:lnTo>
                <a:lnTo>
                  <a:pt x="7500" y="335"/>
                </a:lnTo>
                <a:lnTo>
                  <a:pt x="7500" y="335"/>
                </a:lnTo>
                <a:lnTo>
                  <a:pt x="7488" y="341"/>
                </a:lnTo>
                <a:lnTo>
                  <a:pt x="7486" y="343"/>
                </a:lnTo>
                <a:lnTo>
                  <a:pt x="7478" y="345"/>
                </a:lnTo>
                <a:lnTo>
                  <a:pt x="7450" y="353"/>
                </a:lnTo>
                <a:lnTo>
                  <a:pt x="7450" y="353"/>
                </a:lnTo>
                <a:lnTo>
                  <a:pt x="7426" y="359"/>
                </a:lnTo>
                <a:lnTo>
                  <a:pt x="7424" y="359"/>
                </a:lnTo>
                <a:lnTo>
                  <a:pt x="7426" y="357"/>
                </a:lnTo>
                <a:lnTo>
                  <a:pt x="7432" y="355"/>
                </a:lnTo>
                <a:lnTo>
                  <a:pt x="7422" y="357"/>
                </a:lnTo>
                <a:lnTo>
                  <a:pt x="7408" y="361"/>
                </a:lnTo>
                <a:lnTo>
                  <a:pt x="7380" y="367"/>
                </a:lnTo>
                <a:lnTo>
                  <a:pt x="7384" y="367"/>
                </a:lnTo>
                <a:lnTo>
                  <a:pt x="7384" y="367"/>
                </a:lnTo>
                <a:lnTo>
                  <a:pt x="7337" y="377"/>
                </a:lnTo>
                <a:lnTo>
                  <a:pt x="7337" y="377"/>
                </a:lnTo>
                <a:lnTo>
                  <a:pt x="7362" y="371"/>
                </a:lnTo>
                <a:lnTo>
                  <a:pt x="7362" y="371"/>
                </a:lnTo>
                <a:lnTo>
                  <a:pt x="7333" y="379"/>
                </a:lnTo>
                <a:lnTo>
                  <a:pt x="7293" y="387"/>
                </a:lnTo>
                <a:lnTo>
                  <a:pt x="7255" y="397"/>
                </a:lnTo>
                <a:lnTo>
                  <a:pt x="7225" y="405"/>
                </a:lnTo>
                <a:lnTo>
                  <a:pt x="7225" y="405"/>
                </a:lnTo>
                <a:lnTo>
                  <a:pt x="7195" y="413"/>
                </a:lnTo>
                <a:lnTo>
                  <a:pt x="7181" y="415"/>
                </a:lnTo>
                <a:lnTo>
                  <a:pt x="7181" y="415"/>
                </a:lnTo>
                <a:lnTo>
                  <a:pt x="7137" y="425"/>
                </a:lnTo>
                <a:lnTo>
                  <a:pt x="7087" y="437"/>
                </a:lnTo>
                <a:lnTo>
                  <a:pt x="7087" y="437"/>
                </a:lnTo>
                <a:lnTo>
                  <a:pt x="7077" y="439"/>
                </a:lnTo>
                <a:lnTo>
                  <a:pt x="7053" y="445"/>
                </a:lnTo>
                <a:lnTo>
                  <a:pt x="7053" y="445"/>
                </a:lnTo>
                <a:lnTo>
                  <a:pt x="7063" y="443"/>
                </a:lnTo>
                <a:lnTo>
                  <a:pt x="7047" y="447"/>
                </a:lnTo>
                <a:lnTo>
                  <a:pt x="7047" y="447"/>
                </a:lnTo>
                <a:lnTo>
                  <a:pt x="7001" y="457"/>
                </a:lnTo>
                <a:lnTo>
                  <a:pt x="6965" y="466"/>
                </a:lnTo>
                <a:lnTo>
                  <a:pt x="6965" y="466"/>
                </a:lnTo>
                <a:lnTo>
                  <a:pt x="6943" y="472"/>
                </a:lnTo>
                <a:lnTo>
                  <a:pt x="6943" y="472"/>
                </a:lnTo>
                <a:lnTo>
                  <a:pt x="6941" y="474"/>
                </a:lnTo>
                <a:lnTo>
                  <a:pt x="6941" y="474"/>
                </a:lnTo>
                <a:lnTo>
                  <a:pt x="6892" y="484"/>
                </a:lnTo>
                <a:lnTo>
                  <a:pt x="6872" y="486"/>
                </a:lnTo>
                <a:lnTo>
                  <a:pt x="6868" y="488"/>
                </a:lnTo>
                <a:lnTo>
                  <a:pt x="6868" y="486"/>
                </a:lnTo>
                <a:lnTo>
                  <a:pt x="6868" y="486"/>
                </a:lnTo>
                <a:lnTo>
                  <a:pt x="6900" y="480"/>
                </a:lnTo>
                <a:lnTo>
                  <a:pt x="6914" y="476"/>
                </a:lnTo>
                <a:lnTo>
                  <a:pt x="6916" y="476"/>
                </a:lnTo>
                <a:lnTo>
                  <a:pt x="6914" y="476"/>
                </a:lnTo>
                <a:lnTo>
                  <a:pt x="6914" y="476"/>
                </a:lnTo>
                <a:lnTo>
                  <a:pt x="6894" y="480"/>
                </a:lnTo>
                <a:lnTo>
                  <a:pt x="6876" y="486"/>
                </a:lnTo>
                <a:lnTo>
                  <a:pt x="6876" y="486"/>
                </a:lnTo>
                <a:lnTo>
                  <a:pt x="6868" y="486"/>
                </a:lnTo>
                <a:lnTo>
                  <a:pt x="6862" y="486"/>
                </a:lnTo>
                <a:lnTo>
                  <a:pt x="6862" y="486"/>
                </a:lnTo>
                <a:lnTo>
                  <a:pt x="6804" y="498"/>
                </a:lnTo>
                <a:lnTo>
                  <a:pt x="6804" y="498"/>
                </a:lnTo>
                <a:lnTo>
                  <a:pt x="6816" y="496"/>
                </a:lnTo>
                <a:lnTo>
                  <a:pt x="6810" y="498"/>
                </a:lnTo>
                <a:lnTo>
                  <a:pt x="6800" y="500"/>
                </a:lnTo>
                <a:lnTo>
                  <a:pt x="6804" y="500"/>
                </a:lnTo>
                <a:lnTo>
                  <a:pt x="6836" y="492"/>
                </a:lnTo>
                <a:lnTo>
                  <a:pt x="6836" y="492"/>
                </a:lnTo>
                <a:lnTo>
                  <a:pt x="6856" y="488"/>
                </a:lnTo>
                <a:lnTo>
                  <a:pt x="6854" y="490"/>
                </a:lnTo>
                <a:lnTo>
                  <a:pt x="6860" y="488"/>
                </a:lnTo>
                <a:lnTo>
                  <a:pt x="6860" y="488"/>
                </a:lnTo>
                <a:lnTo>
                  <a:pt x="6798" y="504"/>
                </a:lnTo>
                <a:lnTo>
                  <a:pt x="6738" y="518"/>
                </a:lnTo>
                <a:lnTo>
                  <a:pt x="6698" y="524"/>
                </a:lnTo>
                <a:lnTo>
                  <a:pt x="6698" y="524"/>
                </a:lnTo>
                <a:lnTo>
                  <a:pt x="6714" y="520"/>
                </a:lnTo>
                <a:lnTo>
                  <a:pt x="6702" y="522"/>
                </a:lnTo>
                <a:lnTo>
                  <a:pt x="6702" y="522"/>
                </a:lnTo>
                <a:lnTo>
                  <a:pt x="6676" y="526"/>
                </a:lnTo>
                <a:lnTo>
                  <a:pt x="6652" y="532"/>
                </a:lnTo>
                <a:lnTo>
                  <a:pt x="6606" y="538"/>
                </a:lnTo>
                <a:lnTo>
                  <a:pt x="6606" y="538"/>
                </a:lnTo>
                <a:lnTo>
                  <a:pt x="6622" y="536"/>
                </a:lnTo>
                <a:lnTo>
                  <a:pt x="6610" y="540"/>
                </a:lnTo>
                <a:lnTo>
                  <a:pt x="6610" y="540"/>
                </a:lnTo>
                <a:lnTo>
                  <a:pt x="6570" y="548"/>
                </a:lnTo>
                <a:lnTo>
                  <a:pt x="6568" y="548"/>
                </a:lnTo>
                <a:lnTo>
                  <a:pt x="6558" y="548"/>
                </a:lnTo>
                <a:lnTo>
                  <a:pt x="6558" y="548"/>
                </a:lnTo>
                <a:lnTo>
                  <a:pt x="6431" y="570"/>
                </a:lnTo>
                <a:lnTo>
                  <a:pt x="6319" y="590"/>
                </a:lnTo>
                <a:lnTo>
                  <a:pt x="6357" y="586"/>
                </a:lnTo>
                <a:lnTo>
                  <a:pt x="6369" y="582"/>
                </a:lnTo>
                <a:lnTo>
                  <a:pt x="6369" y="582"/>
                </a:lnTo>
                <a:lnTo>
                  <a:pt x="6381" y="582"/>
                </a:lnTo>
                <a:lnTo>
                  <a:pt x="6375" y="584"/>
                </a:lnTo>
                <a:lnTo>
                  <a:pt x="6347" y="590"/>
                </a:lnTo>
                <a:lnTo>
                  <a:pt x="6347" y="590"/>
                </a:lnTo>
                <a:lnTo>
                  <a:pt x="6323" y="594"/>
                </a:lnTo>
                <a:lnTo>
                  <a:pt x="6311" y="596"/>
                </a:lnTo>
                <a:lnTo>
                  <a:pt x="6315" y="596"/>
                </a:lnTo>
                <a:lnTo>
                  <a:pt x="6269" y="604"/>
                </a:lnTo>
                <a:lnTo>
                  <a:pt x="6269" y="604"/>
                </a:lnTo>
                <a:lnTo>
                  <a:pt x="6287" y="602"/>
                </a:lnTo>
                <a:lnTo>
                  <a:pt x="6291" y="600"/>
                </a:lnTo>
                <a:lnTo>
                  <a:pt x="6283" y="602"/>
                </a:lnTo>
                <a:lnTo>
                  <a:pt x="6283" y="602"/>
                </a:lnTo>
                <a:lnTo>
                  <a:pt x="6249" y="608"/>
                </a:lnTo>
                <a:lnTo>
                  <a:pt x="6241" y="608"/>
                </a:lnTo>
                <a:lnTo>
                  <a:pt x="6251" y="606"/>
                </a:lnTo>
                <a:lnTo>
                  <a:pt x="6251" y="606"/>
                </a:lnTo>
                <a:lnTo>
                  <a:pt x="6213" y="612"/>
                </a:lnTo>
                <a:lnTo>
                  <a:pt x="6199" y="616"/>
                </a:lnTo>
                <a:lnTo>
                  <a:pt x="6199" y="616"/>
                </a:lnTo>
                <a:lnTo>
                  <a:pt x="6183" y="618"/>
                </a:lnTo>
                <a:lnTo>
                  <a:pt x="6189" y="616"/>
                </a:lnTo>
                <a:lnTo>
                  <a:pt x="6221" y="610"/>
                </a:lnTo>
                <a:lnTo>
                  <a:pt x="6221" y="610"/>
                </a:lnTo>
                <a:lnTo>
                  <a:pt x="6197" y="612"/>
                </a:lnTo>
                <a:lnTo>
                  <a:pt x="6203" y="610"/>
                </a:lnTo>
                <a:lnTo>
                  <a:pt x="6159" y="618"/>
                </a:lnTo>
                <a:lnTo>
                  <a:pt x="6159" y="618"/>
                </a:lnTo>
                <a:lnTo>
                  <a:pt x="6177" y="614"/>
                </a:lnTo>
                <a:lnTo>
                  <a:pt x="6177" y="614"/>
                </a:lnTo>
                <a:lnTo>
                  <a:pt x="6139" y="620"/>
                </a:lnTo>
                <a:lnTo>
                  <a:pt x="6103" y="626"/>
                </a:lnTo>
                <a:lnTo>
                  <a:pt x="6093" y="628"/>
                </a:lnTo>
                <a:lnTo>
                  <a:pt x="6093" y="628"/>
                </a:lnTo>
                <a:lnTo>
                  <a:pt x="5946" y="650"/>
                </a:lnTo>
                <a:lnTo>
                  <a:pt x="5958" y="650"/>
                </a:lnTo>
                <a:lnTo>
                  <a:pt x="5958" y="650"/>
                </a:lnTo>
                <a:lnTo>
                  <a:pt x="5926" y="654"/>
                </a:lnTo>
                <a:lnTo>
                  <a:pt x="5908" y="656"/>
                </a:lnTo>
                <a:lnTo>
                  <a:pt x="5884" y="660"/>
                </a:lnTo>
                <a:lnTo>
                  <a:pt x="5842" y="666"/>
                </a:lnTo>
                <a:lnTo>
                  <a:pt x="5842" y="666"/>
                </a:lnTo>
                <a:lnTo>
                  <a:pt x="5790" y="674"/>
                </a:lnTo>
                <a:lnTo>
                  <a:pt x="5778" y="676"/>
                </a:lnTo>
                <a:lnTo>
                  <a:pt x="5776" y="678"/>
                </a:lnTo>
                <a:lnTo>
                  <a:pt x="5776" y="678"/>
                </a:lnTo>
                <a:lnTo>
                  <a:pt x="5776" y="678"/>
                </a:lnTo>
                <a:lnTo>
                  <a:pt x="5752" y="682"/>
                </a:lnTo>
                <a:lnTo>
                  <a:pt x="5736" y="684"/>
                </a:lnTo>
                <a:lnTo>
                  <a:pt x="5736" y="684"/>
                </a:lnTo>
                <a:lnTo>
                  <a:pt x="5694" y="690"/>
                </a:lnTo>
                <a:lnTo>
                  <a:pt x="5643" y="698"/>
                </a:lnTo>
                <a:lnTo>
                  <a:pt x="5702" y="688"/>
                </a:lnTo>
                <a:lnTo>
                  <a:pt x="5702" y="688"/>
                </a:lnTo>
                <a:lnTo>
                  <a:pt x="5661" y="694"/>
                </a:lnTo>
                <a:lnTo>
                  <a:pt x="5601" y="700"/>
                </a:lnTo>
                <a:lnTo>
                  <a:pt x="5469" y="724"/>
                </a:lnTo>
                <a:lnTo>
                  <a:pt x="5469" y="724"/>
                </a:lnTo>
                <a:lnTo>
                  <a:pt x="5477" y="724"/>
                </a:lnTo>
                <a:lnTo>
                  <a:pt x="5479" y="724"/>
                </a:lnTo>
                <a:lnTo>
                  <a:pt x="5477" y="724"/>
                </a:lnTo>
                <a:lnTo>
                  <a:pt x="5445" y="732"/>
                </a:lnTo>
                <a:lnTo>
                  <a:pt x="5445" y="732"/>
                </a:lnTo>
                <a:lnTo>
                  <a:pt x="5419" y="734"/>
                </a:lnTo>
                <a:lnTo>
                  <a:pt x="5371" y="738"/>
                </a:lnTo>
                <a:lnTo>
                  <a:pt x="5371" y="738"/>
                </a:lnTo>
                <a:lnTo>
                  <a:pt x="5373" y="738"/>
                </a:lnTo>
                <a:lnTo>
                  <a:pt x="5369" y="738"/>
                </a:lnTo>
                <a:lnTo>
                  <a:pt x="5355" y="740"/>
                </a:lnTo>
                <a:lnTo>
                  <a:pt x="5349" y="740"/>
                </a:lnTo>
                <a:lnTo>
                  <a:pt x="5367" y="736"/>
                </a:lnTo>
                <a:lnTo>
                  <a:pt x="5367" y="736"/>
                </a:lnTo>
                <a:lnTo>
                  <a:pt x="5387" y="734"/>
                </a:lnTo>
                <a:lnTo>
                  <a:pt x="5411" y="732"/>
                </a:lnTo>
                <a:lnTo>
                  <a:pt x="5411" y="732"/>
                </a:lnTo>
                <a:lnTo>
                  <a:pt x="5331" y="740"/>
                </a:lnTo>
                <a:lnTo>
                  <a:pt x="5331" y="740"/>
                </a:lnTo>
                <a:lnTo>
                  <a:pt x="5369" y="734"/>
                </a:lnTo>
                <a:lnTo>
                  <a:pt x="5369" y="734"/>
                </a:lnTo>
                <a:lnTo>
                  <a:pt x="5363" y="734"/>
                </a:lnTo>
                <a:lnTo>
                  <a:pt x="5367" y="734"/>
                </a:ln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2" name="Freeform 132"/>
          <p:cNvSpPr>
            <a:spLocks/>
          </p:cNvSpPr>
          <p:nvPr userDrawn="1"/>
        </p:nvSpPr>
        <p:spPr bwMode="auto">
          <a:xfrm>
            <a:off x="-6673850" y="5165726"/>
            <a:ext cx="13300075" cy="1725613"/>
          </a:xfrm>
          <a:custGeom>
            <a:avLst/>
            <a:gdLst>
              <a:gd name="T0" fmla="*/ 3402 w 8378"/>
              <a:gd name="T1" fmla="*/ 904 h 1087"/>
              <a:gd name="T2" fmla="*/ 3603 w 8378"/>
              <a:gd name="T3" fmla="*/ 886 h 1087"/>
              <a:gd name="T4" fmla="*/ 3679 w 8378"/>
              <a:gd name="T5" fmla="*/ 876 h 1087"/>
              <a:gd name="T6" fmla="*/ 3783 w 8378"/>
              <a:gd name="T7" fmla="*/ 870 h 1087"/>
              <a:gd name="T8" fmla="*/ 4174 w 8378"/>
              <a:gd name="T9" fmla="*/ 830 h 1087"/>
              <a:gd name="T10" fmla="*/ 4396 w 8378"/>
              <a:gd name="T11" fmla="*/ 806 h 1087"/>
              <a:gd name="T12" fmla="*/ 4545 w 8378"/>
              <a:gd name="T13" fmla="*/ 790 h 1087"/>
              <a:gd name="T14" fmla="*/ 4838 w 8378"/>
              <a:gd name="T15" fmla="*/ 752 h 1087"/>
              <a:gd name="T16" fmla="*/ 4924 w 8378"/>
              <a:gd name="T17" fmla="*/ 746 h 1087"/>
              <a:gd name="T18" fmla="*/ 5142 w 8378"/>
              <a:gd name="T19" fmla="*/ 718 h 1087"/>
              <a:gd name="T20" fmla="*/ 5459 w 8378"/>
              <a:gd name="T21" fmla="*/ 678 h 1087"/>
              <a:gd name="T22" fmla="*/ 5627 w 8378"/>
              <a:gd name="T23" fmla="*/ 654 h 1087"/>
              <a:gd name="T24" fmla="*/ 5860 w 8378"/>
              <a:gd name="T25" fmla="*/ 618 h 1087"/>
              <a:gd name="T26" fmla="*/ 5962 w 8378"/>
              <a:gd name="T27" fmla="*/ 603 h 1087"/>
              <a:gd name="T28" fmla="*/ 6103 w 8378"/>
              <a:gd name="T29" fmla="*/ 583 h 1087"/>
              <a:gd name="T30" fmla="*/ 6576 w 8378"/>
              <a:gd name="T31" fmla="*/ 495 h 1087"/>
              <a:gd name="T32" fmla="*/ 6840 w 8378"/>
              <a:gd name="T33" fmla="*/ 453 h 1087"/>
              <a:gd name="T34" fmla="*/ 6832 w 8378"/>
              <a:gd name="T35" fmla="*/ 447 h 1087"/>
              <a:gd name="T36" fmla="*/ 7033 w 8378"/>
              <a:gd name="T37" fmla="*/ 403 h 1087"/>
              <a:gd name="T38" fmla="*/ 7237 w 8378"/>
              <a:gd name="T39" fmla="*/ 367 h 1087"/>
              <a:gd name="T40" fmla="*/ 7295 w 8378"/>
              <a:gd name="T41" fmla="*/ 349 h 1087"/>
              <a:gd name="T42" fmla="*/ 7642 w 8378"/>
              <a:gd name="T43" fmla="*/ 269 h 1087"/>
              <a:gd name="T44" fmla="*/ 7823 w 8378"/>
              <a:gd name="T45" fmla="*/ 219 h 1087"/>
              <a:gd name="T46" fmla="*/ 8031 w 8378"/>
              <a:gd name="T47" fmla="*/ 150 h 1087"/>
              <a:gd name="T48" fmla="*/ 8143 w 8378"/>
              <a:gd name="T49" fmla="*/ 106 h 1087"/>
              <a:gd name="T50" fmla="*/ 7873 w 8378"/>
              <a:gd name="T51" fmla="*/ 195 h 1087"/>
              <a:gd name="T52" fmla="*/ 8230 w 8378"/>
              <a:gd name="T53" fmla="*/ 74 h 1087"/>
              <a:gd name="T54" fmla="*/ 8376 w 8378"/>
              <a:gd name="T55" fmla="*/ 0 h 1087"/>
              <a:gd name="T56" fmla="*/ 8368 w 8378"/>
              <a:gd name="T57" fmla="*/ 6 h 1087"/>
              <a:gd name="T58" fmla="*/ 8167 w 8378"/>
              <a:gd name="T59" fmla="*/ 90 h 1087"/>
              <a:gd name="T60" fmla="*/ 8328 w 8378"/>
              <a:gd name="T61" fmla="*/ 14 h 1087"/>
              <a:gd name="T62" fmla="*/ 8129 w 8378"/>
              <a:gd name="T63" fmla="*/ 98 h 1087"/>
              <a:gd name="T64" fmla="*/ 7991 w 8378"/>
              <a:gd name="T65" fmla="*/ 152 h 1087"/>
              <a:gd name="T66" fmla="*/ 7660 w 8378"/>
              <a:gd name="T67" fmla="*/ 249 h 1087"/>
              <a:gd name="T68" fmla="*/ 7556 w 8378"/>
              <a:gd name="T69" fmla="*/ 275 h 1087"/>
              <a:gd name="T70" fmla="*/ 7500 w 8378"/>
              <a:gd name="T71" fmla="*/ 283 h 1087"/>
              <a:gd name="T72" fmla="*/ 7313 w 8378"/>
              <a:gd name="T73" fmla="*/ 327 h 1087"/>
              <a:gd name="T74" fmla="*/ 6943 w 8378"/>
              <a:gd name="T75" fmla="*/ 405 h 1087"/>
              <a:gd name="T76" fmla="*/ 6782 w 8378"/>
              <a:gd name="T77" fmla="*/ 437 h 1087"/>
              <a:gd name="T78" fmla="*/ 6469 w 8378"/>
              <a:gd name="T79" fmla="*/ 495 h 1087"/>
              <a:gd name="T80" fmla="*/ 6044 w 8378"/>
              <a:gd name="T81" fmla="*/ 567 h 1087"/>
              <a:gd name="T82" fmla="*/ 5764 w 8378"/>
              <a:gd name="T83" fmla="*/ 611 h 1087"/>
              <a:gd name="T84" fmla="*/ 5834 w 8378"/>
              <a:gd name="T85" fmla="*/ 603 h 1087"/>
              <a:gd name="T86" fmla="*/ 5698 w 8378"/>
              <a:gd name="T87" fmla="*/ 622 h 1087"/>
              <a:gd name="T88" fmla="*/ 5088 w 8378"/>
              <a:gd name="T89" fmla="*/ 700 h 1087"/>
              <a:gd name="T90" fmla="*/ 3969 w 8378"/>
              <a:gd name="T91" fmla="*/ 824 h 1087"/>
              <a:gd name="T92" fmla="*/ 3733 w 8378"/>
              <a:gd name="T93" fmla="*/ 846 h 1087"/>
              <a:gd name="T94" fmla="*/ 3432 w 8378"/>
              <a:gd name="T95" fmla="*/ 872 h 1087"/>
              <a:gd name="T96" fmla="*/ 2847 w 8378"/>
              <a:gd name="T97" fmla="*/ 920 h 1087"/>
              <a:gd name="T98" fmla="*/ 2426 w 8378"/>
              <a:gd name="T99" fmla="*/ 954 h 1087"/>
              <a:gd name="T100" fmla="*/ 1385 w 8378"/>
              <a:gd name="T101" fmla="*/ 1016 h 1087"/>
              <a:gd name="T102" fmla="*/ 1131 w 8378"/>
              <a:gd name="T103" fmla="*/ 1032 h 1087"/>
              <a:gd name="T104" fmla="*/ 82 w 8378"/>
              <a:gd name="T105" fmla="*/ 1077 h 1087"/>
              <a:gd name="T106" fmla="*/ 267 w 8378"/>
              <a:gd name="T107" fmla="*/ 1081 h 1087"/>
              <a:gd name="T108" fmla="*/ 509 w 8378"/>
              <a:gd name="T109" fmla="*/ 1073 h 1087"/>
              <a:gd name="T110" fmla="*/ 716 w 8378"/>
              <a:gd name="T111" fmla="*/ 1068 h 1087"/>
              <a:gd name="T112" fmla="*/ 1020 w 8378"/>
              <a:gd name="T113" fmla="*/ 1056 h 1087"/>
              <a:gd name="T114" fmla="*/ 1405 w 8378"/>
              <a:gd name="T115" fmla="*/ 1038 h 1087"/>
              <a:gd name="T116" fmla="*/ 1652 w 8378"/>
              <a:gd name="T117" fmla="*/ 1028 h 1087"/>
              <a:gd name="T118" fmla="*/ 1850 w 8378"/>
              <a:gd name="T119" fmla="*/ 1012 h 1087"/>
              <a:gd name="T120" fmla="*/ 2225 w 8378"/>
              <a:gd name="T121" fmla="*/ 986 h 1087"/>
              <a:gd name="T122" fmla="*/ 2562 w 8378"/>
              <a:gd name="T123" fmla="*/ 968 h 1087"/>
              <a:gd name="T124" fmla="*/ 3027 w 8378"/>
              <a:gd name="T125" fmla="*/ 926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78" h="1087">
                <a:moveTo>
                  <a:pt x="3105" y="926"/>
                </a:moveTo>
                <a:lnTo>
                  <a:pt x="3105" y="926"/>
                </a:lnTo>
                <a:lnTo>
                  <a:pt x="3081" y="928"/>
                </a:lnTo>
                <a:lnTo>
                  <a:pt x="3087" y="928"/>
                </a:lnTo>
                <a:lnTo>
                  <a:pt x="3105" y="928"/>
                </a:lnTo>
                <a:lnTo>
                  <a:pt x="3111" y="928"/>
                </a:lnTo>
                <a:lnTo>
                  <a:pt x="3111" y="928"/>
                </a:lnTo>
                <a:lnTo>
                  <a:pt x="3141" y="926"/>
                </a:lnTo>
                <a:lnTo>
                  <a:pt x="3152" y="924"/>
                </a:lnTo>
                <a:lnTo>
                  <a:pt x="3147" y="924"/>
                </a:lnTo>
                <a:lnTo>
                  <a:pt x="3147" y="924"/>
                </a:lnTo>
                <a:lnTo>
                  <a:pt x="3178" y="924"/>
                </a:lnTo>
                <a:lnTo>
                  <a:pt x="3214" y="920"/>
                </a:lnTo>
                <a:lnTo>
                  <a:pt x="3252" y="916"/>
                </a:lnTo>
                <a:lnTo>
                  <a:pt x="3284" y="914"/>
                </a:lnTo>
                <a:lnTo>
                  <a:pt x="3284" y="914"/>
                </a:lnTo>
                <a:lnTo>
                  <a:pt x="3278" y="914"/>
                </a:lnTo>
                <a:lnTo>
                  <a:pt x="3290" y="912"/>
                </a:lnTo>
                <a:lnTo>
                  <a:pt x="3290" y="912"/>
                </a:lnTo>
                <a:lnTo>
                  <a:pt x="3324" y="910"/>
                </a:lnTo>
                <a:lnTo>
                  <a:pt x="3340" y="910"/>
                </a:lnTo>
                <a:lnTo>
                  <a:pt x="3340" y="910"/>
                </a:lnTo>
                <a:lnTo>
                  <a:pt x="3402" y="904"/>
                </a:lnTo>
                <a:lnTo>
                  <a:pt x="3402" y="904"/>
                </a:lnTo>
                <a:lnTo>
                  <a:pt x="3410" y="902"/>
                </a:lnTo>
                <a:lnTo>
                  <a:pt x="3402" y="902"/>
                </a:lnTo>
                <a:lnTo>
                  <a:pt x="3398" y="900"/>
                </a:lnTo>
                <a:lnTo>
                  <a:pt x="3410" y="898"/>
                </a:lnTo>
                <a:lnTo>
                  <a:pt x="3410" y="898"/>
                </a:lnTo>
                <a:lnTo>
                  <a:pt x="3450" y="894"/>
                </a:lnTo>
                <a:lnTo>
                  <a:pt x="3494" y="892"/>
                </a:lnTo>
                <a:lnTo>
                  <a:pt x="3494" y="892"/>
                </a:lnTo>
                <a:lnTo>
                  <a:pt x="3502" y="890"/>
                </a:lnTo>
                <a:lnTo>
                  <a:pt x="3488" y="892"/>
                </a:lnTo>
                <a:lnTo>
                  <a:pt x="3446" y="896"/>
                </a:lnTo>
                <a:lnTo>
                  <a:pt x="3540" y="888"/>
                </a:lnTo>
                <a:lnTo>
                  <a:pt x="3540" y="888"/>
                </a:lnTo>
                <a:lnTo>
                  <a:pt x="3550" y="888"/>
                </a:lnTo>
                <a:lnTo>
                  <a:pt x="3542" y="888"/>
                </a:lnTo>
                <a:lnTo>
                  <a:pt x="3500" y="892"/>
                </a:lnTo>
                <a:lnTo>
                  <a:pt x="3500" y="892"/>
                </a:lnTo>
                <a:lnTo>
                  <a:pt x="3560" y="888"/>
                </a:lnTo>
                <a:lnTo>
                  <a:pt x="3599" y="882"/>
                </a:lnTo>
                <a:lnTo>
                  <a:pt x="3599" y="882"/>
                </a:lnTo>
                <a:lnTo>
                  <a:pt x="3657" y="878"/>
                </a:lnTo>
                <a:lnTo>
                  <a:pt x="3657" y="878"/>
                </a:lnTo>
                <a:lnTo>
                  <a:pt x="3635" y="882"/>
                </a:lnTo>
                <a:lnTo>
                  <a:pt x="3603" y="886"/>
                </a:lnTo>
                <a:lnTo>
                  <a:pt x="3603" y="886"/>
                </a:lnTo>
                <a:lnTo>
                  <a:pt x="3581" y="888"/>
                </a:lnTo>
                <a:lnTo>
                  <a:pt x="3585" y="888"/>
                </a:lnTo>
                <a:lnTo>
                  <a:pt x="3591" y="886"/>
                </a:lnTo>
                <a:lnTo>
                  <a:pt x="3575" y="886"/>
                </a:lnTo>
                <a:lnTo>
                  <a:pt x="3571" y="888"/>
                </a:lnTo>
                <a:lnTo>
                  <a:pt x="3571" y="888"/>
                </a:lnTo>
                <a:lnTo>
                  <a:pt x="3540" y="892"/>
                </a:lnTo>
                <a:lnTo>
                  <a:pt x="3510" y="894"/>
                </a:lnTo>
                <a:lnTo>
                  <a:pt x="3510" y="894"/>
                </a:lnTo>
                <a:lnTo>
                  <a:pt x="3504" y="894"/>
                </a:lnTo>
                <a:lnTo>
                  <a:pt x="3508" y="894"/>
                </a:lnTo>
                <a:lnTo>
                  <a:pt x="3520" y="892"/>
                </a:lnTo>
                <a:lnTo>
                  <a:pt x="3520" y="892"/>
                </a:lnTo>
                <a:lnTo>
                  <a:pt x="3466" y="898"/>
                </a:lnTo>
                <a:lnTo>
                  <a:pt x="3418" y="902"/>
                </a:lnTo>
                <a:lnTo>
                  <a:pt x="3418" y="902"/>
                </a:lnTo>
                <a:lnTo>
                  <a:pt x="3510" y="894"/>
                </a:lnTo>
                <a:lnTo>
                  <a:pt x="3579" y="890"/>
                </a:lnTo>
                <a:lnTo>
                  <a:pt x="3687" y="878"/>
                </a:lnTo>
                <a:lnTo>
                  <a:pt x="3687" y="878"/>
                </a:lnTo>
                <a:lnTo>
                  <a:pt x="3671" y="878"/>
                </a:lnTo>
                <a:lnTo>
                  <a:pt x="3667" y="878"/>
                </a:lnTo>
                <a:lnTo>
                  <a:pt x="3679" y="876"/>
                </a:lnTo>
                <a:lnTo>
                  <a:pt x="3679" y="876"/>
                </a:lnTo>
                <a:lnTo>
                  <a:pt x="3711" y="876"/>
                </a:lnTo>
                <a:lnTo>
                  <a:pt x="3765" y="870"/>
                </a:lnTo>
                <a:lnTo>
                  <a:pt x="3765" y="870"/>
                </a:lnTo>
                <a:lnTo>
                  <a:pt x="3763" y="870"/>
                </a:lnTo>
                <a:lnTo>
                  <a:pt x="3769" y="870"/>
                </a:lnTo>
                <a:lnTo>
                  <a:pt x="3791" y="866"/>
                </a:lnTo>
                <a:lnTo>
                  <a:pt x="3811" y="864"/>
                </a:lnTo>
                <a:lnTo>
                  <a:pt x="3815" y="864"/>
                </a:lnTo>
                <a:lnTo>
                  <a:pt x="3811" y="864"/>
                </a:lnTo>
                <a:lnTo>
                  <a:pt x="3811" y="864"/>
                </a:lnTo>
                <a:lnTo>
                  <a:pt x="3789" y="866"/>
                </a:lnTo>
                <a:lnTo>
                  <a:pt x="3779" y="866"/>
                </a:lnTo>
                <a:lnTo>
                  <a:pt x="3779" y="866"/>
                </a:lnTo>
                <a:lnTo>
                  <a:pt x="3797" y="864"/>
                </a:lnTo>
                <a:lnTo>
                  <a:pt x="3799" y="862"/>
                </a:lnTo>
                <a:lnTo>
                  <a:pt x="3799" y="862"/>
                </a:lnTo>
                <a:lnTo>
                  <a:pt x="3807" y="862"/>
                </a:lnTo>
                <a:lnTo>
                  <a:pt x="3807" y="862"/>
                </a:lnTo>
                <a:lnTo>
                  <a:pt x="3841" y="858"/>
                </a:lnTo>
                <a:lnTo>
                  <a:pt x="3875" y="856"/>
                </a:lnTo>
                <a:lnTo>
                  <a:pt x="3875" y="856"/>
                </a:lnTo>
                <a:lnTo>
                  <a:pt x="3783" y="870"/>
                </a:lnTo>
                <a:lnTo>
                  <a:pt x="3783" y="870"/>
                </a:lnTo>
                <a:lnTo>
                  <a:pt x="3839" y="864"/>
                </a:lnTo>
                <a:lnTo>
                  <a:pt x="3839" y="864"/>
                </a:lnTo>
                <a:lnTo>
                  <a:pt x="3831" y="864"/>
                </a:lnTo>
                <a:lnTo>
                  <a:pt x="3835" y="864"/>
                </a:lnTo>
                <a:lnTo>
                  <a:pt x="3841" y="862"/>
                </a:lnTo>
                <a:lnTo>
                  <a:pt x="3837" y="862"/>
                </a:lnTo>
                <a:lnTo>
                  <a:pt x="3837" y="862"/>
                </a:lnTo>
                <a:lnTo>
                  <a:pt x="4034" y="840"/>
                </a:lnTo>
                <a:lnTo>
                  <a:pt x="4034" y="840"/>
                </a:lnTo>
                <a:lnTo>
                  <a:pt x="4010" y="844"/>
                </a:lnTo>
                <a:lnTo>
                  <a:pt x="3971" y="850"/>
                </a:lnTo>
                <a:lnTo>
                  <a:pt x="3941" y="854"/>
                </a:lnTo>
                <a:lnTo>
                  <a:pt x="3933" y="854"/>
                </a:lnTo>
                <a:lnTo>
                  <a:pt x="3937" y="856"/>
                </a:lnTo>
                <a:lnTo>
                  <a:pt x="3937" y="856"/>
                </a:lnTo>
                <a:lnTo>
                  <a:pt x="3969" y="852"/>
                </a:lnTo>
                <a:lnTo>
                  <a:pt x="4000" y="848"/>
                </a:lnTo>
                <a:lnTo>
                  <a:pt x="4000" y="848"/>
                </a:lnTo>
                <a:lnTo>
                  <a:pt x="4054" y="844"/>
                </a:lnTo>
                <a:lnTo>
                  <a:pt x="4128" y="836"/>
                </a:lnTo>
                <a:lnTo>
                  <a:pt x="4108" y="836"/>
                </a:lnTo>
                <a:lnTo>
                  <a:pt x="4108" y="836"/>
                </a:lnTo>
                <a:lnTo>
                  <a:pt x="4180" y="830"/>
                </a:lnTo>
                <a:lnTo>
                  <a:pt x="4174" y="830"/>
                </a:lnTo>
                <a:lnTo>
                  <a:pt x="4194" y="828"/>
                </a:lnTo>
                <a:lnTo>
                  <a:pt x="4194" y="828"/>
                </a:lnTo>
                <a:lnTo>
                  <a:pt x="4198" y="828"/>
                </a:lnTo>
                <a:lnTo>
                  <a:pt x="4198" y="828"/>
                </a:lnTo>
                <a:lnTo>
                  <a:pt x="4322" y="814"/>
                </a:lnTo>
                <a:lnTo>
                  <a:pt x="4322" y="814"/>
                </a:lnTo>
                <a:lnTo>
                  <a:pt x="4298" y="816"/>
                </a:lnTo>
                <a:lnTo>
                  <a:pt x="4258" y="822"/>
                </a:lnTo>
                <a:lnTo>
                  <a:pt x="4258" y="822"/>
                </a:lnTo>
                <a:lnTo>
                  <a:pt x="4236" y="822"/>
                </a:lnTo>
                <a:lnTo>
                  <a:pt x="4226" y="822"/>
                </a:lnTo>
                <a:lnTo>
                  <a:pt x="4232" y="822"/>
                </a:lnTo>
                <a:lnTo>
                  <a:pt x="4232" y="822"/>
                </a:lnTo>
                <a:lnTo>
                  <a:pt x="4384" y="804"/>
                </a:lnTo>
                <a:lnTo>
                  <a:pt x="4364" y="806"/>
                </a:lnTo>
                <a:lnTo>
                  <a:pt x="4364" y="806"/>
                </a:lnTo>
                <a:lnTo>
                  <a:pt x="4439" y="798"/>
                </a:lnTo>
                <a:lnTo>
                  <a:pt x="4439" y="798"/>
                </a:lnTo>
                <a:lnTo>
                  <a:pt x="4457" y="796"/>
                </a:lnTo>
                <a:lnTo>
                  <a:pt x="4445" y="798"/>
                </a:lnTo>
                <a:lnTo>
                  <a:pt x="4429" y="802"/>
                </a:lnTo>
                <a:lnTo>
                  <a:pt x="4433" y="802"/>
                </a:lnTo>
                <a:lnTo>
                  <a:pt x="4433" y="802"/>
                </a:lnTo>
                <a:lnTo>
                  <a:pt x="4396" y="806"/>
                </a:lnTo>
                <a:lnTo>
                  <a:pt x="4370" y="810"/>
                </a:lnTo>
                <a:lnTo>
                  <a:pt x="4404" y="808"/>
                </a:lnTo>
                <a:lnTo>
                  <a:pt x="4404" y="808"/>
                </a:lnTo>
                <a:lnTo>
                  <a:pt x="4447" y="804"/>
                </a:lnTo>
                <a:lnTo>
                  <a:pt x="4483" y="800"/>
                </a:lnTo>
                <a:lnTo>
                  <a:pt x="4461" y="802"/>
                </a:lnTo>
                <a:lnTo>
                  <a:pt x="4461" y="802"/>
                </a:lnTo>
                <a:lnTo>
                  <a:pt x="4477" y="798"/>
                </a:lnTo>
                <a:lnTo>
                  <a:pt x="4495" y="798"/>
                </a:lnTo>
                <a:lnTo>
                  <a:pt x="4481" y="796"/>
                </a:lnTo>
                <a:lnTo>
                  <a:pt x="4481" y="796"/>
                </a:lnTo>
                <a:lnTo>
                  <a:pt x="4441" y="802"/>
                </a:lnTo>
                <a:lnTo>
                  <a:pt x="4406" y="804"/>
                </a:lnTo>
                <a:lnTo>
                  <a:pt x="4406" y="804"/>
                </a:lnTo>
                <a:lnTo>
                  <a:pt x="4457" y="798"/>
                </a:lnTo>
                <a:lnTo>
                  <a:pt x="4513" y="792"/>
                </a:lnTo>
                <a:lnTo>
                  <a:pt x="4513" y="792"/>
                </a:lnTo>
                <a:lnTo>
                  <a:pt x="4507" y="792"/>
                </a:lnTo>
                <a:lnTo>
                  <a:pt x="4495" y="794"/>
                </a:lnTo>
                <a:lnTo>
                  <a:pt x="4495" y="794"/>
                </a:lnTo>
                <a:lnTo>
                  <a:pt x="4529" y="790"/>
                </a:lnTo>
                <a:lnTo>
                  <a:pt x="4575" y="784"/>
                </a:lnTo>
                <a:lnTo>
                  <a:pt x="4575" y="784"/>
                </a:lnTo>
                <a:lnTo>
                  <a:pt x="4545" y="790"/>
                </a:lnTo>
                <a:lnTo>
                  <a:pt x="4539" y="790"/>
                </a:lnTo>
                <a:lnTo>
                  <a:pt x="4549" y="790"/>
                </a:lnTo>
                <a:lnTo>
                  <a:pt x="4567" y="786"/>
                </a:lnTo>
                <a:lnTo>
                  <a:pt x="4567" y="786"/>
                </a:lnTo>
                <a:lnTo>
                  <a:pt x="4585" y="786"/>
                </a:lnTo>
                <a:lnTo>
                  <a:pt x="4585" y="786"/>
                </a:lnTo>
                <a:lnTo>
                  <a:pt x="4595" y="784"/>
                </a:lnTo>
                <a:lnTo>
                  <a:pt x="4595" y="784"/>
                </a:lnTo>
                <a:lnTo>
                  <a:pt x="4617" y="780"/>
                </a:lnTo>
                <a:lnTo>
                  <a:pt x="4617" y="780"/>
                </a:lnTo>
                <a:lnTo>
                  <a:pt x="4629" y="780"/>
                </a:lnTo>
                <a:lnTo>
                  <a:pt x="4629" y="780"/>
                </a:lnTo>
                <a:lnTo>
                  <a:pt x="4661" y="776"/>
                </a:lnTo>
                <a:lnTo>
                  <a:pt x="4689" y="772"/>
                </a:lnTo>
                <a:lnTo>
                  <a:pt x="4689" y="772"/>
                </a:lnTo>
                <a:lnTo>
                  <a:pt x="4669" y="774"/>
                </a:lnTo>
                <a:lnTo>
                  <a:pt x="4661" y="774"/>
                </a:lnTo>
                <a:lnTo>
                  <a:pt x="4669" y="772"/>
                </a:lnTo>
                <a:lnTo>
                  <a:pt x="4689" y="770"/>
                </a:lnTo>
                <a:lnTo>
                  <a:pt x="4689" y="770"/>
                </a:lnTo>
                <a:lnTo>
                  <a:pt x="4757" y="762"/>
                </a:lnTo>
                <a:lnTo>
                  <a:pt x="4813" y="756"/>
                </a:lnTo>
                <a:lnTo>
                  <a:pt x="4838" y="752"/>
                </a:lnTo>
                <a:lnTo>
                  <a:pt x="4838" y="752"/>
                </a:lnTo>
                <a:lnTo>
                  <a:pt x="4836" y="754"/>
                </a:lnTo>
                <a:lnTo>
                  <a:pt x="4838" y="754"/>
                </a:lnTo>
                <a:lnTo>
                  <a:pt x="4852" y="752"/>
                </a:lnTo>
                <a:lnTo>
                  <a:pt x="4888" y="748"/>
                </a:lnTo>
                <a:lnTo>
                  <a:pt x="4888" y="748"/>
                </a:lnTo>
                <a:lnTo>
                  <a:pt x="4878" y="750"/>
                </a:lnTo>
                <a:lnTo>
                  <a:pt x="4850" y="752"/>
                </a:lnTo>
                <a:lnTo>
                  <a:pt x="4821" y="756"/>
                </a:lnTo>
                <a:lnTo>
                  <a:pt x="4809" y="760"/>
                </a:lnTo>
                <a:lnTo>
                  <a:pt x="4809" y="760"/>
                </a:lnTo>
                <a:lnTo>
                  <a:pt x="4829" y="758"/>
                </a:lnTo>
                <a:lnTo>
                  <a:pt x="4817" y="760"/>
                </a:lnTo>
                <a:lnTo>
                  <a:pt x="4817" y="760"/>
                </a:lnTo>
                <a:lnTo>
                  <a:pt x="4836" y="758"/>
                </a:lnTo>
                <a:lnTo>
                  <a:pt x="4840" y="756"/>
                </a:lnTo>
                <a:lnTo>
                  <a:pt x="4842" y="756"/>
                </a:lnTo>
                <a:lnTo>
                  <a:pt x="4848" y="754"/>
                </a:lnTo>
                <a:lnTo>
                  <a:pt x="4848" y="754"/>
                </a:lnTo>
                <a:lnTo>
                  <a:pt x="4878" y="750"/>
                </a:lnTo>
                <a:lnTo>
                  <a:pt x="4892" y="750"/>
                </a:lnTo>
                <a:lnTo>
                  <a:pt x="4894" y="750"/>
                </a:lnTo>
                <a:lnTo>
                  <a:pt x="4890" y="750"/>
                </a:lnTo>
                <a:lnTo>
                  <a:pt x="4890" y="750"/>
                </a:lnTo>
                <a:lnTo>
                  <a:pt x="4924" y="746"/>
                </a:lnTo>
                <a:lnTo>
                  <a:pt x="4950" y="742"/>
                </a:lnTo>
                <a:lnTo>
                  <a:pt x="4950" y="742"/>
                </a:lnTo>
                <a:lnTo>
                  <a:pt x="4946" y="744"/>
                </a:lnTo>
                <a:lnTo>
                  <a:pt x="4944" y="744"/>
                </a:lnTo>
                <a:lnTo>
                  <a:pt x="4946" y="746"/>
                </a:lnTo>
                <a:lnTo>
                  <a:pt x="4946" y="746"/>
                </a:lnTo>
                <a:lnTo>
                  <a:pt x="4984" y="740"/>
                </a:lnTo>
                <a:lnTo>
                  <a:pt x="4984" y="740"/>
                </a:lnTo>
                <a:lnTo>
                  <a:pt x="4982" y="740"/>
                </a:lnTo>
                <a:lnTo>
                  <a:pt x="4984" y="740"/>
                </a:lnTo>
                <a:lnTo>
                  <a:pt x="4968" y="742"/>
                </a:lnTo>
                <a:lnTo>
                  <a:pt x="4968" y="742"/>
                </a:lnTo>
                <a:lnTo>
                  <a:pt x="5002" y="736"/>
                </a:lnTo>
                <a:lnTo>
                  <a:pt x="5030" y="732"/>
                </a:lnTo>
                <a:lnTo>
                  <a:pt x="5030" y="732"/>
                </a:lnTo>
                <a:lnTo>
                  <a:pt x="5066" y="730"/>
                </a:lnTo>
                <a:lnTo>
                  <a:pt x="5120" y="724"/>
                </a:lnTo>
                <a:lnTo>
                  <a:pt x="5120" y="724"/>
                </a:lnTo>
                <a:lnTo>
                  <a:pt x="5110" y="722"/>
                </a:lnTo>
                <a:lnTo>
                  <a:pt x="5090" y="726"/>
                </a:lnTo>
                <a:lnTo>
                  <a:pt x="5070" y="728"/>
                </a:lnTo>
                <a:lnTo>
                  <a:pt x="5056" y="730"/>
                </a:lnTo>
                <a:lnTo>
                  <a:pt x="5056" y="730"/>
                </a:lnTo>
                <a:lnTo>
                  <a:pt x="5142" y="718"/>
                </a:lnTo>
                <a:lnTo>
                  <a:pt x="5248" y="704"/>
                </a:lnTo>
                <a:lnTo>
                  <a:pt x="5248" y="704"/>
                </a:lnTo>
                <a:lnTo>
                  <a:pt x="5271" y="702"/>
                </a:lnTo>
                <a:lnTo>
                  <a:pt x="5273" y="702"/>
                </a:lnTo>
                <a:lnTo>
                  <a:pt x="5269" y="702"/>
                </a:lnTo>
                <a:lnTo>
                  <a:pt x="5261" y="704"/>
                </a:lnTo>
                <a:lnTo>
                  <a:pt x="5259" y="704"/>
                </a:lnTo>
                <a:lnTo>
                  <a:pt x="5259" y="704"/>
                </a:lnTo>
                <a:lnTo>
                  <a:pt x="5259" y="704"/>
                </a:lnTo>
                <a:lnTo>
                  <a:pt x="5154" y="718"/>
                </a:lnTo>
                <a:lnTo>
                  <a:pt x="5154" y="718"/>
                </a:lnTo>
                <a:lnTo>
                  <a:pt x="5238" y="708"/>
                </a:lnTo>
                <a:lnTo>
                  <a:pt x="5313" y="698"/>
                </a:lnTo>
                <a:lnTo>
                  <a:pt x="5313" y="698"/>
                </a:lnTo>
                <a:lnTo>
                  <a:pt x="5345" y="694"/>
                </a:lnTo>
                <a:lnTo>
                  <a:pt x="5369" y="692"/>
                </a:lnTo>
                <a:lnTo>
                  <a:pt x="5395" y="690"/>
                </a:lnTo>
                <a:lnTo>
                  <a:pt x="5433" y="684"/>
                </a:lnTo>
                <a:lnTo>
                  <a:pt x="5433" y="684"/>
                </a:lnTo>
                <a:lnTo>
                  <a:pt x="5423" y="684"/>
                </a:lnTo>
                <a:lnTo>
                  <a:pt x="5407" y="686"/>
                </a:lnTo>
                <a:lnTo>
                  <a:pt x="5407" y="686"/>
                </a:lnTo>
                <a:lnTo>
                  <a:pt x="5459" y="678"/>
                </a:lnTo>
                <a:lnTo>
                  <a:pt x="5459" y="678"/>
                </a:lnTo>
                <a:lnTo>
                  <a:pt x="5461" y="678"/>
                </a:lnTo>
                <a:lnTo>
                  <a:pt x="5461" y="678"/>
                </a:lnTo>
                <a:lnTo>
                  <a:pt x="5453" y="678"/>
                </a:lnTo>
                <a:lnTo>
                  <a:pt x="5449" y="680"/>
                </a:lnTo>
                <a:lnTo>
                  <a:pt x="5457" y="678"/>
                </a:lnTo>
                <a:lnTo>
                  <a:pt x="5457" y="678"/>
                </a:lnTo>
                <a:lnTo>
                  <a:pt x="5475" y="676"/>
                </a:lnTo>
                <a:lnTo>
                  <a:pt x="5483" y="676"/>
                </a:lnTo>
                <a:lnTo>
                  <a:pt x="5479" y="676"/>
                </a:lnTo>
                <a:lnTo>
                  <a:pt x="5479" y="676"/>
                </a:lnTo>
                <a:lnTo>
                  <a:pt x="5511" y="672"/>
                </a:lnTo>
                <a:lnTo>
                  <a:pt x="5529" y="670"/>
                </a:lnTo>
                <a:lnTo>
                  <a:pt x="5545" y="668"/>
                </a:lnTo>
                <a:lnTo>
                  <a:pt x="5573" y="664"/>
                </a:lnTo>
                <a:lnTo>
                  <a:pt x="5573" y="664"/>
                </a:lnTo>
                <a:lnTo>
                  <a:pt x="5545" y="668"/>
                </a:lnTo>
                <a:lnTo>
                  <a:pt x="5545" y="668"/>
                </a:lnTo>
                <a:lnTo>
                  <a:pt x="5543" y="668"/>
                </a:lnTo>
                <a:lnTo>
                  <a:pt x="5545" y="666"/>
                </a:lnTo>
                <a:lnTo>
                  <a:pt x="5555" y="664"/>
                </a:lnTo>
                <a:lnTo>
                  <a:pt x="5591" y="658"/>
                </a:lnTo>
                <a:lnTo>
                  <a:pt x="5591" y="658"/>
                </a:lnTo>
                <a:lnTo>
                  <a:pt x="5601" y="658"/>
                </a:lnTo>
                <a:lnTo>
                  <a:pt x="5627" y="654"/>
                </a:lnTo>
                <a:lnTo>
                  <a:pt x="5627" y="654"/>
                </a:lnTo>
                <a:lnTo>
                  <a:pt x="5629" y="654"/>
                </a:lnTo>
                <a:lnTo>
                  <a:pt x="5625" y="654"/>
                </a:lnTo>
                <a:lnTo>
                  <a:pt x="5611" y="656"/>
                </a:lnTo>
                <a:lnTo>
                  <a:pt x="5579" y="662"/>
                </a:lnTo>
                <a:lnTo>
                  <a:pt x="5623" y="656"/>
                </a:lnTo>
                <a:lnTo>
                  <a:pt x="5615" y="656"/>
                </a:lnTo>
                <a:lnTo>
                  <a:pt x="5663" y="648"/>
                </a:lnTo>
                <a:lnTo>
                  <a:pt x="5663" y="648"/>
                </a:lnTo>
                <a:lnTo>
                  <a:pt x="5647" y="650"/>
                </a:lnTo>
                <a:lnTo>
                  <a:pt x="5645" y="650"/>
                </a:lnTo>
                <a:lnTo>
                  <a:pt x="5663" y="648"/>
                </a:lnTo>
                <a:lnTo>
                  <a:pt x="5663" y="648"/>
                </a:lnTo>
                <a:lnTo>
                  <a:pt x="5710" y="640"/>
                </a:lnTo>
                <a:lnTo>
                  <a:pt x="5724" y="640"/>
                </a:lnTo>
                <a:lnTo>
                  <a:pt x="5728" y="640"/>
                </a:lnTo>
                <a:lnTo>
                  <a:pt x="5728" y="640"/>
                </a:lnTo>
                <a:lnTo>
                  <a:pt x="5756" y="634"/>
                </a:lnTo>
                <a:lnTo>
                  <a:pt x="5804" y="626"/>
                </a:lnTo>
                <a:lnTo>
                  <a:pt x="5804" y="626"/>
                </a:lnTo>
                <a:lnTo>
                  <a:pt x="5790" y="628"/>
                </a:lnTo>
                <a:lnTo>
                  <a:pt x="5792" y="628"/>
                </a:lnTo>
                <a:lnTo>
                  <a:pt x="5810" y="624"/>
                </a:lnTo>
                <a:lnTo>
                  <a:pt x="5860" y="618"/>
                </a:lnTo>
                <a:lnTo>
                  <a:pt x="5860" y="618"/>
                </a:lnTo>
                <a:lnTo>
                  <a:pt x="5840" y="622"/>
                </a:lnTo>
                <a:lnTo>
                  <a:pt x="5844" y="622"/>
                </a:lnTo>
                <a:lnTo>
                  <a:pt x="5856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26" y="626"/>
                </a:lnTo>
                <a:lnTo>
                  <a:pt x="5784" y="632"/>
                </a:lnTo>
                <a:lnTo>
                  <a:pt x="5784" y="632"/>
                </a:lnTo>
                <a:lnTo>
                  <a:pt x="5820" y="628"/>
                </a:lnTo>
                <a:lnTo>
                  <a:pt x="5848" y="624"/>
                </a:lnTo>
                <a:lnTo>
                  <a:pt x="5876" y="618"/>
                </a:lnTo>
                <a:lnTo>
                  <a:pt x="5908" y="613"/>
                </a:lnTo>
                <a:lnTo>
                  <a:pt x="5908" y="613"/>
                </a:lnTo>
                <a:lnTo>
                  <a:pt x="5902" y="615"/>
                </a:lnTo>
                <a:lnTo>
                  <a:pt x="5882" y="620"/>
                </a:lnTo>
                <a:lnTo>
                  <a:pt x="5882" y="620"/>
                </a:lnTo>
                <a:lnTo>
                  <a:pt x="5912" y="613"/>
                </a:lnTo>
                <a:lnTo>
                  <a:pt x="5958" y="607"/>
                </a:lnTo>
                <a:lnTo>
                  <a:pt x="5958" y="607"/>
                </a:lnTo>
                <a:lnTo>
                  <a:pt x="5944" y="607"/>
                </a:lnTo>
                <a:lnTo>
                  <a:pt x="5946" y="607"/>
                </a:lnTo>
                <a:lnTo>
                  <a:pt x="5962" y="603"/>
                </a:lnTo>
                <a:lnTo>
                  <a:pt x="6004" y="599"/>
                </a:lnTo>
                <a:lnTo>
                  <a:pt x="6004" y="599"/>
                </a:lnTo>
                <a:lnTo>
                  <a:pt x="6028" y="595"/>
                </a:lnTo>
                <a:lnTo>
                  <a:pt x="6034" y="593"/>
                </a:lnTo>
                <a:lnTo>
                  <a:pt x="6040" y="591"/>
                </a:lnTo>
                <a:lnTo>
                  <a:pt x="6060" y="587"/>
                </a:lnTo>
                <a:lnTo>
                  <a:pt x="6034" y="591"/>
                </a:lnTo>
                <a:lnTo>
                  <a:pt x="6034" y="591"/>
                </a:lnTo>
                <a:lnTo>
                  <a:pt x="6062" y="585"/>
                </a:lnTo>
                <a:lnTo>
                  <a:pt x="6080" y="581"/>
                </a:lnTo>
                <a:lnTo>
                  <a:pt x="6088" y="579"/>
                </a:lnTo>
                <a:lnTo>
                  <a:pt x="6088" y="579"/>
                </a:lnTo>
                <a:lnTo>
                  <a:pt x="6024" y="591"/>
                </a:lnTo>
                <a:lnTo>
                  <a:pt x="6024" y="591"/>
                </a:lnTo>
                <a:lnTo>
                  <a:pt x="6022" y="591"/>
                </a:lnTo>
                <a:lnTo>
                  <a:pt x="6024" y="589"/>
                </a:lnTo>
                <a:lnTo>
                  <a:pt x="6038" y="587"/>
                </a:lnTo>
                <a:lnTo>
                  <a:pt x="6072" y="581"/>
                </a:lnTo>
                <a:lnTo>
                  <a:pt x="6072" y="581"/>
                </a:lnTo>
                <a:lnTo>
                  <a:pt x="6155" y="571"/>
                </a:lnTo>
                <a:lnTo>
                  <a:pt x="6155" y="571"/>
                </a:lnTo>
                <a:lnTo>
                  <a:pt x="6145" y="573"/>
                </a:lnTo>
                <a:lnTo>
                  <a:pt x="6125" y="579"/>
                </a:lnTo>
                <a:lnTo>
                  <a:pt x="6103" y="583"/>
                </a:lnTo>
                <a:lnTo>
                  <a:pt x="6099" y="585"/>
                </a:lnTo>
                <a:lnTo>
                  <a:pt x="6097" y="585"/>
                </a:lnTo>
                <a:lnTo>
                  <a:pt x="6099" y="585"/>
                </a:lnTo>
                <a:lnTo>
                  <a:pt x="6099" y="585"/>
                </a:lnTo>
                <a:lnTo>
                  <a:pt x="6187" y="571"/>
                </a:lnTo>
                <a:lnTo>
                  <a:pt x="6261" y="559"/>
                </a:lnTo>
                <a:lnTo>
                  <a:pt x="6261" y="559"/>
                </a:lnTo>
                <a:lnTo>
                  <a:pt x="6299" y="551"/>
                </a:lnTo>
                <a:lnTo>
                  <a:pt x="6301" y="551"/>
                </a:lnTo>
                <a:lnTo>
                  <a:pt x="6299" y="549"/>
                </a:lnTo>
                <a:lnTo>
                  <a:pt x="6295" y="549"/>
                </a:lnTo>
                <a:lnTo>
                  <a:pt x="6295" y="549"/>
                </a:lnTo>
                <a:lnTo>
                  <a:pt x="6337" y="543"/>
                </a:lnTo>
                <a:lnTo>
                  <a:pt x="6315" y="547"/>
                </a:lnTo>
                <a:lnTo>
                  <a:pt x="6315" y="547"/>
                </a:lnTo>
                <a:lnTo>
                  <a:pt x="6465" y="519"/>
                </a:lnTo>
                <a:lnTo>
                  <a:pt x="6465" y="519"/>
                </a:lnTo>
                <a:lnTo>
                  <a:pt x="6487" y="515"/>
                </a:lnTo>
                <a:lnTo>
                  <a:pt x="6477" y="515"/>
                </a:lnTo>
                <a:lnTo>
                  <a:pt x="6516" y="507"/>
                </a:lnTo>
                <a:lnTo>
                  <a:pt x="6509" y="509"/>
                </a:lnTo>
                <a:lnTo>
                  <a:pt x="6509" y="509"/>
                </a:lnTo>
                <a:lnTo>
                  <a:pt x="6536" y="503"/>
                </a:lnTo>
                <a:lnTo>
                  <a:pt x="6576" y="495"/>
                </a:lnTo>
                <a:lnTo>
                  <a:pt x="6576" y="495"/>
                </a:lnTo>
                <a:lnTo>
                  <a:pt x="6562" y="499"/>
                </a:lnTo>
                <a:lnTo>
                  <a:pt x="6562" y="499"/>
                </a:lnTo>
                <a:lnTo>
                  <a:pt x="6634" y="487"/>
                </a:lnTo>
                <a:lnTo>
                  <a:pt x="6634" y="487"/>
                </a:lnTo>
                <a:lnTo>
                  <a:pt x="6624" y="489"/>
                </a:lnTo>
                <a:lnTo>
                  <a:pt x="6594" y="495"/>
                </a:lnTo>
                <a:lnTo>
                  <a:pt x="6594" y="495"/>
                </a:lnTo>
                <a:lnTo>
                  <a:pt x="6590" y="495"/>
                </a:lnTo>
                <a:lnTo>
                  <a:pt x="6546" y="505"/>
                </a:lnTo>
                <a:lnTo>
                  <a:pt x="6546" y="505"/>
                </a:lnTo>
                <a:lnTo>
                  <a:pt x="6606" y="493"/>
                </a:lnTo>
                <a:lnTo>
                  <a:pt x="6622" y="491"/>
                </a:lnTo>
                <a:lnTo>
                  <a:pt x="6626" y="493"/>
                </a:lnTo>
                <a:lnTo>
                  <a:pt x="6626" y="493"/>
                </a:lnTo>
                <a:lnTo>
                  <a:pt x="6642" y="489"/>
                </a:lnTo>
                <a:lnTo>
                  <a:pt x="6632" y="489"/>
                </a:lnTo>
                <a:lnTo>
                  <a:pt x="6624" y="491"/>
                </a:lnTo>
                <a:lnTo>
                  <a:pt x="6644" y="487"/>
                </a:lnTo>
                <a:lnTo>
                  <a:pt x="6644" y="487"/>
                </a:lnTo>
                <a:lnTo>
                  <a:pt x="6702" y="477"/>
                </a:lnTo>
                <a:lnTo>
                  <a:pt x="6756" y="467"/>
                </a:lnTo>
                <a:lnTo>
                  <a:pt x="6802" y="459"/>
                </a:lnTo>
                <a:lnTo>
                  <a:pt x="6840" y="453"/>
                </a:lnTo>
                <a:lnTo>
                  <a:pt x="6840" y="453"/>
                </a:lnTo>
                <a:lnTo>
                  <a:pt x="6979" y="423"/>
                </a:lnTo>
                <a:lnTo>
                  <a:pt x="6979" y="423"/>
                </a:lnTo>
                <a:lnTo>
                  <a:pt x="6997" y="419"/>
                </a:lnTo>
                <a:lnTo>
                  <a:pt x="7007" y="415"/>
                </a:lnTo>
                <a:lnTo>
                  <a:pt x="7011" y="415"/>
                </a:lnTo>
                <a:lnTo>
                  <a:pt x="7011" y="415"/>
                </a:lnTo>
                <a:lnTo>
                  <a:pt x="7011" y="415"/>
                </a:lnTo>
                <a:lnTo>
                  <a:pt x="6971" y="421"/>
                </a:lnTo>
                <a:lnTo>
                  <a:pt x="6933" y="431"/>
                </a:lnTo>
                <a:lnTo>
                  <a:pt x="6896" y="437"/>
                </a:lnTo>
                <a:lnTo>
                  <a:pt x="6864" y="443"/>
                </a:lnTo>
                <a:lnTo>
                  <a:pt x="6864" y="443"/>
                </a:lnTo>
                <a:lnTo>
                  <a:pt x="6844" y="449"/>
                </a:lnTo>
                <a:lnTo>
                  <a:pt x="6836" y="451"/>
                </a:lnTo>
                <a:lnTo>
                  <a:pt x="6836" y="451"/>
                </a:lnTo>
                <a:lnTo>
                  <a:pt x="6792" y="459"/>
                </a:lnTo>
                <a:lnTo>
                  <a:pt x="6792" y="459"/>
                </a:lnTo>
                <a:lnTo>
                  <a:pt x="6816" y="453"/>
                </a:lnTo>
                <a:lnTo>
                  <a:pt x="6824" y="451"/>
                </a:lnTo>
                <a:lnTo>
                  <a:pt x="6836" y="447"/>
                </a:lnTo>
                <a:lnTo>
                  <a:pt x="6868" y="441"/>
                </a:lnTo>
                <a:lnTo>
                  <a:pt x="6868" y="441"/>
                </a:lnTo>
                <a:lnTo>
                  <a:pt x="6832" y="447"/>
                </a:lnTo>
                <a:lnTo>
                  <a:pt x="6784" y="457"/>
                </a:lnTo>
                <a:lnTo>
                  <a:pt x="6784" y="457"/>
                </a:lnTo>
                <a:lnTo>
                  <a:pt x="6788" y="455"/>
                </a:lnTo>
                <a:lnTo>
                  <a:pt x="6786" y="455"/>
                </a:lnTo>
                <a:lnTo>
                  <a:pt x="6770" y="457"/>
                </a:lnTo>
                <a:lnTo>
                  <a:pt x="6770" y="457"/>
                </a:lnTo>
                <a:lnTo>
                  <a:pt x="6840" y="441"/>
                </a:lnTo>
                <a:lnTo>
                  <a:pt x="6840" y="441"/>
                </a:lnTo>
                <a:lnTo>
                  <a:pt x="6838" y="441"/>
                </a:lnTo>
                <a:lnTo>
                  <a:pt x="6840" y="441"/>
                </a:lnTo>
                <a:lnTo>
                  <a:pt x="6842" y="441"/>
                </a:lnTo>
                <a:lnTo>
                  <a:pt x="6842" y="441"/>
                </a:lnTo>
                <a:lnTo>
                  <a:pt x="6908" y="427"/>
                </a:lnTo>
                <a:lnTo>
                  <a:pt x="6908" y="427"/>
                </a:lnTo>
                <a:lnTo>
                  <a:pt x="6928" y="423"/>
                </a:lnTo>
                <a:lnTo>
                  <a:pt x="6928" y="425"/>
                </a:lnTo>
                <a:lnTo>
                  <a:pt x="6924" y="425"/>
                </a:lnTo>
                <a:lnTo>
                  <a:pt x="6924" y="425"/>
                </a:lnTo>
                <a:lnTo>
                  <a:pt x="6987" y="413"/>
                </a:lnTo>
                <a:lnTo>
                  <a:pt x="7013" y="407"/>
                </a:lnTo>
                <a:lnTo>
                  <a:pt x="7025" y="407"/>
                </a:lnTo>
                <a:lnTo>
                  <a:pt x="7025" y="407"/>
                </a:lnTo>
                <a:lnTo>
                  <a:pt x="7041" y="403"/>
                </a:lnTo>
                <a:lnTo>
                  <a:pt x="7033" y="403"/>
                </a:lnTo>
                <a:lnTo>
                  <a:pt x="7005" y="409"/>
                </a:lnTo>
                <a:lnTo>
                  <a:pt x="7009" y="407"/>
                </a:lnTo>
                <a:lnTo>
                  <a:pt x="6959" y="417"/>
                </a:lnTo>
                <a:lnTo>
                  <a:pt x="6959" y="417"/>
                </a:lnTo>
                <a:lnTo>
                  <a:pt x="6965" y="415"/>
                </a:lnTo>
                <a:lnTo>
                  <a:pt x="6985" y="411"/>
                </a:lnTo>
                <a:lnTo>
                  <a:pt x="7009" y="407"/>
                </a:lnTo>
                <a:lnTo>
                  <a:pt x="7023" y="403"/>
                </a:lnTo>
                <a:lnTo>
                  <a:pt x="7023" y="403"/>
                </a:lnTo>
                <a:lnTo>
                  <a:pt x="7029" y="401"/>
                </a:lnTo>
                <a:lnTo>
                  <a:pt x="7037" y="399"/>
                </a:lnTo>
                <a:lnTo>
                  <a:pt x="7065" y="393"/>
                </a:lnTo>
                <a:lnTo>
                  <a:pt x="7099" y="387"/>
                </a:lnTo>
                <a:lnTo>
                  <a:pt x="7129" y="381"/>
                </a:lnTo>
                <a:lnTo>
                  <a:pt x="7089" y="393"/>
                </a:lnTo>
                <a:lnTo>
                  <a:pt x="7125" y="385"/>
                </a:lnTo>
                <a:lnTo>
                  <a:pt x="7125" y="385"/>
                </a:lnTo>
                <a:lnTo>
                  <a:pt x="7103" y="391"/>
                </a:lnTo>
                <a:lnTo>
                  <a:pt x="7075" y="399"/>
                </a:lnTo>
                <a:lnTo>
                  <a:pt x="7075" y="399"/>
                </a:lnTo>
                <a:lnTo>
                  <a:pt x="7155" y="383"/>
                </a:lnTo>
                <a:lnTo>
                  <a:pt x="7223" y="367"/>
                </a:lnTo>
                <a:lnTo>
                  <a:pt x="7223" y="367"/>
                </a:lnTo>
                <a:lnTo>
                  <a:pt x="7237" y="367"/>
                </a:lnTo>
                <a:lnTo>
                  <a:pt x="7239" y="367"/>
                </a:lnTo>
                <a:lnTo>
                  <a:pt x="7237" y="369"/>
                </a:lnTo>
                <a:lnTo>
                  <a:pt x="7237" y="369"/>
                </a:lnTo>
                <a:lnTo>
                  <a:pt x="7269" y="359"/>
                </a:lnTo>
                <a:lnTo>
                  <a:pt x="7299" y="353"/>
                </a:lnTo>
                <a:lnTo>
                  <a:pt x="7356" y="341"/>
                </a:lnTo>
                <a:lnTo>
                  <a:pt x="7356" y="341"/>
                </a:lnTo>
                <a:lnTo>
                  <a:pt x="7368" y="339"/>
                </a:lnTo>
                <a:lnTo>
                  <a:pt x="7354" y="341"/>
                </a:lnTo>
                <a:lnTo>
                  <a:pt x="7337" y="343"/>
                </a:lnTo>
                <a:lnTo>
                  <a:pt x="7335" y="343"/>
                </a:lnTo>
                <a:lnTo>
                  <a:pt x="7343" y="341"/>
                </a:lnTo>
                <a:lnTo>
                  <a:pt x="7343" y="341"/>
                </a:lnTo>
                <a:lnTo>
                  <a:pt x="7368" y="337"/>
                </a:lnTo>
                <a:lnTo>
                  <a:pt x="7394" y="329"/>
                </a:lnTo>
                <a:lnTo>
                  <a:pt x="7394" y="329"/>
                </a:lnTo>
                <a:lnTo>
                  <a:pt x="7354" y="339"/>
                </a:lnTo>
                <a:lnTo>
                  <a:pt x="7299" y="351"/>
                </a:lnTo>
                <a:lnTo>
                  <a:pt x="7299" y="351"/>
                </a:lnTo>
                <a:lnTo>
                  <a:pt x="7319" y="345"/>
                </a:lnTo>
                <a:lnTo>
                  <a:pt x="7327" y="343"/>
                </a:lnTo>
                <a:lnTo>
                  <a:pt x="7285" y="351"/>
                </a:lnTo>
                <a:lnTo>
                  <a:pt x="7285" y="351"/>
                </a:lnTo>
                <a:lnTo>
                  <a:pt x="7295" y="349"/>
                </a:lnTo>
                <a:lnTo>
                  <a:pt x="7313" y="343"/>
                </a:lnTo>
                <a:lnTo>
                  <a:pt x="7356" y="335"/>
                </a:lnTo>
                <a:lnTo>
                  <a:pt x="7356" y="335"/>
                </a:lnTo>
                <a:lnTo>
                  <a:pt x="7337" y="341"/>
                </a:lnTo>
                <a:lnTo>
                  <a:pt x="7337" y="341"/>
                </a:lnTo>
                <a:lnTo>
                  <a:pt x="7456" y="313"/>
                </a:lnTo>
                <a:lnTo>
                  <a:pt x="7456" y="313"/>
                </a:lnTo>
                <a:lnTo>
                  <a:pt x="7462" y="313"/>
                </a:lnTo>
                <a:lnTo>
                  <a:pt x="7454" y="315"/>
                </a:lnTo>
                <a:lnTo>
                  <a:pt x="7432" y="321"/>
                </a:lnTo>
                <a:lnTo>
                  <a:pt x="7432" y="321"/>
                </a:lnTo>
                <a:lnTo>
                  <a:pt x="7454" y="315"/>
                </a:lnTo>
                <a:lnTo>
                  <a:pt x="7474" y="311"/>
                </a:lnTo>
                <a:lnTo>
                  <a:pt x="7474" y="311"/>
                </a:lnTo>
                <a:lnTo>
                  <a:pt x="7460" y="315"/>
                </a:lnTo>
                <a:lnTo>
                  <a:pt x="7442" y="321"/>
                </a:lnTo>
                <a:lnTo>
                  <a:pt x="7544" y="295"/>
                </a:lnTo>
                <a:lnTo>
                  <a:pt x="7544" y="295"/>
                </a:lnTo>
                <a:lnTo>
                  <a:pt x="7502" y="307"/>
                </a:lnTo>
                <a:lnTo>
                  <a:pt x="7502" y="307"/>
                </a:lnTo>
                <a:lnTo>
                  <a:pt x="7546" y="295"/>
                </a:lnTo>
                <a:lnTo>
                  <a:pt x="7592" y="281"/>
                </a:lnTo>
                <a:lnTo>
                  <a:pt x="7592" y="281"/>
                </a:lnTo>
                <a:lnTo>
                  <a:pt x="7642" y="269"/>
                </a:lnTo>
                <a:lnTo>
                  <a:pt x="7656" y="267"/>
                </a:lnTo>
                <a:lnTo>
                  <a:pt x="7658" y="267"/>
                </a:lnTo>
                <a:lnTo>
                  <a:pt x="7656" y="267"/>
                </a:lnTo>
                <a:lnTo>
                  <a:pt x="7656" y="267"/>
                </a:lnTo>
                <a:lnTo>
                  <a:pt x="7664" y="263"/>
                </a:lnTo>
                <a:lnTo>
                  <a:pt x="7662" y="265"/>
                </a:lnTo>
                <a:lnTo>
                  <a:pt x="7662" y="265"/>
                </a:lnTo>
                <a:lnTo>
                  <a:pt x="7708" y="251"/>
                </a:lnTo>
                <a:lnTo>
                  <a:pt x="7742" y="239"/>
                </a:lnTo>
                <a:lnTo>
                  <a:pt x="7720" y="245"/>
                </a:lnTo>
                <a:lnTo>
                  <a:pt x="7720" y="245"/>
                </a:lnTo>
                <a:lnTo>
                  <a:pt x="7740" y="239"/>
                </a:lnTo>
                <a:lnTo>
                  <a:pt x="7746" y="237"/>
                </a:lnTo>
                <a:lnTo>
                  <a:pt x="7752" y="235"/>
                </a:lnTo>
                <a:lnTo>
                  <a:pt x="7771" y="229"/>
                </a:lnTo>
                <a:lnTo>
                  <a:pt x="7771" y="229"/>
                </a:lnTo>
                <a:lnTo>
                  <a:pt x="7766" y="231"/>
                </a:lnTo>
                <a:lnTo>
                  <a:pt x="7766" y="233"/>
                </a:lnTo>
                <a:lnTo>
                  <a:pt x="7775" y="233"/>
                </a:lnTo>
                <a:lnTo>
                  <a:pt x="7775" y="233"/>
                </a:lnTo>
                <a:lnTo>
                  <a:pt x="7795" y="227"/>
                </a:lnTo>
                <a:lnTo>
                  <a:pt x="7825" y="219"/>
                </a:lnTo>
                <a:lnTo>
                  <a:pt x="7825" y="219"/>
                </a:lnTo>
                <a:lnTo>
                  <a:pt x="7823" y="219"/>
                </a:lnTo>
                <a:lnTo>
                  <a:pt x="7825" y="217"/>
                </a:lnTo>
                <a:lnTo>
                  <a:pt x="7835" y="213"/>
                </a:lnTo>
                <a:lnTo>
                  <a:pt x="7843" y="211"/>
                </a:lnTo>
                <a:lnTo>
                  <a:pt x="7833" y="213"/>
                </a:lnTo>
                <a:lnTo>
                  <a:pt x="7833" y="213"/>
                </a:lnTo>
                <a:lnTo>
                  <a:pt x="7881" y="199"/>
                </a:lnTo>
                <a:lnTo>
                  <a:pt x="7921" y="185"/>
                </a:lnTo>
                <a:lnTo>
                  <a:pt x="7921" y="185"/>
                </a:lnTo>
                <a:lnTo>
                  <a:pt x="7917" y="187"/>
                </a:lnTo>
                <a:lnTo>
                  <a:pt x="7929" y="183"/>
                </a:lnTo>
                <a:lnTo>
                  <a:pt x="7939" y="177"/>
                </a:lnTo>
                <a:lnTo>
                  <a:pt x="7941" y="177"/>
                </a:lnTo>
                <a:lnTo>
                  <a:pt x="7939" y="177"/>
                </a:lnTo>
                <a:lnTo>
                  <a:pt x="7939" y="177"/>
                </a:lnTo>
                <a:lnTo>
                  <a:pt x="7985" y="162"/>
                </a:lnTo>
                <a:lnTo>
                  <a:pt x="7995" y="160"/>
                </a:lnTo>
                <a:lnTo>
                  <a:pt x="7997" y="160"/>
                </a:lnTo>
                <a:lnTo>
                  <a:pt x="7993" y="162"/>
                </a:lnTo>
                <a:lnTo>
                  <a:pt x="7993" y="162"/>
                </a:lnTo>
                <a:lnTo>
                  <a:pt x="7971" y="169"/>
                </a:lnTo>
                <a:lnTo>
                  <a:pt x="7961" y="173"/>
                </a:lnTo>
                <a:lnTo>
                  <a:pt x="7961" y="173"/>
                </a:lnTo>
                <a:lnTo>
                  <a:pt x="8031" y="150"/>
                </a:lnTo>
                <a:lnTo>
                  <a:pt x="8031" y="150"/>
                </a:lnTo>
                <a:lnTo>
                  <a:pt x="8057" y="142"/>
                </a:lnTo>
                <a:lnTo>
                  <a:pt x="8075" y="138"/>
                </a:lnTo>
                <a:lnTo>
                  <a:pt x="8075" y="138"/>
                </a:lnTo>
                <a:lnTo>
                  <a:pt x="8117" y="122"/>
                </a:lnTo>
                <a:lnTo>
                  <a:pt x="8139" y="114"/>
                </a:lnTo>
                <a:lnTo>
                  <a:pt x="8157" y="108"/>
                </a:lnTo>
                <a:lnTo>
                  <a:pt x="8157" y="108"/>
                </a:lnTo>
                <a:lnTo>
                  <a:pt x="8125" y="118"/>
                </a:lnTo>
                <a:lnTo>
                  <a:pt x="8105" y="126"/>
                </a:lnTo>
                <a:lnTo>
                  <a:pt x="8115" y="122"/>
                </a:lnTo>
                <a:lnTo>
                  <a:pt x="8111" y="124"/>
                </a:lnTo>
                <a:lnTo>
                  <a:pt x="8139" y="110"/>
                </a:lnTo>
                <a:lnTo>
                  <a:pt x="8139" y="110"/>
                </a:lnTo>
                <a:lnTo>
                  <a:pt x="8125" y="114"/>
                </a:lnTo>
                <a:lnTo>
                  <a:pt x="8121" y="116"/>
                </a:lnTo>
                <a:lnTo>
                  <a:pt x="8115" y="120"/>
                </a:lnTo>
                <a:lnTo>
                  <a:pt x="8095" y="128"/>
                </a:lnTo>
                <a:lnTo>
                  <a:pt x="8095" y="128"/>
                </a:lnTo>
                <a:lnTo>
                  <a:pt x="8087" y="130"/>
                </a:lnTo>
                <a:lnTo>
                  <a:pt x="8091" y="128"/>
                </a:lnTo>
                <a:lnTo>
                  <a:pt x="8115" y="118"/>
                </a:lnTo>
                <a:lnTo>
                  <a:pt x="8115" y="118"/>
                </a:lnTo>
                <a:lnTo>
                  <a:pt x="8139" y="108"/>
                </a:lnTo>
                <a:lnTo>
                  <a:pt x="8143" y="106"/>
                </a:lnTo>
                <a:lnTo>
                  <a:pt x="8135" y="108"/>
                </a:lnTo>
                <a:lnTo>
                  <a:pt x="8135" y="108"/>
                </a:lnTo>
                <a:lnTo>
                  <a:pt x="8109" y="118"/>
                </a:lnTo>
                <a:lnTo>
                  <a:pt x="8087" y="128"/>
                </a:lnTo>
                <a:lnTo>
                  <a:pt x="8093" y="126"/>
                </a:lnTo>
                <a:lnTo>
                  <a:pt x="8037" y="146"/>
                </a:lnTo>
                <a:lnTo>
                  <a:pt x="8037" y="146"/>
                </a:lnTo>
                <a:lnTo>
                  <a:pt x="8043" y="142"/>
                </a:lnTo>
                <a:lnTo>
                  <a:pt x="8051" y="140"/>
                </a:lnTo>
                <a:lnTo>
                  <a:pt x="8051" y="140"/>
                </a:lnTo>
                <a:lnTo>
                  <a:pt x="7975" y="165"/>
                </a:lnTo>
                <a:lnTo>
                  <a:pt x="7897" y="189"/>
                </a:lnTo>
                <a:lnTo>
                  <a:pt x="7897" y="189"/>
                </a:lnTo>
                <a:lnTo>
                  <a:pt x="7905" y="187"/>
                </a:lnTo>
                <a:lnTo>
                  <a:pt x="7901" y="189"/>
                </a:lnTo>
                <a:lnTo>
                  <a:pt x="7885" y="195"/>
                </a:lnTo>
                <a:lnTo>
                  <a:pt x="7885" y="195"/>
                </a:lnTo>
                <a:lnTo>
                  <a:pt x="7859" y="203"/>
                </a:lnTo>
                <a:lnTo>
                  <a:pt x="7837" y="209"/>
                </a:lnTo>
                <a:lnTo>
                  <a:pt x="7837" y="209"/>
                </a:lnTo>
                <a:lnTo>
                  <a:pt x="7855" y="203"/>
                </a:lnTo>
                <a:lnTo>
                  <a:pt x="7875" y="197"/>
                </a:lnTo>
                <a:lnTo>
                  <a:pt x="7873" y="195"/>
                </a:lnTo>
                <a:lnTo>
                  <a:pt x="7873" y="195"/>
                </a:lnTo>
                <a:lnTo>
                  <a:pt x="7917" y="179"/>
                </a:lnTo>
                <a:lnTo>
                  <a:pt x="7975" y="158"/>
                </a:lnTo>
                <a:lnTo>
                  <a:pt x="7975" y="158"/>
                </a:lnTo>
                <a:lnTo>
                  <a:pt x="8009" y="144"/>
                </a:lnTo>
                <a:lnTo>
                  <a:pt x="8073" y="124"/>
                </a:lnTo>
                <a:lnTo>
                  <a:pt x="8053" y="130"/>
                </a:lnTo>
                <a:lnTo>
                  <a:pt x="8053" y="130"/>
                </a:lnTo>
                <a:lnTo>
                  <a:pt x="8073" y="122"/>
                </a:lnTo>
                <a:lnTo>
                  <a:pt x="8079" y="120"/>
                </a:lnTo>
                <a:lnTo>
                  <a:pt x="8089" y="118"/>
                </a:lnTo>
                <a:lnTo>
                  <a:pt x="8115" y="108"/>
                </a:lnTo>
                <a:lnTo>
                  <a:pt x="8115" y="108"/>
                </a:lnTo>
                <a:lnTo>
                  <a:pt x="8151" y="98"/>
                </a:lnTo>
                <a:lnTo>
                  <a:pt x="8159" y="96"/>
                </a:lnTo>
                <a:lnTo>
                  <a:pt x="8149" y="102"/>
                </a:lnTo>
                <a:lnTo>
                  <a:pt x="8149" y="102"/>
                </a:lnTo>
                <a:lnTo>
                  <a:pt x="8194" y="86"/>
                </a:lnTo>
                <a:lnTo>
                  <a:pt x="8234" y="68"/>
                </a:lnTo>
                <a:lnTo>
                  <a:pt x="8234" y="68"/>
                </a:lnTo>
                <a:lnTo>
                  <a:pt x="8242" y="66"/>
                </a:lnTo>
                <a:lnTo>
                  <a:pt x="8238" y="70"/>
                </a:lnTo>
                <a:lnTo>
                  <a:pt x="8232" y="72"/>
                </a:lnTo>
                <a:lnTo>
                  <a:pt x="8230" y="74"/>
                </a:lnTo>
                <a:lnTo>
                  <a:pt x="8230" y="74"/>
                </a:lnTo>
                <a:lnTo>
                  <a:pt x="8230" y="74"/>
                </a:lnTo>
                <a:lnTo>
                  <a:pt x="8264" y="60"/>
                </a:lnTo>
                <a:lnTo>
                  <a:pt x="8272" y="56"/>
                </a:lnTo>
                <a:lnTo>
                  <a:pt x="8266" y="58"/>
                </a:lnTo>
                <a:lnTo>
                  <a:pt x="8266" y="58"/>
                </a:lnTo>
                <a:lnTo>
                  <a:pt x="8312" y="38"/>
                </a:lnTo>
                <a:lnTo>
                  <a:pt x="8312" y="38"/>
                </a:lnTo>
                <a:lnTo>
                  <a:pt x="8290" y="48"/>
                </a:lnTo>
                <a:lnTo>
                  <a:pt x="8290" y="48"/>
                </a:lnTo>
                <a:lnTo>
                  <a:pt x="8324" y="32"/>
                </a:lnTo>
                <a:lnTo>
                  <a:pt x="8352" y="16"/>
                </a:lnTo>
                <a:lnTo>
                  <a:pt x="8352" y="16"/>
                </a:lnTo>
                <a:lnTo>
                  <a:pt x="8332" y="28"/>
                </a:lnTo>
                <a:lnTo>
                  <a:pt x="8332" y="28"/>
                </a:lnTo>
                <a:lnTo>
                  <a:pt x="8364" y="8"/>
                </a:lnTo>
                <a:lnTo>
                  <a:pt x="8364" y="8"/>
                </a:lnTo>
                <a:lnTo>
                  <a:pt x="8372" y="4"/>
                </a:lnTo>
                <a:lnTo>
                  <a:pt x="8372" y="4"/>
                </a:lnTo>
                <a:lnTo>
                  <a:pt x="8374" y="2"/>
                </a:lnTo>
                <a:lnTo>
                  <a:pt x="8374" y="2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8" y="0"/>
                </a:lnTo>
                <a:lnTo>
                  <a:pt x="8378" y="0"/>
                </a:lnTo>
                <a:lnTo>
                  <a:pt x="8376" y="2"/>
                </a:lnTo>
                <a:lnTo>
                  <a:pt x="8376" y="2"/>
                </a:lnTo>
                <a:lnTo>
                  <a:pt x="8374" y="4"/>
                </a:lnTo>
                <a:lnTo>
                  <a:pt x="8374" y="4"/>
                </a:lnTo>
                <a:lnTo>
                  <a:pt x="8372" y="4"/>
                </a:lnTo>
                <a:lnTo>
                  <a:pt x="8372" y="4"/>
                </a:lnTo>
                <a:lnTo>
                  <a:pt x="8376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0"/>
                </a:lnTo>
                <a:lnTo>
                  <a:pt x="8378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68" y="6"/>
                </a:lnTo>
                <a:lnTo>
                  <a:pt x="8368" y="6"/>
                </a:lnTo>
                <a:lnTo>
                  <a:pt x="8356" y="12"/>
                </a:lnTo>
                <a:lnTo>
                  <a:pt x="8356" y="12"/>
                </a:lnTo>
                <a:lnTo>
                  <a:pt x="8328" y="28"/>
                </a:lnTo>
                <a:lnTo>
                  <a:pt x="8328" y="28"/>
                </a:lnTo>
                <a:lnTo>
                  <a:pt x="8334" y="24"/>
                </a:lnTo>
                <a:lnTo>
                  <a:pt x="8348" y="14"/>
                </a:lnTo>
                <a:lnTo>
                  <a:pt x="8348" y="14"/>
                </a:lnTo>
                <a:lnTo>
                  <a:pt x="8314" y="30"/>
                </a:lnTo>
                <a:lnTo>
                  <a:pt x="8290" y="40"/>
                </a:lnTo>
                <a:lnTo>
                  <a:pt x="8290" y="40"/>
                </a:lnTo>
                <a:lnTo>
                  <a:pt x="8316" y="30"/>
                </a:lnTo>
                <a:lnTo>
                  <a:pt x="8328" y="22"/>
                </a:lnTo>
                <a:lnTo>
                  <a:pt x="8262" y="54"/>
                </a:lnTo>
                <a:lnTo>
                  <a:pt x="8262" y="54"/>
                </a:lnTo>
                <a:lnTo>
                  <a:pt x="8250" y="58"/>
                </a:lnTo>
                <a:lnTo>
                  <a:pt x="8228" y="66"/>
                </a:lnTo>
                <a:lnTo>
                  <a:pt x="8210" y="74"/>
                </a:lnTo>
                <a:lnTo>
                  <a:pt x="8208" y="74"/>
                </a:lnTo>
                <a:lnTo>
                  <a:pt x="8214" y="72"/>
                </a:lnTo>
                <a:lnTo>
                  <a:pt x="8214" y="72"/>
                </a:lnTo>
                <a:lnTo>
                  <a:pt x="8194" y="80"/>
                </a:lnTo>
                <a:lnTo>
                  <a:pt x="8167" y="90"/>
                </a:lnTo>
                <a:lnTo>
                  <a:pt x="8167" y="90"/>
                </a:lnTo>
                <a:lnTo>
                  <a:pt x="8220" y="66"/>
                </a:lnTo>
                <a:lnTo>
                  <a:pt x="8220" y="66"/>
                </a:lnTo>
                <a:lnTo>
                  <a:pt x="8250" y="54"/>
                </a:lnTo>
                <a:lnTo>
                  <a:pt x="8252" y="54"/>
                </a:lnTo>
                <a:lnTo>
                  <a:pt x="8248" y="54"/>
                </a:lnTo>
                <a:lnTo>
                  <a:pt x="8236" y="60"/>
                </a:lnTo>
                <a:lnTo>
                  <a:pt x="8234" y="62"/>
                </a:lnTo>
                <a:lnTo>
                  <a:pt x="8236" y="62"/>
                </a:lnTo>
                <a:lnTo>
                  <a:pt x="8236" y="62"/>
                </a:lnTo>
                <a:lnTo>
                  <a:pt x="8290" y="38"/>
                </a:lnTo>
                <a:lnTo>
                  <a:pt x="8290" y="38"/>
                </a:lnTo>
                <a:lnTo>
                  <a:pt x="8294" y="36"/>
                </a:lnTo>
                <a:lnTo>
                  <a:pt x="8276" y="44"/>
                </a:lnTo>
                <a:lnTo>
                  <a:pt x="8276" y="44"/>
                </a:lnTo>
                <a:lnTo>
                  <a:pt x="8352" y="4"/>
                </a:lnTo>
                <a:lnTo>
                  <a:pt x="8352" y="4"/>
                </a:lnTo>
                <a:lnTo>
                  <a:pt x="8348" y="8"/>
                </a:lnTo>
                <a:lnTo>
                  <a:pt x="8334" y="14"/>
                </a:lnTo>
                <a:lnTo>
                  <a:pt x="8334" y="14"/>
                </a:lnTo>
                <a:lnTo>
                  <a:pt x="8348" y="4"/>
                </a:lnTo>
                <a:lnTo>
                  <a:pt x="8350" y="4"/>
                </a:lnTo>
                <a:lnTo>
                  <a:pt x="8348" y="4"/>
                </a:lnTo>
                <a:lnTo>
                  <a:pt x="8328" y="14"/>
                </a:lnTo>
                <a:lnTo>
                  <a:pt x="8328" y="14"/>
                </a:lnTo>
                <a:lnTo>
                  <a:pt x="8330" y="12"/>
                </a:lnTo>
                <a:lnTo>
                  <a:pt x="8326" y="16"/>
                </a:lnTo>
                <a:lnTo>
                  <a:pt x="8322" y="18"/>
                </a:lnTo>
                <a:lnTo>
                  <a:pt x="8330" y="14"/>
                </a:lnTo>
                <a:lnTo>
                  <a:pt x="8330" y="14"/>
                </a:lnTo>
                <a:lnTo>
                  <a:pt x="8294" y="32"/>
                </a:lnTo>
                <a:lnTo>
                  <a:pt x="8280" y="36"/>
                </a:lnTo>
                <a:lnTo>
                  <a:pt x="8280" y="36"/>
                </a:lnTo>
                <a:lnTo>
                  <a:pt x="8284" y="34"/>
                </a:lnTo>
                <a:lnTo>
                  <a:pt x="8284" y="34"/>
                </a:lnTo>
                <a:lnTo>
                  <a:pt x="8204" y="70"/>
                </a:lnTo>
                <a:lnTo>
                  <a:pt x="8204" y="70"/>
                </a:lnTo>
                <a:lnTo>
                  <a:pt x="8210" y="66"/>
                </a:lnTo>
                <a:lnTo>
                  <a:pt x="8228" y="58"/>
                </a:lnTo>
                <a:lnTo>
                  <a:pt x="8228" y="58"/>
                </a:lnTo>
                <a:lnTo>
                  <a:pt x="8163" y="84"/>
                </a:lnTo>
                <a:lnTo>
                  <a:pt x="8181" y="78"/>
                </a:lnTo>
                <a:lnTo>
                  <a:pt x="8181" y="78"/>
                </a:lnTo>
                <a:lnTo>
                  <a:pt x="8121" y="102"/>
                </a:lnTo>
                <a:lnTo>
                  <a:pt x="8069" y="122"/>
                </a:lnTo>
                <a:lnTo>
                  <a:pt x="8069" y="122"/>
                </a:lnTo>
                <a:lnTo>
                  <a:pt x="8091" y="112"/>
                </a:lnTo>
                <a:lnTo>
                  <a:pt x="8129" y="98"/>
                </a:lnTo>
                <a:lnTo>
                  <a:pt x="8129" y="98"/>
                </a:lnTo>
                <a:lnTo>
                  <a:pt x="8115" y="102"/>
                </a:lnTo>
                <a:lnTo>
                  <a:pt x="8107" y="106"/>
                </a:lnTo>
                <a:lnTo>
                  <a:pt x="8095" y="110"/>
                </a:lnTo>
                <a:lnTo>
                  <a:pt x="8075" y="118"/>
                </a:lnTo>
                <a:lnTo>
                  <a:pt x="8075" y="118"/>
                </a:lnTo>
                <a:lnTo>
                  <a:pt x="8069" y="120"/>
                </a:lnTo>
                <a:lnTo>
                  <a:pt x="8069" y="118"/>
                </a:lnTo>
                <a:lnTo>
                  <a:pt x="8039" y="130"/>
                </a:lnTo>
                <a:lnTo>
                  <a:pt x="8039" y="130"/>
                </a:lnTo>
                <a:lnTo>
                  <a:pt x="8033" y="132"/>
                </a:lnTo>
                <a:lnTo>
                  <a:pt x="8039" y="130"/>
                </a:lnTo>
                <a:lnTo>
                  <a:pt x="8039" y="130"/>
                </a:lnTo>
                <a:lnTo>
                  <a:pt x="8015" y="140"/>
                </a:lnTo>
                <a:lnTo>
                  <a:pt x="8011" y="142"/>
                </a:lnTo>
                <a:lnTo>
                  <a:pt x="7969" y="156"/>
                </a:lnTo>
                <a:lnTo>
                  <a:pt x="7969" y="156"/>
                </a:lnTo>
                <a:lnTo>
                  <a:pt x="8007" y="144"/>
                </a:lnTo>
                <a:lnTo>
                  <a:pt x="8041" y="132"/>
                </a:lnTo>
                <a:lnTo>
                  <a:pt x="8041" y="132"/>
                </a:lnTo>
                <a:lnTo>
                  <a:pt x="8047" y="130"/>
                </a:lnTo>
                <a:lnTo>
                  <a:pt x="8045" y="132"/>
                </a:lnTo>
                <a:lnTo>
                  <a:pt x="8029" y="138"/>
                </a:lnTo>
                <a:lnTo>
                  <a:pt x="7991" y="152"/>
                </a:lnTo>
                <a:lnTo>
                  <a:pt x="7991" y="152"/>
                </a:lnTo>
                <a:lnTo>
                  <a:pt x="7951" y="162"/>
                </a:lnTo>
                <a:lnTo>
                  <a:pt x="7905" y="179"/>
                </a:lnTo>
                <a:lnTo>
                  <a:pt x="7905" y="179"/>
                </a:lnTo>
                <a:lnTo>
                  <a:pt x="7923" y="171"/>
                </a:lnTo>
                <a:lnTo>
                  <a:pt x="7951" y="160"/>
                </a:lnTo>
                <a:lnTo>
                  <a:pt x="7951" y="160"/>
                </a:lnTo>
                <a:lnTo>
                  <a:pt x="7959" y="158"/>
                </a:lnTo>
                <a:lnTo>
                  <a:pt x="7953" y="160"/>
                </a:lnTo>
                <a:lnTo>
                  <a:pt x="7931" y="167"/>
                </a:lnTo>
                <a:lnTo>
                  <a:pt x="7931" y="167"/>
                </a:lnTo>
                <a:lnTo>
                  <a:pt x="7927" y="167"/>
                </a:lnTo>
                <a:lnTo>
                  <a:pt x="7927" y="169"/>
                </a:lnTo>
                <a:lnTo>
                  <a:pt x="7907" y="175"/>
                </a:lnTo>
                <a:lnTo>
                  <a:pt x="7909" y="175"/>
                </a:lnTo>
                <a:lnTo>
                  <a:pt x="7855" y="193"/>
                </a:lnTo>
                <a:lnTo>
                  <a:pt x="7855" y="193"/>
                </a:lnTo>
                <a:lnTo>
                  <a:pt x="7773" y="217"/>
                </a:lnTo>
                <a:lnTo>
                  <a:pt x="7734" y="229"/>
                </a:lnTo>
                <a:lnTo>
                  <a:pt x="7704" y="237"/>
                </a:lnTo>
                <a:lnTo>
                  <a:pt x="7712" y="235"/>
                </a:lnTo>
                <a:lnTo>
                  <a:pt x="7612" y="263"/>
                </a:lnTo>
                <a:lnTo>
                  <a:pt x="7612" y="263"/>
                </a:lnTo>
                <a:lnTo>
                  <a:pt x="7630" y="257"/>
                </a:lnTo>
                <a:lnTo>
                  <a:pt x="7660" y="249"/>
                </a:lnTo>
                <a:lnTo>
                  <a:pt x="7660" y="249"/>
                </a:lnTo>
                <a:lnTo>
                  <a:pt x="7514" y="289"/>
                </a:lnTo>
                <a:lnTo>
                  <a:pt x="7514" y="289"/>
                </a:lnTo>
                <a:lnTo>
                  <a:pt x="7574" y="277"/>
                </a:lnTo>
                <a:lnTo>
                  <a:pt x="7574" y="277"/>
                </a:lnTo>
                <a:lnTo>
                  <a:pt x="7550" y="283"/>
                </a:lnTo>
                <a:lnTo>
                  <a:pt x="7530" y="287"/>
                </a:lnTo>
                <a:lnTo>
                  <a:pt x="7510" y="291"/>
                </a:lnTo>
                <a:lnTo>
                  <a:pt x="7480" y="299"/>
                </a:lnTo>
                <a:lnTo>
                  <a:pt x="7480" y="299"/>
                </a:lnTo>
                <a:lnTo>
                  <a:pt x="7482" y="297"/>
                </a:lnTo>
                <a:lnTo>
                  <a:pt x="7486" y="297"/>
                </a:lnTo>
                <a:lnTo>
                  <a:pt x="7486" y="295"/>
                </a:lnTo>
                <a:lnTo>
                  <a:pt x="7482" y="295"/>
                </a:lnTo>
                <a:lnTo>
                  <a:pt x="7482" y="295"/>
                </a:lnTo>
                <a:lnTo>
                  <a:pt x="7406" y="317"/>
                </a:lnTo>
                <a:lnTo>
                  <a:pt x="7406" y="317"/>
                </a:lnTo>
                <a:lnTo>
                  <a:pt x="7402" y="315"/>
                </a:lnTo>
                <a:lnTo>
                  <a:pt x="7412" y="313"/>
                </a:lnTo>
                <a:lnTo>
                  <a:pt x="7464" y="299"/>
                </a:lnTo>
                <a:lnTo>
                  <a:pt x="7464" y="299"/>
                </a:lnTo>
                <a:lnTo>
                  <a:pt x="7522" y="285"/>
                </a:lnTo>
                <a:lnTo>
                  <a:pt x="7574" y="271"/>
                </a:lnTo>
                <a:lnTo>
                  <a:pt x="7556" y="275"/>
                </a:lnTo>
                <a:lnTo>
                  <a:pt x="7556" y="275"/>
                </a:lnTo>
                <a:lnTo>
                  <a:pt x="7648" y="249"/>
                </a:lnTo>
                <a:lnTo>
                  <a:pt x="7646" y="251"/>
                </a:lnTo>
                <a:lnTo>
                  <a:pt x="7662" y="245"/>
                </a:lnTo>
                <a:lnTo>
                  <a:pt x="7644" y="249"/>
                </a:lnTo>
                <a:lnTo>
                  <a:pt x="7644" y="249"/>
                </a:lnTo>
                <a:lnTo>
                  <a:pt x="7704" y="231"/>
                </a:lnTo>
                <a:lnTo>
                  <a:pt x="7704" y="231"/>
                </a:lnTo>
                <a:lnTo>
                  <a:pt x="7652" y="247"/>
                </a:lnTo>
                <a:lnTo>
                  <a:pt x="7622" y="257"/>
                </a:lnTo>
                <a:lnTo>
                  <a:pt x="7622" y="257"/>
                </a:lnTo>
                <a:lnTo>
                  <a:pt x="7566" y="271"/>
                </a:lnTo>
                <a:lnTo>
                  <a:pt x="7544" y="275"/>
                </a:lnTo>
                <a:lnTo>
                  <a:pt x="7522" y="281"/>
                </a:lnTo>
                <a:lnTo>
                  <a:pt x="7522" y="281"/>
                </a:lnTo>
                <a:lnTo>
                  <a:pt x="7508" y="283"/>
                </a:lnTo>
                <a:lnTo>
                  <a:pt x="7504" y="283"/>
                </a:lnTo>
                <a:lnTo>
                  <a:pt x="7512" y="281"/>
                </a:lnTo>
                <a:lnTo>
                  <a:pt x="7512" y="281"/>
                </a:lnTo>
                <a:lnTo>
                  <a:pt x="7546" y="273"/>
                </a:lnTo>
                <a:lnTo>
                  <a:pt x="7560" y="267"/>
                </a:lnTo>
                <a:lnTo>
                  <a:pt x="7560" y="267"/>
                </a:lnTo>
                <a:lnTo>
                  <a:pt x="7500" y="283"/>
                </a:lnTo>
                <a:lnTo>
                  <a:pt x="7500" y="283"/>
                </a:lnTo>
                <a:lnTo>
                  <a:pt x="7474" y="291"/>
                </a:lnTo>
                <a:lnTo>
                  <a:pt x="7430" y="305"/>
                </a:lnTo>
                <a:lnTo>
                  <a:pt x="7430" y="305"/>
                </a:lnTo>
                <a:lnTo>
                  <a:pt x="7378" y="317"/>
                </a:lnTo>
                <a:lnTo>
                  <a:pt x="7329" y="329"/>
                </a:lnTo>
                <a:lnTo>
                  <a:pt x="7329" y="329"/>
                </a:lnTo>
                <a:lnTo>
                  <a:pt x="7372" y="317"/>
                </a:lnTo>
                <a:lnTo>
                  <a:pt x="7386" y="313"/>
                </a:lnTo>
                <a:lnTo>
                  <a:pt x="7388" y="313"/>
                </a:lnTo>
                <a:lnTo>
                  <a:pt x="7386" y="313"/>
                </a:lnTo>
                <a:lnTo>
                  <a:pt x="7386" y="313"/>
                </a:lnTo>
                <a:lnTo>
                  <a:pt x="7347" y="321"/>
                </a:lnTo>
                <a:lnTo>
                  <a:pt x="7333" y="325"/>
                </a:lnTo>
                <a:lnTo>
                  <a:pt x="7329" y="325"/>
                </a:lnTo>
                <a:lnTo>
                  <a:pt x="7331" y="327"/>
                </a:lnTo>
                <a:lnTo>
                  <a:pt x="7331" y="327"/>
                </a:lnTo>
                <a:lnTo>
                  <a:pt x="7265" y="341"/>
                </a:lnTo>
                <a:lnTo>
                  <a:pt x="7237" y="347"/>
                </a:lnTo>
                <a:lnTo>
                  <a:pt x="7225" y="349"/>
                </a:lnTo>
                <a:lnTo>
                  <a:pt x="7225" y="349"/>
                </a:lnTo>
                <a:lnTo>
                  <a:pt x="7325" y="325"/>
                </a:lnTo>
                <a:lnTo>
                  <a:pt x="7325" y="325"/>
                </a:lnTo>
                <a:lnTo>
                  <a:pt x="7315" y="327"/>
                </a:lnTo>
                <a:lnTo>
                  <a:pt x="7313" y="327"/>
                </a:lnTo>
                <a:lnTo>
                  <a:pt x="7313" y="327"/>
                </a:lnTo>
                <a:lnTo>
                  <a:pt x="7360" y="317"/>
                </a:lnTo>
                <a:lnTo>
                  <a:pt x="7360" y="317"/>
                </a:lnTo>
                <a:lnTo>
                  <a:pt x="7327" y="323"/>
                </a:lnTo>
                <a:lnTo>
                  <a:pt x="7287" y="333"/>
                </a:lnTo>
                <a:lnTo>
                  <a:pt x="7287" y="333"/>
                </a:lnTo>
                <a:lnTo>
                  <a:pt x="7291" y="331"/>
                </a:lnTo>
                <a:lnTo>
                  <a:pt x="7257" y="339"/>
                </a:lnTo>
                <a:lnTo>
                  <a:pt x="7255" y="339"/>
                </a:lnTo>
                <a:lnTo>
                  <a:pt x="7255" y="339"/>
                </a:lnTo>
                <a:lnTo>
                  <a:pt x="7187" y="353"/>
                </a:lnTo>
                <a:lnTo>
                  <a:pt x="7101" y="373"/>
                </a:lnTo>
                <a:lnTo>
                  <a:pt x="7105" y="371"/>
                </a:lnTo>
                <a:lnTo>
                  <a:pt x="7105" y="371"/>
                </a:lnTo>
                <a:lnTo>
                  <a:pt x="7077" y="377"/>
                </a:lnTo>
                <a:lnTo>
                  <a:pt x="7055" y="383"/>
                </a:lnTo>
                <a:lnTo>
                  <a:pt x="7035" y="389"/>
                </a:lnTo>
                <a:lnTo>
                  <a:pt x="7003" y="397"/>
                </a:lnTo>
                <a:lnTo>
                  <a:pt x="7003" y="397"/>
                </a:lnTo>
                <a:lnTo>
                  <a:pt x="7011" y="393"/>
                </a:lnTo>
                <a:lnTo>
                  <a:pt x="7007" y="393"/>
                </a:lnTo>
                <a:lnTo>
                  <a:pt x="7007" y="393"/>
                </a:lnTo>
                <a:lnTo>
                  <a:pt x="6975" y="399"/>
                </a:lnTo>
                <a:lnTo>
                  <a:pt x="6943" y="405"/>
                </a:lnTo>
                <a:lnTo>
                  <a:pt x="6943" y="405"/>
                </a:lnTo>
                <a:lnTo>
                  <a:pt x="6953" y="403"/>
                </a:lnTo>
                <a:lnTo>
                  <a:pt x="6947" y="405"/>
                </a:lnTo>
                <a:lnTo>
                  <a:pt x="6939" y="407"/>
                </a:lnTo>
                <a:lnTo>
                  <a:pt x="6945" y="407"/>
                </a:lnTo>
                <a:lnTo>
                  <a:pt x="6945" y="407"/>
                </a:lnTo>
                <a:lnTo>
                  <a:pt x="6937" y="409"/>
                </a:lnTo>
                <a:lnTo>
                  <a:pt x="6914" y="415"/>
                </a:lnTo>
                <a:lnTo>
                  <a:pt x="6864" y="425"/>
                </a:lnTo>
                <a:lnTo>
                  <a:pt x="6864" y="425"/>
                </a:lnTo>
                <a:lnTo>
                  <a:pt x="6862" y="425"/>
                </a:lnTo>
                <a:lnTo>
                  <a:pt x="6864" y="423"/>
                </a:lnTo>
                <a:lnTo>
                  <a:pt x="6870" y="423"/>
                </a:lnTo>
                <a:lnTo>
                  <a:pt x="6896" y="417"/>
                </a:lnTo>
                <a:lnTo>
                  <a:pt x="6916" y="411"/>
                </a:lnTo>
                <a:lnTo>
                  <a:pt x="6916" y="411"/>
                </a:lnTo>
                <a:lnTo>
                  <a:pt x="6908" y="413"/>
                </a:lnTo>
                <a:lnTo>
                  <a:pt x="6908" y="413"/>
                </a:lnTo>
                <a:lnTo>
                  <a:pt x="6882" y="417"/>
                </a:lnTo>
                <a:lnTo>
                  <a:pt x="6892" y="417"/>
                </a:lnTo>
                <a:lnTo>
                  <a:pt x="6892" y="417"/>
                </a:lnTo>
                <a:lnTo>
                  <a:pt x="6834" y="427"/>
                </a:lnTo>
                <a:lnTo>
                  <a:pt x="6782" y="437"/>
                </a:lnTo>
                <a:lnTo>
                  <a:pt x="6782" y="437"/>
                </a:lnTo>
                <a:lnTo>
                  <a:pt x="6734" y="447"/>
                </a:lnTo>
                <a:lnTo>
                  <a:pt x="6698" y="455"/>
                </a:lnTo>
                <a:lnTo>
                  <a:pt x="6698" y="455"/>
                </a:lnTo>
                <a:lnTo>
                  <a:pt x="6722" y="451"/>
                </a:lnTo>
                <a:lnTo>
                  <a:pt x="6750" y="445"/>
                </a:lnTo>
                <a:lnTo>
                  <a:pt x="6720" y="453"/>
                </a:lnTo>
                <a:lnTo>
                  <a:pt x="6720" y="453"/>
                </a:lnTo>
                <a:lnTo>
                  <a:pt x="6666" y="461"/>
                </a:lnTo>
                <a:lnTo>
                  <a:pt x="6620" y="469"/>
                </a:lnTo>
                <a:lnTo>
                  <a:pt x="6650" y="463"/>
                </a:lnTo>
                <a:lnTo>
                  <a:pt x="6648" y="463"/>
                </a:lnTo>
                <a:lnTo>
                  <a:pt x="6648" y="463"/>
                </a:lnTo>
                <a:lnTo>
                  <a:pt x="6676" y="457"/>
                </a:lnTo>
                <a:lnTo>
                  <a:pt x="6692" y="453"/>
                </a:lnTo>
                <a:lnTo>
                  <a:pt x="6692" y="453"/>
                </a:lnTo>
                <a:lnTo>
                  <a:pt x="6654" y="461"/>
                </a:lnTo>
                <a:lnTo>
                  <a:pt x="6612" y="469"/>
                </a:lnTo>
                <a:lnTo>
                  <a:pt x="6612" y="469"/>
                </a:lnTo>
                <a:lnTo>
                  <a:pt x="6612" y="469"/>
                </a:lnTo>
                <a:lnTo>
                  <a:pt x="6570" y="477"/>
                </a:lnTo>
                <a:lnTo>
                  <a:pt x="6532" y="483"/>
                </a:lnTo>
                <a:lnTo>
                  <a:pt x="6499" y="489"/>
                </a:lnTo>
                <a:lnTo>
                  <a:pt x="6469" y="495"/>
                </a:lnTo>
                <a:lnTo>
                  <a:pt x="6469" y="495"/>
                </a:lnTo>
                <a:lnTo>
                  <a:pt x="6489" y="493"/>
                </a:lnTo>
                <a:lnTo>
                  <a:pt x="6495" y="493"/>
                </a:lnTo>
                <a:lnTo>
                  <a:pt x="6497" y="493"/>
                </a:lnTo>
                <a:lnTo>
                  <a:pt x="6495" y="493"/>
                </a:lnTo>
                <a:lnTo>
                  <a:pt x="6495" y="493"/>
                </a:lnTo>
                <a:lnTo>
                  <a:pt x="6465" y="497"/>
                </a:lnTo>
                <a:lnTo>
                  <a:pt x="6445" y="501"/>
                </a:lnTo>
                <a:lnTo>
                  <a:pt x="6459" y="497"/>
                </a:lnTo>
                <a:lnTo>
                  <a:pt x="6459" y="497"/>
                </a:lnTo>
                <a:lnTo>
                  <a:pt x="6391" y="509"/>
                </a:lnTo>
                <a:lnTo>
                  <a:pt x="6391" y="509"/>
                </a:lnTo>
                <a:lnTo>
                  <a:pt x="6385" y="511"/>
                </a:lnTo>
                <a:lnTo>
                  <a:pt x="6367" y="515"/>
                </a:lnTo>
                <a:lnTo>
                  <a:pt x="6367" y="515"/>
                </a:lnTo>
                <a:lnTo>
                  <a:pt x="6345" y="519"/>
                </a:lnTo>
                <a:lnTo>
                  <a:pt x="6351" y="517"/>
                </a:lnTo>
                <a:lnTo>
                  <a:pt x="6361" y="515"/>
                </a:lnTo>
                <a:lnTo>
                  <a:pt x="6349" y="515"/>
                </a:lnTo>
                <a:lnTo>
                  <a:pt x="6293" y="525"/>
                </a:lnTo>
                <a:lnTo>
                  <a:pt x="6281" y="527"/>
                </a:lnTo>
                <a:lnTo>
                  <a:pt x="6281" y="527"/>
                </a:lnTo>
                <a:lnTo>
                  <a:pt x="6165" y="547"/>
                </a:lnTo>
                <a:lnTo>
                  <a:pt x="6044" y="567"/>
                </a:lnTo>
                <a:lnTo>
                  <a:pt x="6044" y="567"/>
                </a:lnTo>
                <a:lnTo>
                  <a:pt x="6052" y="565"/>
                </a:lnTo>
                <a:lnTo>
                  <a:pt x="6076" y="561"/>
                </a:lnTo>
                <a:lnTo>
                  <a:pt x="6129" y="551"/>
                </a:lnTo>
                <a:lnTo>
                  <a:pt x="6129" y="551"/>
                </a:lnTo>
                <a:lnTo>
                  <a:pt x="6080" y="559"/>
                </a:lnTo>
                <a:lnTo>
                  <a:pt x="6024" y="567"/>
                </a:lnTo>
                <a:lnTo>
                  <a:pt x="6024" y="567"/>
                </a:lnTo>
                <a:lnTo>
                  <a:pt x="5980" y="575"/>
                </a:lnTo>
                <a:lnTo>
                  <a:pt x="5970" y="577"/>
                </a:lnTo>
                <a:lnTo>
                  <a:pt x="5968" y="577"/>
                </a:lnTo>
                <a:lnTo>
                  <a:pt x="5968" y="579"/>
                </a:lnTo>
                <a:lnTo>
                  <a:pt x="5968" y="579"/>
                </a:lnTo>
                <a:lnTo>
                  <a:pt x="5936" y="583"/>
                </a:lnTo>
                <a:lnTo>
                  <a:pt x="5932" y="583"/>
                </a:lnTo>
                <a:lnTo>
                  <a:pt x="5932" y="583"/>
                </a:lnTo>
                <a:lnTo>
                  <a:pt x="5890" y="591"/>
                </a:lnTo>
                <a:lnTo>
                  <a:pt x="5832" y="599"/>
                </a:lnTo>
                <a:lnTo>
                  <a:pt x="5830" y="599"/>
                </a:lnTo>
                <a:lnTo>
                  <a:pt x="5776" y="607"/>
                </a:lnTo>
                <a:lnTo>
                  <a:pt x="5776" y="607"/>
                </a:lnTo>
                <a:lnTo>
                  <a:pt x="5782" y="607"/>
                </a:lnTo>
                <a:lnTo>
                  <a:pt x="5778" y="609"/>
                </a:lnTo>
                <a:lnTo>
                  <a:pt x="5764" y="611"/>
                </a:lnTo>
                <a:lnTo>
                  <a:pt x="5764" y="611"/>
                </a:lnTo>
                <a:lnTo>
                  <a:pt x="5806" y="605"/>
                </a:lnTo>
                <a:lnTo>
                  <a:pt x="5850" y="599"/>
                </a:lnTo>
                <a:lnTo>
                  <a:pt x="5894" y="591"/>
                </a:lnTo>
                <a:lnTo>
                  <a:pt x="5936" y="587"/>
                </a:lnTo>
                <a:lnTo>
                  <a:pt x="5936" y="587"/>
                </a:lnTo>
                <a:lnTo>
                  <a:pt x="5930" y="587"/>
                </a:lnTo>
                <a:lnTo>
                  <a:pt x="5930" y="589"/>
                </a:lnTo>
                <a:lnTo>
                  <a:pt x="5932" y="589"/>
                </a:lnTo>
                <a:lnTo>
                  <a:pt x="5926" y="589"/>
                </a:lnTo>
                <a:lnTo>
                  <a:pt x="5926" y="589"/>
                </a:lnTo>
                <a:lnTo>
                  <a:pt x="5908" y="591"/>
                </a:lnTo>
                <a:lnTo>
                  <a:pt x="5908" y="591"/>
                </a:lnTo>
                <a:lnTo>
                  <a:pt x="5894" y="595"/>
                </a:lnTo>
                <a:lnTo>
                  <a:pt x="5906" y="593"/>
                </a:lnTo>
                <a:lnTo>
                  <a:pt x="5906" y="593"/>
                </a:lnTo>
                <a:lnTo>
                  <a:pt x="5896" y="597"/>
                </a:lnTo>
                <a:lnTo>
                  <a:pt x="5872" y="601"/>
                </a:lnTo>
                <a:lnTo>
                  <a:pt x="5808" y="611"/>
                </a:lnTo>
                <a:lnTo>
                  <a:pt x="5808" y="611"/>
                </a:lnTo>
                <a:lnTo>
                  <a:pt x="5800" y="611"/>
                </a:lnTo>
                <a:lnTo>
                  <a:pt x="5814" y="607"/>
                </a:lnTo>
                <a:lnTo>
                  <a:pt x="5856" y="601"/>
                </a:lnTo>
                <a:lnTo>
                  <a:pt x="5856" y="601"/>
                </a:lnTo>
                <a:lnTo>
                  <a:pt x="5834" y="603"/>
                </a:lnTo>
                <a:lnTo>
                  <a:pt x="5808" y="609"/>
                </a:lnTo>
                <a:lnTo>
                  <a:pt x="5812" y="605"/>
                </a:lnTo>
                <a:lnTo>
                  <a:pt x="5812" y="605"/>
                </a:lnTo>
                <a:lnTo>
                  <a:pt x="5782" y="611"/>
                </a:lnTo>
                <a:lnTo>
                  <a:pt x="5788" y="611"/>
                </a:lnTo>
                <a:lnTo>
                  <a:pt x="5788" y="611"/>
                </a:lnTo>
                <a:lnTo>
                  <a:pt x="5786" y="613"/>
                </a:lnTo>
                <a:lnTo>
                  <a:pt x="5786" y="613"/>
                </a:lnTo>
                <a:lnTo>
                  <a:pt x="5772" y="615"/>
                </a:lnTo>
                <a:lnTo>
                  <a:pt x="5754" y="620"/>
                </a:lnTo>
                <a:lnTo>
                  <a:pt x="5720" y="624"/>
                </a:lnTo>
                <a:lnTo>
                  <a:pt x="5738" y="620"/>
                </a:lnTo>
                <a:lnTo>
                  <a:pt x="5738" y="620"/>
                </a:lnTo>
                <a:lnTo>
                  <a:pt x="5690" y="628"/>
                </a:lnTo>
                <a:lnTo>
                  <a:pt x="5645" y="634"/>
                </a:lnTo>
                <a:lnTo>
                  <a:pt x="5627" y="636"/>
                </a:lnTo>
                <a:lnTo>
                  <a:pt x="5627" y="636"/>
                </a:lnTo>
                <a:lnTo>
                  <a:pt x="5657" y="632"/>
                </a:lnTo>
                <a:lnTo>
                  <a:pt x="5680" y="628"/>
                </a:lnTo>
                <a:lnTo>
                  <a:pt x="5696" y="624"/>
                </a:lnTo>
                <a:lnTo>
                  <a:pt x="5714" y="622"/>
                </a:lnTo>
                <a:lnTo>
                  <a:pt x="5714" y="622"/>
                </a:lnTo>
                <a:lnTo>
                  <a:pt x="5688" y="624"/>
                </a:lnTo>
                <a:lnTo>
                  <a:pt x="5698" y="622"/>
                </a:lnTo>
                <a:lnTo>
                  <a:pt x="5752" y="611"/>
                </a:lnTo>
                <a:lnTo>
                  <a:pt x="5752" y="611"/>
                </a:lnTo>
                <a:lnTo>
                  <a:pt x="5676" y="622"/>
                </a:lnTo>
                <a:lnTo>
                  <a:pt x="5676" y="622"/>
                </a:lnTo>
                <a:lnTo>
                  <a:pt x="5643" y="626"/>
                </a:lnTo>
                <a:lnTo>
                  <a:pt x="5607" y="632"/>
                </a:lnTo>
                <a:lnTo>
                  <a:pt x="5573" y="636"/>
                </a:lnTo>
                <a:lnTo>
                  <a:pt x="5541" y="642"/>
                </a:lnTo>
                <a:lnTo>
                  <a:pt x="5541" y="642"/>
                </a:lnTo>
                <a:lnTo>
                  <a:pt x="5533" y="642"/>
                </a:lnTo>
                <a:lnTo>
                  <a:pt x="5539" y="642"/>
                </a:lnTo>
                <a:lnTo>
                  <a:pt x="5545" y="640"/>
                </a:lnTo>
                <a:lnTo>
                  <a:pt x="5537" y="642"/>
                </a:lnTo>
                <a:lnTo>
                  <a:pt x="5537" y="642"/>
                </a:lnTo>
                <a:lnTo>
                  <a:pt x="5395" y="662"/>
                </a:lnTo>
                <a:lnTo>
                  <a:pt x="5395" y="662"/>
                </a:lnTo>
                <a:lnTo>
                  <a:pt x="5375" y="664"/>
                </a:lnTo>
                <a:lnTo>
                  <a:pt x="5367" y="664"/>
                </a:lnTo>
                <a:lnTo>
                  <a:pt x="5367" y="664"/>
                </a:lnTo>
                <a:lnTo>
                  <a:pt x="5289" y="674"/>
                </a:lnTo>
                <a:lnTo>
                  <a:pt x="5222" y="684"/>
                </a:lnTo>
                <a:lnTo>
                  <a:pt x="5154" y="692"/>
                </a:lnTo>
                <a:lnTo>
                  <a:pt x="5068" y="704"/>
                </a:lnTo>
                <a:lnTo>
                  <a:pt x="5088" y="700"/>
                </a:lnTo>
                <a:lnTo>
                  <a:pt x="5088" y="700"/>
                </a:lnTo>
                <a:lnTo>
                  <a:pt x="5050" y="704"/>
                </a:lnTo>
                <a:lnTo>
                  <a:pt x="5022" y="708"/>
                </a:lnTo>
                <a:lnTo>
                  <a:pt x="5022" y="708"/>
                </a:lnTo>
                <a:lnTo>
                  <a:pt x="4988" y="712"/>
                </a:lnTo>
                <a:lnTo>
                  <a:pt x="4946" y="718"/>
                </a:lnTo>
                <a:lnTo>
                  <a:pt x="4900" y="724"/>
                </a:lnTo>
                <a:lnTo>
                  <a:pt x="4860" y="726"/>
                </a:lnTo>
                <a:lnTo>
                  <a:pt x="4860" y="726"/>
                </a:lnTo>
                <a:lnTo>
                  <a:pt x="4803" y="734"/>
                </a:lnTo>
                <a:lnTo>
                  <a:pt x="4753" y="742"/>
                </a:lnTo>
                <a:lnTo>
                  <a:pt x="4753" y="742"/>
                </a:lnTo>
                <a:lnTo>
                  <a:pt x="4757" y="740"/>
                </a:lnTo>
                <a:lnTo>
                  <a:pt x="4743" y="740"/>
                </a:lnTo>
                <a:lnTo>
                  <a:pt x="4743" y="740"/>
                </a:lnTo>
                <a:lnTo>
                  <a:pt x="4525" y="766"/>
                </a:lnTo>
                <a:lnTo>
                  <a:pt x="4294" y="790"/>
                </a:lnTo>
                <a:lnTo>
                  <a:pt x="4294" y="790"/>
                </a:lnTo>
                <a:lnTo>
                  <a:pt x="4308" y="788"/>
                </a:lnTo>
                <a:lnTo>
                  <a:pt x="4308" y="788"/>
                </a:lnTo>
                <a:lnTo>
                  <a:pt x="4152" y="806"/>
                </a:lnTo>
                <a:lnTo>
                  <a:pt x="4008" y="820"/>
                </a:lnTo>
                <a:lnTo>
                  <a:pt x="4008" y="820"/>
                </a:lnTo>
                <a:lnTo>
                  <a:pt x="3969" y="824"/>
                </a:lnTo>
                <a:lnTo>
                  <a:pt x="3955" y="826"/>
                </a:lnTo>
                <a:lnTo>
                  <a:pt x="3953" y="828"/>
                </a:lnTo>
                <a:lnTo>
                  <a:pt x="3957" y="828"/>
                </a:lnTo>
                <a:lnTo>
                  <a:pt x="3957" y="828"/>
                </a:lnTo>
                <a:lnTo>
                  <a:pt x="3975" y="826"/>
                </a:lnTo>
                <a:lnTo>
                  <a:pt x="3979" y="828"/>
                </a:lnTo>
                <a:lnTo>
                  <a:pt x="3979" y="828"/>
                </a:lnTo>
                <a:lnTo>
                  <a:pt x="3979" y="828"/>
                </a:lnTo>
                <a:lnTo>
                  <a:pt x="3939" y="832"/>
                </a:lnTo>
                <a:lnTo>
                  <a:pt x="3923" y="832"/>
                </a:lnTo>
                <a:lnTo>
                  <a:pt x="3913" y="832"/>
                </a:lnTo>
                <a:lnTo>
                  <a:pt x="3887" y="834"/>
                </a:lnTo>
                <a:lnTo>
                  <a:pt x="3887" y="834"/>
                </a:lnTo>
                <a:lnTo>
                  <a:pt x="3883" y="834"/>
                </a:lnTo>
                <a:lnTo>
                  <a:pt x="3885" y="834"/>
                </a:lnTo>
                <a:lnTo>
                  <a:pt x="3897" y="832"/>
                </a:lnTo>
                <a:lnTo>
                  <a:pt x="3913" y="830"/>
                </a:lnTo>
                <a:lnTo>
                  <a:pt x="3919" y="828"/>
                </a:lnTo>
                <a:lnTo>
                  <a:pt x="3843" y="836"/>
                </a:lnTo>
                <a:lnTo>
                  <a:pt x="3843" y="836"/>
                </a:lnTo>
                <a:lnTo>
                  <a:pt x="3781" y="842"/>
                </a:lnTo>
                <a:lnTo>
                  <a:pt x="3721" y="848"/>
                </a:lnTo>
                <a:lnTo>
                  <a:pt x="3721" y="848"/>
                </a:lnTo>
                <a:lnTo>
                  <a:pt x="3733" y="846"/>
                </a:lnTo>
                <a:lnTo>
                  <a:pt x="3753" y="844"/>
                </a:lnTo>
                <a:lnTo>
                  <a:pt x="3753" y="844"/>
                </a:lnTo>
                <a:lnTo>
                  <a:pt x="3749" y="844"/>
                </a:lnTo>
                <a:lnTo>
                  <a:pt x="3749" y="844"/>
                </a:lnTo>
                <a:lnTo>
                  <a:pt x="3797" y="840"/>
                </a:lnTo>
                <a:lnTo>
                  <a:pt x="3839" y="834"/>
                </a:lnTo>
                <a:lnTo>
                  <a:pt x="3839" y="834"/>
                </a:lnTo>
                <a:lnTo>
                  <a:pt x="3677" y="850"/>
                </a:lnTo>
                <a:lnTo>
                  <a:pt x="3677" y="850"/>
                </a:lnTo>
                <a:lnTo>
                  <a:pt x="3679" y="850"/>
                </a:lnTo>
                <a:lnTo>
                  <a:pt x="3675" y="850"/>
                </a:lnTo>
                <a:lnTo>
                  <a:pt x="3661" y="852"/>
                </a:lnTo>
                <a:lnTo>
                  <a:pt x="3629" y="856"/>
                </a:lnTo>
                <a:lnTo>
                  <a:pt x="3627" y="856"/>
                </a:lnTo>
                <a:lnTo>
                  <a:pt x="3627" y="856"/>
                </a:lnTo>
                <a:lnTo>
                  <a:pt x="3591" y="860"/>
                </a:lnTo>
                <a:lnTo>
                  <a:pt x="3579" y="860"/>
                </a:lnTo>
                <a:lnTo>
                  <a:pt x="3579" y="860"/>
                </a:lnTo>
                <a:lnTo>
                  <a:pt x="3573" y="860"/>
                </a:lnTo>
                <a:lnTo>
                  <a:pt x="3564" y="862"/>
                </a:lnTo>
                <a:lnTo>
                  <a:pt x="3564" y="862"/>
                </a:lnTo>
                <a:lnTo>
                  <a:pt x="3490" y="868"/>
                </a:lnTo>
                <a:lnTo>
                  <a:pt x="3452" y="872"/>
                </a:lnTo>
                <a:lnTo>
                  <a:pt x="3432" y="872"/>
                </a:lnTo>
                <a:lnTo>
                  <a:pt x="3432" y="872"/>
                </a:lnTo>
                <a:lnTo>
                  <a:pt x="3354" y="880"/>
                </a:lnTo>
                <a:lnTo>
                  <a:pt x="3354" y="880"/>
                </a:lnTo>
                <a:lnTo>
                  <a:pt x="3366" y="878"/>
                </a:lnTo>
                <a:lnTo>
                  <a:pt x="3366" y="878"/>
                </a:lnTo>
                <a:lnTo>
                  <a:pt x="3248" y="888"/>
                </a:lnTo>
                <a:lnTo>
                  <a:pt x="3131" y="896"/>
                </a:lnTo>
                <a:lnTo>
                  <a:pt x="3131" y="896"/>
                </a:lnTo>
                <a:lnTo>
                  <a:pt x="2991" y="910"/>
                </a:lnTo>
                <a:lnTo>
                  <a:pt x="2991" y="910"/>
                </a:lnTo>
                <a:lnTo>
                  <a:pt x="3023" y="908"/>
                </a:lnTo>
                <a:lnTo>
                  <a:pt x="3031" y="906"/>
                </a:lnTo>
                <a:lnTo>
                  <a:pt x="3023" y="908"/>
                </a:lnTo>
                <a:lnTo>
                  <a:pt x="3023" y="908"/>
                </a:lnTo>
                <a:lnTo>
                  <a:pt x="2961" y="914"/>
                </a:lnTo>
                <a:lnTo>
                  <a:pt x="2961" y="914"/>
                </a:lnTo>
                <a:lnTo>
                  <a:pt x="2939" y="914"/>
                </a:lnTo>
                <a:lnTo>
                  <a:pt x="2931" y="914"/>
                </a:lnTo>
                <a:lnTo>
                  <a:pt x="2947" y="914"/>
                </a:lnTo>
                <a:lnTo>
                  <a:pt x="2947" y="914"/>
                </a:lnTo>
                <a:lnTo>
                  <a:pt x="2927" y="914"/>
                </a:lnTo>
                <a:lnTo>
                  <a:pt x="2893" y="916"/>
                </a:lnTo>
                <a:lnTo>
                  <a:pt x="2861" y="918"/>
                </a:lnTo>
                <a:lnTo>
                  <a:pt x="2847" y="920"/>
                </a:lnTo>
                <a:lnTo>
                  <a:pt x="2847" y="920"/>
                </a:lnTo>
                <a:lnTo>
                  <a:pt x="2801" y="924"/>
                </a:lnTo>
                <a:lnTo>
                  <a:pt x="2743" y="928"/>
                </a:lnTo>
                <a:lnTo>
                  <a:pt x="2743" y="928"/>
                </a:lnTo>
                <a:lnTo>
                  <a:pt x="2759" y="926"/>
                </a:lnTo>
                <a:lnTo>
                  <a:pt x="2779" y="924"/>
                </a:lnTo>
                <a:lnTo>
                  <a:pt x="2749" y="926"/>
                </a:lnTo>
                <a:lnTo>
                  <a:pt x="2749" y="926"/>
                </a:lnTo>
                <a:lnTo>
                  <a:pt x="2749" y="926"/>
                </a:lnTo>
                <a:lnTo>
                  <a:pt x="2688" y="932"/>
                </a:lnTo>
                <a:lnTo>
                  <a:pt x="2644" y="936"/>
                </a:lnTo>
                <a:lnTo>
                  <a:pt x="2646" y="936"/>
                </a:lnTo>
                <a:lnTo>
                  <a:pt x="2622" y="938"/>
                </a:lnTo>
                <a:lnTo>
                  <a:pt x="2650" y="934"/>
                </a:lnTo>
                <a:lnTo>
                  <a:pt x="2650" y="934"/>
                </a:lnTo>
                <a:lnTo>
                  <a:pt x="2552" y="944"/>
                </a:lnTo>
                <a:lnTo>
                  <a:pt x="2546" y="944"/>
                </a:lnTo>
                <a:lnTo>
                  <a:pt x="2522" y="946"/>
                </a:lnTo>
                <a:lnTo>
                  <a:pt x="2522" y="946"/>
                </a:lnTo>
                <a:lnTo>
                  <a:pt x="2524" y="944"/>
                </a:lnTo>
                <a:lnTo>
                  <a:pt x="2524" y="944"/>
                </a:lnTo>
                <a:lnTo>
                  <a:pt x="2474" y="950"/>
                </a:lnTo>
                <a:lnTo>
                  <a:pt x="2426" y="954"/>
                </a:lnTo>
                <a:lnTo>
                  <a:pt x="2426" y="954"/>
                </a:lnTo>
                <a:lnTo>
                  <a:pt x="2400" y="954"/>
                </a:lnTo>
                <a:lnTo>
                  <a:pt x="2372" y="956"/>
                </a:lnTo>
                <a:lnTo>
                  <a:pt x="2376" y="954"/>
                </a:lnTo>
                <a:lnTo>
                  <a:pt x="2376" y="954"/>
                </a:lnTo>
                <a:lnTo>
                  <a:pt x="2414" y="952"/>
                </a:lnTo>
                <a:lnTo>
                  <a:pt x="2456" y="950"/>
                </a:lnTo>
                <a:lnTo>
                  <a:pt x="2456" y="950"/>
                </a:lnTo>
                <a:lnTo>
                  <a:pt x="2410" y="952"/>
                </a:lnTo>
                <a:lnTo>
                  <a:pt x="2346" y="954"/>
                </a:lnTo>
                <a:lnTo>
                  <a:pt x="2209" y="964"/>
                </a:lnTo>
                <a:lnTo>
                  <a:pt x="2209" y="964"/>
                </a:lnTo>
                <a:lnTo>
                  <a:pt x="2095" y="972"/>
                </a:lnTo>
                <a:lnTo>
                  <a:pt x="2043" y="976"/>
                </a:lnTo>
                <a:lnTo>
                  <a:pt x="2009" y="978"/>
                </a:lnTo>
                <a:lnTo>
                  <a:pt x="2017" y="978"/>
                </a:lnTo>
                <a:lnTo>
                  <a:pt x="1907" y="982"/>
                </a:lnTo>
                <a:lnTo>
                  <a:pt x="1907" y="982"/>
                </a:lnTo>
                <a:lnTo>
                  <a:pt x="1768" y="992"/>
                </a:lnTo>
                <a:lnTo>
                  <a:pt x="1646" y="1000"/>
                </a:lnTo>
                <a:lnTo>
                  <a:pt x="1626" y="1000"/>
                </a:lnTo>
                <a:lnTo>
                  <a:pt x="1626" y="1000"/>
                </a:lnTo>
                <a:lnTo>
                  <a:pt x="1556" y="1006"/>
                </a:lnTo>
                <a:lnTo>
                  <a:pt x="1467" y="1010"/>
                </a:lnTo>
                <a:lnTo>
                  <a:pt x="1385" y="1016"/>
                </a:lnTo>
                <a:lnTo>
                  <a:pt x="1327" y="1022"/>
                </a:lnTo>
                <a:lnTo>
                  <a:pt x="1327" y="1022"/>
                </a:lnTo>
                <a:lnTo>
                  <a:pt x="1311" y="1022"/>
                </a:lnTo>
                <a:lnTo>
                  <a:pt x="1319" y="1020"/>
                </a:lnTo>
                <a:lnTo>
                  <a:pt x="1343" y="1018"/>
                </a:lnTo>
                <a:lnTo>
                  <a:pt x="1343" y="1018"/>
                </a:lnTo>
                <a:lnTo>
                  <a:pt x="1287" y="1022"/>
                </a:lnTo>
                <a:lnTo>
                  <a:pt x="1259" y="1024"/>
                </a:lnTo>
                <a:lnTo>
                  <a:pt x="1233" y="1024"/>
                </a:lnTo>
                <a:lnTo>
                  <a:pt x="1233" y="1024"/>
                </a:lnTo>
                <a:lnTo>
                  <a:pt x="1251" y="1024"/>
                </a:lnTo>
                <a:lnTo>
                  <a:pt x="1261" y="1022"/>
                </a:lnTo>
                <a:lnTo>
                  <a:pt x="1257" y="1022"/>
                </a:lnTo>
                <a:lnTo>
                  <a:pt x="1257" y="1022"/>
                </a:lnTo>
                <a:lnTo>
                  <a:pt x="1229" y="1024"/>
                </a:lnTo>
                <a:lnTo>
                  <a:pt x="1199" y="1026"/>
                </a:lnTo>
                <a:lnTo>
                  <a:pt x="1199" y="1026"/>
                </a:lnTo>
                <a:lnTo>
                  <a:pt x="1201" y="1026"/>
                </a:lnTo>
                <a:lnTo>
                  <a:pt x="1197" y="1026"/>
                </a:lnTo>
                <a:lnTo>
                  <a:pt x="1179" y="1028"/>
                </a:lnTo>
                <a:lnTo>
                  <a:pt x="1121" y="1032"/>
                </a:lnTo>
                <a:lnTo>
                  <a:pt x="1121" y="1032"/>
                </a:lnTo>
                <a:lnTo>
                  <a:pt x="1131" y="1032"/>
                </a:lnTo>
                <a:lnTo>
                  <a:pt x="1131" y="1032"/>
                </a:lnTo>
                <a:lnTo>
                  <a:pt x="1121" y="1034"/>
                </a:lnTo>
                <a:lnTo>
                  <a:pt x="1095" y="1034"/>
                </a:lnTo>
                <a:lnTo>
                  <a:pt x="1095" y="1034"/>
                </a:lnTo>
                <a:lnTo>
                  <a:pt x="1099" y="1034"/>
                </a:lnTo>
                <a:lnTo>
                  <a:pt x="1099" y="1034"/>
                </a:lnTo>
                <a:lnTo>
                  <a:pt x="794" y="1050"/>
                </a:lnTo>
                <a:lnTo>
                  <a:pt x="481" y="1064"/>
                </a:lnTo>
                <a:lnTo>
                  <a:pt x="517" y="1062"/>
                </a:lnTo>
                <a:lnTo>
                  <a:pt x="517" y="1062"/>
                </a:lnTo>
                <a:lnTo>
                  <a:pt x="421" y="1066"/>
                </a:lnTo>
                <a:lnTo>
                  <a:pt x="425" y="1066"/>
                </a:lnTo>
                <a:lnTo>
                  <a:pt x="425" y="1066"/>
                </a:lnTo>
                <a:lnTo>
                  <a:pt x="391" y="1066"/>
                </a:lnTo>
                <a:lnTo>
                  <a:pt x="369" y="1068"/>
                </a:lnTo>
                <a:lnTo>
                  <a:pt x="347" y="1071"/>
                </a:lnTo>
                <a:lnTo>
                  <a:pt x="321" y="1071"/>
                </a:lnTo>
                <a:lnTo>
                  <a:pt x="331" y="1068"/>
                </a:lnTo>
                <a:lnTo>
                  <a:pt x="331" y="1068"/>
                </a:lnTo>
                <a:lnTo>
                  <a:pt x="245" y="1073"/>
                </a:lnTo>
                <a:lnTo>
                  <a:pt x="160" y="1075"/>
                </a:lnTo>
                <a:lnTo>
                  <a:pt x="160" y="1075"/>
                </a:lnTo>
                <a:lnTo>
                  <a:pt x="116" y="1077"/>
                </a:lnTo>
                <a:lnTo>
                  <a:pt x="82" y="1077"/>
                </a:lnTo>
                <a:lnTo>
                  <a:pt x="82" y="1077"/>
                </a:lnTo>
                <a:lnTo>
                  <a:pt x="48" y="1079"/>
                </a:lnTo>
                <a:lnTo>
                  <a:pt x="36" y="1079"/>
                </a:lnTo>
                <a:lnTo>
                  <a:pt x="50" y="1079"/>
                </a:lnTo>
                <a:lnTo>
                  <a:pt x="50" y="1079"/>
                </a:lnTo>
                <a:lnTo>
                  <a:pt x="54" y="1079"/>
                </a:lnTo>
                <a:lnTo>
                  <a:pt x="52" y="1079"/>
                </a:lnTo>
                <a:lnTo>
                  <a:pt x="38" y="1081"/>
                </a:lnTo>
                <a:lnTo>
                  <a:pt x="0" y="1083"/>
                </a:lnTo>
                <a:lnTo>
                  <a:pt x="0" y="1083"/>
                </a:lnTo>
                <a:lnTo>
                  <a:pt x="16" y="1085"/>
                </a:lnTo>
                <a:lnTo>
                  <a:pt x="32" y="1087"/>
                </a:lnTo>
                <a:lnTo>
                  <a:pt x="66" y="1087"/>
                </a:lnTo>
                <a:lnTo>
                  <a:pt x="66" y="1087"/>
                </a:lnTo>
                <a:lnTo>
                  <a:pt x="90" y="1085"/>
                </a:lnTo>
                <a:lnTo>
                  <a:pt x="108" y="1087"/>
                </a:lnTo>
                <a:lnTo>
                  <a:pt x="128" y="1087"/>
                </a:lnTo>
                <a:lnTo>
                  <a:pt x="156" y="1085"/>
                </a:lnTo>
                <a:lnTo>
                  <a:pt x="156" y="1085"/>
                </a:lnTo>
                <a:lnTo>
                  <a:pt x="180" y="1085"/>
                </a:lnTo>
                <a:lnTo>
                  <a:pt x="206" y="1083"/>
                </a:lnTo>
                <a:lnTo>
                  <a:pt x="239" y="1083"/>
                </a:lnTo>
                <a:lnTo>
                  <a:pt x="271" y="1081"/>
                </a:lnTo>
                <a:lnTo>
                  <a:pt x="271" y="1081"/>
                </a:lnTo>
                <a:lnTo>
                  <a:pt x="267" y="1081"/>
                </a:lnTo>
                <a:lnTo>
                  <a:pt x="269" y="1081"/>
                </a:lnTo>
                <a:lnTo>
                  <a:pt x="283" y="1081"/>
                </a:lnTo>
                <a:lnTo>
                  <a:pt x="295" y="1081"/>
                </a:lnTo>
                <a:lnTo>
                  <a:pt x="285" y="1083"/>
                </a:lnTo>
                <a:lnTo>
                  <a:pt x="285" y="1083"/>
                </a:lnTo>
                <a:lnTo>
                  <a:pt x="343" y="1081"/>
                </a:lnTo>
                <a:lnTo>
                  <a:pt x="415" y="1077"/>
                </a:lnTo>
                <a:lnTo>
                  <a:pt x="415" y="1077"/>
                </a:lnTo>
                <a:lnTo>
                  <a:pt x="401" y="1079"/>
                </a:lnTo>
                <a:lnTo>
                  <a:pt x="401" y="1079"/>
                </a:lnTo>
                <a:lnTo>
                  <a:pt x="441" y="1077"/>
                </a:lnTo>
                <a:lnTo>
                  <a:pt x="471" y="1077"/>
                </a:lnTo>
                <a:lnTo>
                  <a:pt x="471" y="1075"/>
                </a:lnTo>
                <a:lnTo>
                  <a:pt x="471" y="1075"/>
                </a:lnTo>
                <a:lnTo>
                  <a:pt x="501" y="1075"/>
                </a:lnTo>
                <a:lnTo>
                  <a:pt x="501" y="1075"/>
                </a:lnTo>
                <a:lnTo>
                  <a:pt x="483" y="1075"/>
                </a:lnTo>
                <a:lnTo>
                  <a:pt x="479" y="1075"/>
                </a:lnTo>
                <a:lnTo>
                  <a:pt x="481" y="1075"/>
                </a:lnTo>
                <a:lnTo>
                  <a:pt x="481" y="1075"/>
                </a:lnTo>
                <a:lnTo>
                  <a:pt x="529" y="1071"/>
                </a:lnTo>
                <a:lnTo>
                  <a:pt x="529" y="1071"/>
                </a:lnTo>
                <a:lnTo>
                  <a:pt x="509" y="1073"/>
                </a:lnTo>
                <a:lnTo>
                  <a:pt x="509" y="1073"/>
                </a:lnTo>
                <a:lnTo>
                  <a:pt x="551" y="1073"/>
                </a:lnTo>
                <a:lnTo>
                  <a:pt x="551" y="1073"/>
                </a:lnTo>
                <a:lnTo>
                  <a:pt x="507" y="1075"/>
                </a:lnTo>
                <a:lnTo>
                  <a:pt x="507" y="1075"/>
                </a:lnTo>
                <a:lnTo>
                  <a:pt x="531" y="1075"/>
                </a:lnTo>
                <a:lnTo>
                  <a:pt x="527" y="1075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5"/>
                </a:lnTo>
                <a:lnTo>
                  <a:pt x="541" y="1075"/>
                </a:lnTo>
                <a:lnTo>
                  <a:pt x="559" y="1075"/>
                </a:lnTo>
                <a:lnTo>
                  <a:pt x="607" y="1071"/>
                </a:lnTo>
                <a:lnTo>
                  <a:pt x="607" y="1071"/>
                </a:lnTo>
                <a:lnTo>
                  <a:pt x="599" y="1073"/>
                </a:lnTo>
                <a:lnTo>
                  <a:pt x="581" y="1073"/>
                </a:lnTo>
                <a:lnTo>
                  <a:pt x="581" y="1073"/>
                </a:lnTo>
                <a:lnTo>
                  <a:pt x="617" y="1073"/>
                </a:lnTo>
                <a:lnTo>
                  <a:pt x="650" y="1073"/>
                </a:lnTo>
                <a:lnTo>
                  <a:pt x="686" y="1068"/>
                </a:lnTo>
                <a:lnTo>
                  <a:pt x="730" y="1066"/>
                </a:lnTo>
                <a:lnTo>
                  <a:pt x="730" y="1066"/>
                </a:lnTo>
                <a:lnTo>
                  <a:pt x="716" y="1068"/>
                </a:lnTo>
                <a:lnTo>
                  <a:pt x="716" y="1068"/>
                </a:lnTo>
                <a:lnTo>
                  <a:pt x="758" y="1066"/>
                </a:lnTo>
                <a:lnTo>
                  <a:pt x="792" y="1064"/>
                </a:lnTo>
                <a:lnTo>
                  <a:pt x="792" y="1064"/>
                </a:lnTo>
                <a:lnTo>
                  <a:pt x="806" y="1064"/>
                </a:lnTo>
                <a:lnTo>
                  <a:pt x="812" y="1064"/>
                </a:lnTo>
                <a:lnTo>
                  <a:pt x="844" y="1064"/>
                </a:lnTo>
                <a:lnTo>
                  <a:pt x="844" y="1064"/>
                </a:lnTo>
                <a:lnTo>
                  <a:pt x="842" y="1064"/>
                </a:lnTo>
                <a:lnTo>
                  <a:pt x="848" y="1064"/>
                </a:lnTo>
                <a:lnTo>
                  <a:pt x="866" y="1062"/>
                </a:lnTo>
                <a:lnTo>
                  <a:pt x="890" y="1062"/>
                </a:lnTo>
                <a:lnTo>
                  <a:pt x="902" y="1060"/>
                </a:lnTo>
                <a:lnTo>
                  <a:pt x="938" y="1060"/>
                </a:lnTo>
                <a:lnTo>
                  <a:pt x="938" y="1060"/>
                </a:lnTo>
                <a:lnTo>
                  <a:pt x="950" y="1058"/>
                </a:lnTo>
                <a:lnTo>
                  <a:pt x="952" y="1056"/>
                </a:lnTo>
                <a:lnTo>
                  <a:pt x="960" y="1054"/>
                </a:lnTo>
                <a:lnTo>
                  <a:pt x="992" y="1052"/>
                </a:lnTo>
                <a:lnTo>
                  <a:pt x="992" y="1052"/>
                </a:lnTo>
                <a:lnTo>
                  <a:pt x="1016" y="1052"/>
                </a:lnTo>
                <a:lnTo>
                  <a:pt x="1016" y="1052"/>
                </a:lnTo>
                <a:lnTo>
                  <a:pt x="1014" y="1054"/>
                </a:lnTo>
                <a:lnTo>
                  <a:pt x="1008" y="1056"/>
                </a:lnTo>
                <a:lnTo>
                  <a:pt x="1020" y="1056"/>
                </a:lnTo>
                <a:lnTo>
                  <a:pt x="1034" y="1054"/>
                </a:lnTo>
                <a:lnTo>
                  <a:pt x="1063" y="1054"/>
                </a:lnTo>
                <a:lnTo>
                  <a:pt x="1057" y="1054"/>
                </a:lnTo>
                <a:lnTo>
                  <a:pt x="1057" y="1054"/>
                </a:lnTo>
                <a:lnTo>
                  <a:pt x="1105" y="1052"/>
                </a:lnTo>
                <a:lnTo>
                  <a:pt x="1105" y="1052"/>
                </a:lnTo>
                <a:lnTo>
                  <a:pt x="1081" y="1054"/>
                </a:lnTo>
                <a:lnTo>
                  <a:pt x="1081" y="1054"/>
                </a:lnTo>
                <a:lnTo>
                  <a:pt x="1151" y="1052"/>
                </a:lnTo>
                <a:lnTo>
                  <a:pt x="1191" y="1050"/>
                </a:lnTo>
                <a:lnTo>
                  <a:pt x="1221" y="1046"/>
                </a:lnTo>
                <a:lnTo>
                  <a:pt x="1221" y="1046"/>
                </a:lnTo>
                <a:lnTo>
                  <a:pt x="1251" y="1046"/>
                </a:lnTo>
                <a:lnTo>
                  <a:pt x="1267" y="1046"/>
                </a:lnTo>
                <a:lnTo>
                  <a:pt x="1267" y="1046"/>
                </a:lnTo>
                <a:lnTo>
                  <a:pt x="1313" y="1044"/>
                </a:lnTo>
                <a:lnTo>
                  <a:pt x="1363" y="1040"/>
                </a:lnTo>
                <a:lnTo>
                  <a:pt x="1363" y="1040"/>
                </a:lnTo>
                <a:lnTo>
                  <a:pt x="1373" y="1040"/>
                </a:lnTo>
                <a:lnTo>
                  <a:pt x="1397" y="1040"/>
                </a:lnTo>
                <a:lnTo>
                  <a:pt x="1397" y="1040"/>
                </a:lnTo>
                <a:lnTo>
                  <a:pt x="1387" y="1040"/>
                </a:lnTo>
                <a:lnTo>
                  <a:pt x="1405" y="1038"/>
                </a:lnTo>
                <a:lnTo>
                  <a:pt x="1405" y="1038"/>
                </a:lnTo>
                <a:lnTo>
                  <a:pt x="1451" y="1036"/>
                </a:lnTo>
                <a:lnTo>
                  <a:pt x="1488" y="1034"/>
                </a:lnTo>
                <a:lnTo>
                  <a:pt x="1488" y="1034"/>
                </a:lnTo>
                <a:lnTo>
                  <a:pt x="1510" y="1032"/>
                </a:lnTo>
                <a:lnTo>
                  <a:pt x="1512" y="1030"/>
                </a:lnTo>
                <a:lnTo>
                  <a:pt x="1514" y="1030"/>
                </a:lnTo>
                <a:lnTo>
                  <a:pt x="1514" y="1030"/>
                </a:lnTo>
                <a:lnTo>
                  <a:pt x="1562" y="1028"/>
                </a:lnTo>
                <a:lnTo>
                  <a:pt x="1582" y="1028"/>
                </a:lnTo>
                <a:lnTo>
                  <a:pt x="1588" y="1028"/>
                </a:lnTo>
                <a:lnTo>
                  <a:pt x="1586" y="1028"/>
                </a:lnTo>
                <a:lnTo>
                  <a:pt x="1586" y="1028"/>
                </a:lnTo>
                <a:lnTo>
                  <a:pt x="1554" y="1030"/>
                </a:lnTo>
                <a:lnTo>
                  <a:pt x="1540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62" y="1030"/>
                </a:lnTo>
                <a:lnTo>
                  <a:pt x="1580" y="1030"/>
                </a:lnTo>
                <a:lnTo>
                  <a:pt x="1580" y="1030"/>
                </a:lnTo>
                <a:lnTo>
                  <a:pt x="1586" y="1030"/>
                </a:lnTo>
                <a:lnTo>
                  <a:pt x="1592" y="1030"/>
                </a:lnTo>
                <a:lnTo>
                  <a:pt x="1592" y="1030"/>
                </a:lnTo>
                <a:lnTo>
                  <a:pt x="1652" y="1028"/>
                </a:lnTo>
                <a:lnTo>
                  <a:pt x="1652" y="1028"/>
                </a:lnTo>
                <a:lnTo>
                  <a:pt x="1640" y="1028"/>
                </a:lnTo>
                <a:lnTo>
                  <a:pt x="1648" y="1026"/>
                </a:lnTo>
                <a:lnTo>
                  <a:pt x="1656" y="1026"/>
                </a:lnTo>
                <a:lnTo>
                  <a:pt x="1652" y="1024"/>
                </a:lnTo>
                <a:lnTo>
                  <a:pt x="1620" y="1028"/>
                </a:lnTo>
                <a:lnTo>
                  <a:pt x="1620" y="1028"/>
                </a:lnTo>
                <a:lnTo>
                  <a:pt x="1598" y="1028"/>
                </a:lnTo>
                <a:lnTo>
                  <a:pt x="1600" y="1028"/>
                </a:lnTo>
                <a:lnTo>
                  <a:pt x="1596" y="1028"/>
                </a:lnTo>
                <a:lnTo>
                  <a:pt x="1596" y="1028"/>
                </a:lnTo>
                <a:lnTo>
                  <a:pt x="1660" y="1022"/>
                </a:lnTo>
                <a:lnTo>
                  <a:pt x="1720" y="1018"/>
                </a:lnTo>
                <a:lnTo>
                  <a:pt x="1760" y="1016"/>
                </a:lnTo>
                <a:lnTo>
                  <a:pt x="1760" y="1016"/>
                </a:lnTo>
                <a:lnTo>
                  <a:pt x="1746" y="1018"/>
                </a:lnTo>
                <a:lnTo>
                  <a:pt x="1756" y="1018"/>
                </a:lnTo>
                <a:lnTo>
                  <a:pt x="1756" y="1018"/>
                </a:lnTo>
                <a:lnTo>
                  <a:pt x="1806" y="1016"/>
                </a:lnTo>
                <a:lnTo>
                  <a:pt x="1854" y="1014"/>
                </a:lnTo>
                <a:lnTo>
                  <a:pt x="1854" y="1014"/>
                </a:lnTo>
                <a:lnTo>
                  <a:pt x="1838" y="1014"/>
                </a:lnTo>
                <a:lnTo>
                  <a:pt x="1850" y="1012"/>
                </a:lnTo>
                <a:lnTo>
                  <a:pt x="1850" y="1012"/>
                </a:lnTo>
                <a:lnTo>
                  <a:pt x="1891" y="1010"/>
                </a:lnTo>
                <a:lnTo>
                  <a:pt x="1893" y="1010"/>
                </a:lnTo>
                <a:lnTo>
                  <a:pt x="1905" y="1010"/>
                </a:lnTo>
                <a:lnTo>
                  <a:pt x="1905" y="1010"/>
                </a:lnTo>
                <a:lnTo>
                  <a:pt x="2031" y="1004"/>
                </a:lnTo>
                <a:lnTo>
                  <a:pt x="2145" y="996"/>
                </a:lnTo>
                <a:lnTo>
                  <a:pt x="2107" y="998"/>
                </a:lnTo>
                <a:lnTo>
                  <a:pt x="2095" y="1000"/>
                </a:lnTo>
                <a:lnTo>
                  <a:pt x="2095" y="1000"/>
                </a:lnTo>
                <a:lnTo>
                  <a:pt x="2083" y="1000"/>
                </a:lnTo>
                <a:lnTo>
                  <a:pt x="2089" y="998"/>
                </a:lnTo>
                <a:lnTo>
                  <a:pt x="2117" y="994"/>
                </a:lnTo>
                <a:lnTo>
                  <a:pt x="2117" y="994"/>
                </a:lnTo>
                <a:lnTo>
                  <a:pt x="2141" y="992"/>
                </a:lnTo>
                <a:lnTo>
                  <a:pt x="2153" y="992"/>
                </a:lnTo>
                <a:lnTo>
                  <a:pt x="2149" y="992"/>
                </a:lnTo>
                <a:lnTo>
                  <a:pt x="2197" y="988"/>
                </a:lnTo>
                <a:lnTo>
                  <a:pt x="2197" y="988"/>
                </a:lnTo>
                <a:lnTo>
                  <a:pt x="2179" y="990"/>
                </a:lnTo>
                <a:lnTo>
                  <a:pt x="2173" y="990"/>
                </a:lnTo>
                <a:lnTo>
                  <a:pt x="2181" y="988"/>
                </a:lnTo>
                <a:lnTo>
                  <a:pt x="2181" y="988"/>
                </a:lnTo>
                <a:lnTo>
                  <a:pt x="2215" y="986"/>
                </a:lnTo>
                <a:lnTo>
                  <a:pt x="2225" y="986"/>
                </a:lnTo>
                <a:lnTo>
                  <a:pt x="2215" y="988"/>
                </a:lnTo>
                <a:lnTo>
                  <a:pt x="2215" y="988"/>
                </a:lnTo>
                <a:lnTo>
                  <a:pt x="2253" y="986"/>
                </a:lnTo>
                <a:lnTo>
                  <a:pt x="2267" y="984"/>
                </a:lnTo>
                <a:lnTo>
                  <a:pt x="2267" y="984"/>
                </a:lnTo>
                <a:lnTo>
                  <a:pt x="2283" y="982"/>
                </a:lnTo>
                <a:lnTo>
                  <a:pt x="2277" y="984"/>
                </a:lnTo>
                <a:lnTo>
                  <a:pt x="2245" y="988"/>
                </a:lnTo>
                <a:lnTo>
                  <a:pt x="2245" y="988"/>
                </a:lnTo>
                <a:lnTo>
                  <a:pt x="2269" y="986"/>
                </a:lnTo>
                <a:lnTo>
                  <a:pt x="2263" y="988"/>
                </a:lnTo>
                <a:lnTo>
                  <a:pt x="2307" y="986"/>
                </a:lnTo>
                <a:lnTo>
                  <a:pt x="2307" y="986"/>
                </a:lnTo>
                <a:lnTo>
                  <a:pt x="2287" y="988"/>
                </a:lnTo>
                <a:lnTo>
                  <a:pt x="2287" y="988"/>
                </a:lnTo>
                <a:lnTo>
                  <a:pt x="2328" y="986"/>
                </a:lnTo>
                <a:lnTo>
                  <a:pt x="2364" y="984"/>
                </a:lnTo>
                <a:lnTo>
                  <a:pt x="2374" y="982"/>
                </a:lnTo>
                <a:lnTo>
                  <a:pt x="2374" y="982"/>
                </a:lnTo>
                <a:lnTo>
                  <a:pt x="2522" y="972"/>
                </a:lnTo>
                <a:lnTo>
                  <a:pt x="2510" y="972"/>
                </a:lnTo>
                <a:lnTo>
                  <a:pt x="2510" y="972"/>
                </a:lnTo>
                <a:lnTo>
                  <a:pt x="2542" y="970"/>
                </a:lnTo>
                <a:lnTo>
                  <a:pt x="2562" y="968"/>
                </a:lnTo>
                <a:lnTo>
                  <a:pt x="2584" y="968"/>
                </a:lnTo>
                <a:lnTo>
                  <a:pt x="2628" y="964"/>
                </a:lnTo>
                <a:lnTo>
                  <a:pt x="2628" y="964"/>
                </a:lnTo>
                <a:lnTo>
                  <a:pt x="2678" y="960"/>
                </a:lnTo>
                <a:lnTo>
                  <a:pt x="2690" y="958"/>
                </a:lnTo>
                <a:lnTo>
                  <a:pt x="2694" y="958"/>
                </a:lnTo>
                <a:lnTo>
                  <a:pt x="2692" y="958"/>
                </a:lnTo>
                <a:lnTo>
                  <a:pt x="2692" y="958"/>
                </a:lnTo>
                <a:lnTo>
                  <a:pt x="2718" y="956"/>
                </a:lnTo>
                <a:lnTo>
                  <a:pt x="2735" y="956"/>
                </a:lnTo>
                <a:lnTo>
                  <a:pt x="2735" y="956"/>
                </a:lnTo>
                <a:lnTo>
                  <a:pt x="2777" y="950"/>
                </a:lnTo>
                <a:lnTo>
                  <a:pt x="2827" y="946"/>
                </a:lnTo>
                <a:lnTo>
                  <a:pt x="2771" y="952"/>
                </a:lnTo>
                <a:lnTo>
                  <a:pt x="2771" y="952"/>
                </a:lnTo>
                <a:lnTo>
                  <a:pt x="2809" y="950"/>
                </a:lnTo>
                <a:lnTo>
                  <a:pt x="2869" y="946"/>
                </a:lnTo>
                <a:lnTo>
                  <a:pt x="3003" y="932"/>
                </a:lnTo>
                <a:lnTo>
                  <a:pt x="3003" y="932"/>
                </a:lnTo>
                <a:lnTo>
                  <a:pt x="2993" y="932"/>
                </a:lnTo>
                <a:lnTo>
                  <a:pt x="2993" y="930"/>
                </a:lnTo>
                <a:lnTo>
                  <a:pt x="2995" y="930"/>
                </a:lnTo>
                <a:lnTo>
                  <a:pt x="3027" y="926"/>
                </a:lnTo>
                <a:lnTo>
                  <a:pt x="3027" y="926"/>
                </a:lnTo>
                <a:lnTo>
                  <a:pt x="3053" y="924"/>
                </a:lnTo>
                <a:lnTo>
                  <a:pt x="3101" y="922"/>
                </a:lnTo>
                <a:lnTo>
                  <a:pt x="3101" y="922"/>
                </a:lnTo>
                <a:lnTo>
                  <a:pt x="3099" y="922"/>
                </a:lnTo>
                <a:lnTo>
                  <a:pt x="3103" y="922"/>
                </a:lnTo>
                <a:lnTo>
                  <a:pt x="3117" y="922"/>
                </a:lnTo>
                <a:lnTo>
                  <a:pt x="3125" y="922"/>
                </a:lnTo>
                <a:lnTo>
                  <a:pt x="3105" y="924"/>
                </a:lnTo>
                <a:lnTo>
                  <a:pt x="3105" y="924"/>
                </a:lnTo>
                <a:lnTo>
                  <a:pt x="3085" y="924"/>
                </a:lnTo>
                <a:lnTo>
                  <a:pt x="3061" y="926"/>
                </a:lnTo>
                <a:lnTo>
                  <a:pt x="3061" y="926"/>
                </a:lnTo>
                <a:lnTo>
                  <a:pt x="3141" y="922"/>
                </a:lnTo>
                <a:lnTo>
                  <a:pt x="3141" y="922"/>
                </a:lnTo>
                <a:lnTo>
                  <a:pt x="3103" y="926"/>
                </a:lnTo>
                <a:lnTo>
                  <a:pt x="3103" y="926"/>
                </a:lnTo>
                <a:lnTo>
                  <a:pt x="3109" y="926"/>
                </a:lnTo>
                <a:lnTo>
                  <a:pt x="3105" y="926"/>
                </a:ln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3" name="Freeform 158"/>
          <p:cNvSpPr>
            <a:spLocks/>
          </p:cNvSpPr>
          <p:nvPr userDrawn="1"/>
        </p:nvSpPr>
        <p:spPr bwMode="auto">
          <a:xfrm>
            <a:off x="-6670675" y="5675313"/>
            <a:ext cx="13331825" cy="1546225"/>
          </a:xfrm>
          <a:custGeom>
            <a:avLst/>
            <a:gdLst>
              <a:gd name="T0" fmla="*/ 3394 w 8398"/>
              <a:gd name="T1" fmla="*/ 800 h 974"/>
              <a:gd name="T2" fmla="*/ 3595 w 8398"/>
              <a:gd name="T3" fmla="*/ 784 h 974"/>
              <a:gd name="T4" fmla="*/ 3671 w 8398"/>
              <a:gd name="T5" fmla="*/ 772 h 974"/>
              <a:gd name="T6" fmla="*/ 3773 w 8398"/>
              <a:gd name="T7" fmla="*/ 766 h 974"/>
              <a:gd name="T8" fmla="*/ 4166 w 8398"/>
              <a:gd name="T9" fmla="*/ 727 h 974"/>
              <a:gd name="T10" fmla="*/ 4386 w 8398"/>
              <a:gd name="T11" fmla="*/ 705 h 974"/>
              <a:gd name="T12" fmla="*/ 4535 w 8398"/>
              <a:gd name="T13" fmla="*/ 689 h 974"/>
              <a:gd name="T14" fmla="*/ 4827 w 8398"/>
              <a:gd name="T15" fmla="*/ 657 h 974"/>
              <a:gd name="T16" fmla="*/ 4914 w 8398"/>
              <a:gd name="T17" fmla="*/ 651 h 974"/>
              <a:gd name="T18" fmla="*/ 5134 w 8398"/>
              <a:gd name="T19" fmla="*/ 627 h 974"/>
              <a:gd name="T20" fmla="*/ 5451 w 8398"/>
              <a:gd name="T21" fmla="*/ 597 h 974"/>
              <a:gd name="T22" fmla="*/ 5619 w 8398"/>
              <a:gd name="T23" fmla="*/ 575 h 974"/>
              <a:gd name="T24" fmla="*/ 5852 w 8398"/>
              <a:gd name="T25" fmla="*/ 547 h 974"/>
              <a:gd name="T26" fmla="*/ 5954 w 8398"/>
              <a:gd name="T27" fmla="*/ 535 h 974"/>
              <a:gd name="T28" fmla="*/ 6091 w 8398"/>
              <a:gd name="T29" fmla="*/ 521 h 974"/>
              <a:gd name="T30" fmla="*/ 6556 w 8398"/>
              <a:gd name="T31" fmla="*/ 445 h 974"/>
              <a:gd name="T32" fmla="*/ 6971 w 8398"/>
              <a:gd name="T33" fmla="*/ 369 h 974"/>
              <a:gd name="T34" fmla="*/ 6782 w 8398"/>
              <a:gd name="T35" fmla="*/ 403 h 974"/>
              <a:gd name="T36" fmla="*/ 6953 w 8398"/>
              <a:gd name="T37" fmla="*/ 365 h 974"/>
              <a:gd name="T38" fmla="*/ 7229 w 8398"/>
              <a:gd name="T39" fmla="*/ 313 h 974"/>
              <a:gd name="T40" fmla="*/ 7331 w 8398"/>
              <a:gd name="T41" fmla="*/ 284 h 974"/>
              <a:gd name="T42" fmla="*/ 7648 w 8398"/>
              <a:gd name="T43" fmla="*/ 210 h 974"/>
              <a:gd name="T44" fmla="*/ 7835 w 8398"/>
              <a:gd name="T45" fmla="*/ 158 h 974"/>
              <a:gd name="T46" fmla="*/ 8115 w 8398"/>
              <a:gd name="T47" fmla="*/ 86 h 974"/>
              <a:gd name="T48" fmla="*/ 8089 w 8398"/>
              <a:gd name="T49" fmla="*/ 88 h 974"/>
              <a:gd name="T50" fmla="*/ 8049 w 8398"/>
              <a:gd name="T51" fmla="*/ 88 h 974"/>
              <a:gd name="T52" fmla="*/ 8318 w 8398"/>
              <a:gd name="T53" fmla="*/ 26 h 974"/>
              <a:gd name="T54" fmla="*/ 8228 w 8398"/>
              <a:gd name="T55" fmla="*/ 42 h 974"/>
              <a:gd name="T56" fmla="*/ 8358 w 8398"/>
              <a:gd name="T57" fmla="*/ 4 h 974"/>
              <a:gd name="T58" fmla="*/ 8121 w 8398"/>
              <a:gd name="T59" fmla="*/ 66 h 974"/>
              <a:gd name="T60" fmla="*/ 8043 w 8398"/>
              <a:gd name="T61" fmla="*/ 88 h 974"/>
              <a:gd name="T62" fmla="*/ 7704 w 8398"/>
              <a:gd name="T63" fmla="*/ 180 h 974"/>
              <a:gd name="T64" fmla="*/ 7404 w 8398"/>
              <a:gd name="T65" fmla="*/ 256 h 974"/>
              <a:gd name="T66" fmla="*/ 7504 w 8398"/>
              <a:gd name="T67" fmla="*/ 224 h 974"/>
              <a:gd name="T68" fmla="*/ 7217 w 8398"/>
              <a:gd name="T69" fmla="*/ 292 h 974"/>
              <a:gd name="T70" fmla="*/ 6997 w 8398"/>
              <a:gd name="T71" fmla="*/ 343 h 974"/>
              <a:gd name="T72" fmla="*/ 6876 w 8398"/>
              <a:gd name="T73" fmla="*/ 365 h 974"/>
              <a:gd name="T74" fmla="*/ 6606 w 8398"/>
              <a:gd name="T75" fmla="*/ 415 h 974"/>
              <a:gd name="T76" fmla="*/ 6287 w 8398"/>
              <a:gd name="T77" fmla="*/ 467 h 974"/>
              <a:gd name="T78" fmla="*/ 5770 w 8398"/>
              <a:gd name="T79" fmla="*/ 535 h 974"/>
              <a:gd name="T80" fmla="*/ 5800 w 8398"/>
              <a:gd name="T81" fmla="*/ 539 h 974"/>
              <a:gd name="T82" fmla="*/ 5672 w 8398"/>
              <a:gd name="T83" fmla="*/ 551 h 974"/>
              <a:gd name="T84" fmla="*/ 5359 w 8398"/>
              <a:gd name="T85" fmla="*/ 579 h 974"/>
              <a:gd name="T86" fmla="*/ 4300 w 8398"/>
              <a:gd name="T87" fmla="*/ 687 h 974"/>
              <a:gd name="T88" fmla="*/ 3835 w 8398"/>
              <a:gd name="T89" fmla="*/ 733 h 974"/>
              <a:gd name="T90" fmla="*/ 3556 w 8398"/>
              <a:gd name="T91" fmla="*/ 758 h 974"/>
              <a:gd name="T92" fmla="*/ 2941 w 8398"/>
              <a:gd name="T93" fmla="*/ 812 h 974"/>
              <a:gd name="T94" fmla="*/ 2518 w 8398"/>
              <a:gd name="T95" fmla="*/ 846 h 974"/>
              <a:gd name="T96" fmla="*/ 1622 w 8398"/>
              <a:gd name="T97" fmla="*/ 904 h 974"/>
              <a:gd name="T98" fmla="*/ 1175 w 8398"/>
              <a:gd name="T99" fmla="*/ 934 h 974"/>
              <a:gd name="T100" fmla="*/ 327 w 8398"/>
              <a:gd name="T101" fmla="*/ 962 h 974"/>
              <a:gd name="T102" fmla="*/ 6 w 8398"/>
              <a:gd name="T103" fmla="*/ 954 h 974"/>
              <a:gd name="T104" fmla="*/ 411 w 8398"/>
              <a:gd name="T105" fmla="*/ 972 h 974"/>
              <a:gd name="T106" fmla="*/ 531 w 8398"/>
              <a:gd name="T107" fmla="*/ 974 h 974"/>
              <a:gd name="T108" fmla="*/ 844 w 8398"/>
              <a:gd name="T109" fmla="*/ 966 h 974"/>
              <a:gd name="T110" fmla="*/ 1147 w 8398"/>
              <a:gd name="T111" fmla="*/ 956 h 974"/>
              <a:gd name="T112" fmla="*/ 1578 w 8398"/>
              <a:gd name="T113" fmla="*/ 932 h 974"/>
              <a:gd name="T114" fmla="*/ 1596 w 8398"/>
              <a:gd name="T115" fmla="*/ 934 h 974"/>
              <a:gd name="T116" fmla="*/ 2089 w 8398"/>
              <a:gd name="T117" fmla="*/ 902 h 974"/>
              <a:gd name="T118" fmla="*/ 2239 w 8398"/>
              <a:gd name="T119" fmla="*/ 890 h 974"/>
              <a:gd name="T120" fmla="*/ 2712 w 8398"/>
              <a:gd name="T121" fmla="*/ 854 h 974"/>
              <a:gd name="T122" fmla="*/ 3097 w 8398"/>
              <a:gd name="T123" fmla="*/ 822 h 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98" h="974">
                <a:moveTo>
                  <a:pt x="3099" y="822"/>
                </a:moveTo>
                <a:lnTo>
                  <a:pt x="3099" y="822"/>
                </a:lnTo>
                <a:lnTo>
                  <a:pt x="3073" y="826"/>
                </a:lnTo>
                <a:lnTo>
                  <a:pt x="3081" y="826"/>
                </a:lnTo>
                <a:lnTo>
                  <a:pt x="3097" y="826"/>
                </a:lnTo>
                <a:lnTo>
                  <a:pt x="3103" y="826"/>
                </a:lnTo>
                <a:lnTo>
                  <a:pt x="3103" y="826"/>
                </a:lnTo>
                <a:lnTo>
                  <a:pt x="3133" y="824"/>
                </a:lnTo>
                <a:lnTo>
                  <a:pt x="3143" y="822"/>
                </a:lnTo>
                <a:lnTo>
                  <a:pt x="3139" y="822"/>
                </a:lnTo>
                <a:lnTo>
                  <a:pt x="3139" y="822"/>
                </a:lnTo>
                <a:lnTo>
                  <a:pt x="3170" y="820"/>
                </a:lnTo>
                <a:lnTo>
                  <a:pt x="3208" y="816"/>
                </a:lnTo>
                <a:lnTo>
                  <a:pt x="3246" y="814"/>
                </a:lnTo>
                <a:lnTo>
                  <a:pt x="3278" y="812"/>
                </a:lnTo>
                <a:lnTo>
                  <a:pt x="3278" y="812"/>
                </a:lnTo>
                <a:lnTo>
                  <a:pt x="3272" y="810"/>
                </a:lnTo>
                <a:lnTo>
                  <a:pt x="3282" y="808"/>
                </a:lnTo>
                <a:lnTo>
                  <a:pt x="3282" y="808"/>
                </a:lnTo>
                <a:lnTo>
                  <a:pt x="3316" y="806"/>
                </a:lnTo>
                <a:lnTo>
                  <a:pt x="3332" y="806"/>
                </a:lnTo>
                <a:lnTo>
                  <a:pt x="3332" y="806"/>
                </a:lnTo>
                <a:lnTo>
                  <a:pt x="3394" y="800"/>
                </a:lnTo>
                <a:lnTo>
                  <a:pt x="3394" y="800"/>
                </a:lnTo>
                <a:lnTo>
                  <a:pt x="3402" y="798"/>
                </a:lnTo>
                <a:lnTo>
                  <a:pt x="3396" y="798"/>
                </a:lnTo>
                <a:lnTo>
                  <a:pt x="3390" y="798"/>
                </a:lnTo>
                <a:lnTo>
                  <a:pt x="3402" y="796"/>
                </a:lnTo>
                <a:lnTo>
                  <a:pt x="3402" y="796"/>
                </a:lnTo>
                <a:lnTo>
                  <a:pt x="3442" y="792"/>
                </a:lnTo>
                <a:lnTo>
                  <a:pt x="3486" y="788"/>
                </a:lnTo>
                <a:lnTo>
                  <a:pt x="3486" y="788"/>
                </a:lnTo>
                <a:lnTo>
                  <a:pt x="3494" y="788"/>
                </a:lnTo>
                <a:lnTo>
                  <a:pt x="3480" y="790"/>
                </a:lnTo>
                <a:lnTo>
                  <a:pt x="3438" y="794"/>
                </a:lnTo>
                <a:lnTo>
                  <a:pt x="3532" y="784"/>
                </a:lnTo>
                <a:lnTo>
                  <a:pt x="3532" y="784"/>
                </a:lnTo>
                <a:lnTo>
                  <a:pt x="3542" y="784"/>
                </a:lnTo>
                <a:lnTo>
                  <a:pt x="3534" y="786"/>
                </a:lnTo>
                <a:lnTo>
                  <a:pt x="3492" y="790"/>
                </a:lnTo>
                <a:lnTo>
                  <a:pt x="3492" y="790"/>
                </a:lnTo>
                <a:lnTo>
                  <a:pt x="3552" y="784"/>
                </a:lnTo>
                <a:lnTo>
                  <a:pt x="3591" y="780"/>
                </a:lnTo>
                <a:lnTo>
                  <a:pt x="3591" y="780"/>
                </a:lnTo>
                <a:lnTo>
                  <a:pt x="3649" y="774"/>
                </a:lnTo>
                <a:lnTo>
                  <a:pt x="3649" y="774"/>
                </a:lnTo>
                <a:lnTo>
                  <a:pt x="3627" y="778"/>
                </a:lnTo>
                <a:lnTo>
                  <a:pt x="3595" y="784"/>
                </a:lnTo>
                <a:lnTo>
                  <a:pt x="3595" y="784"/>
                </a:lnTo>
                <a:lnTo>
                  <a:pt x="3573" y="784"/>
                </a:lnTo>
                <a:lnTo>
                  <a:pt x="3577" y="784"/>
                </a:lnTo>
                <a:lnTo>
                  <a:pt x="3583" y="782"/>
                </a:lnTo>
                <a:lnTo>
                  <a:pt x="3566" y="784"/>
                </a:lnTo>
                <a:lnTo>
                  <a:pt x="3562" y="786"/>
                </a:lnTo>
                <a:lnTo>
                  <a:pt x="3562" y="786"/>
                </a:lnTo>
                <a:lnTo>
                  <a:pt x="3532" y="788"/>
                </a:lnTo>
                <a:lnTo>
                  <a:pt x="3502" y="790"/>
                </a:lnTo>
                <a:lnTo>
                  <a:pt x="3502" y="790"/>
                </a:lnTo>
                <a:lnTo>
                  <a:pt x="3496" y="790"/>
                </a:lnTo>
                <a:lnTo>
                  <a:pt x="3500" y="790"/>
                </a:lnTo>
                <a:lnTo>
                  <a:pt x="3512" y="790"/>
                </a:lnTo>
                <a:lnTo>
                  <a:pt x="3512" y="790"/>
                </a:lnTo>
                <a:lnTo>
                  <a:pt x="3458" y="794"/>
                </a:lnTo>
                <a:lnTo>
                  <a:pt x="3410" y="800"/>
                </a:lnTo>
                <a:lnTo>
                  <a:pt x="3410" y="800"/>
                </a:lnTo>
                <a:lnTo>
                  <a:pt x="3502" y="792"/>
                </a:lnTo>
                <a:lnTo>
                  <a:pt x="3571" y="786"/>
                </a:lnTo>
                <a:lnTo>
                  <a:pt x="3679" y="774"/>
                </a:lnTo>
                <a:lnTo>
                  <a:pt x="3679" y="774"/>
                </a:lnTo>
                <a:lnTo>
                  <a:pt x="3663" y="774"/>
                </a:lnTo>
                <a:lnTo>
                  <a:pt x="3659" y="774"/>
                </a:lnTo>
                <a:lnTo>
                  <a:pt x="3671" y="772"/>
                </a:lnTo>
                <a:lnTo>
                  <a:pt x="3671" y="772"/>
                </a:lnTo>
                <a:lnTo>
                  <a:pt x="3703" y="772"/>
                </a:lnTo>
                <a:lnTo>
                  <a:pt x="3757" y="768"/>
                </a:lnTo>
                <a:lnTo>
                  <a:pt x="3757" y="768"/>
                </a:lnTo>
                <a:lnTo>
                  <a:pt x="3755" y="768"/>
                </a:lnTo>
                <a:lnTo>
                  <a:pt x="3761" y="766"/>
                </a:lnTo>
                <a:lnTo>
                  <a:pt x="3781" y="764"/>
                </a:lnTo>
                <a:lnTo>
                  <a:pt x="3803" y="762"/>
                </a:lnTo>
                <a:lnTo>
                  <a:pt x="3807" y="760"/>
                </a:lnTo>
                <a:lnTo>
                  <a:pt x="3803" y="760"/>
                </a:lnTo>
                <a:lnTo>
                  <a:pt x="3803" y="760"/>
                </a:lnTo>
                <a:lnTo>
                  <a:pt x="3781" y="762"/>
                </a:lnTo>
                <a:lnTo>
                  <a:pt x="3771" y="762"/>
                </a:lnTo>
                <a:lnTo>
                  <a:pt x="3771" y="762"/>
                </a:lnTo>
                <a:lnTo>
                  <a:pt x="3789" y="760"/>
                </a:lnTo>
                <a:lnTo>
                  <a:pt x="3791" y="760"/>
                </a:lnTo>
                <a:lnTo>
                  <a:pt x="3791" y="760"/>
                </a:lnTo>
                <a:lnTo>
                  <a:pt x="3799" y="758"/>
                </a:lnTo>
                <a:lnTo>
                  <a:pt x="3799" y="758"/>
                </a:lnTo>
                <a:lnTo>
                  <a:pt x="3833" y="756"/>
                </a:lnTo>
                <a:lnTo>
                  <a:pt x="3867" y="754"/>
                </a:lnTo>
                <a:lnTo>
                  <a:pt x="3867" y="754"/>
                </a:lnTo>
                <a:lnTo>
                  <a:pt x="3773" y="766"/>
                </a:lnTo>
                <a:lnTo>
                  <a:pt x="3773" y="766"/>
                </a:lnTo>
                <a:lnTo>
                  <a:pt x="3831" y="762"/>
                </a:lnTo>
                <a:lnTo>
                  <a:pt x="3831" y="762"/>
                </a:lnTo>
                <a:lnTo>
                  <a:pt x="3823" y="762"/>
                </a:lnTo>
                <a:lnTo>
                  <a:pt x="3827" y="760"/>
                </a:lnTo>
                <a:lnTo>
                  <a:pt x="3833" y="760"/>
                </a:lnTo>
                <a:lnTo>
                  <a:pt x="3827" y="760"/>
                </a:lnTo>
                <a:lnTo>
                  <a:pt x="3827" y="760"/>
                </a:lnTo>
                <a:lnTo>
                  <a:pt x="4024" y="737"/>
                </a:lnTo>
                <a:lnTo>
                  <a:pt x="4024" y="737"/>
                </a:lnTo>
                <a:lnTo>
                  <a:pt x="4002" y="741"/>
                </a:lnTo>
                <a:lnTo>
                  <a:pt x="3963" y="745"/>
                </a:lnTo>
                <a:lnTo>
                  <a:pt x="3931" y="750"/>
                </a:lnTo>
                <a:lnTo>
                  <a:pt x="3925" y="752"/>
                </a:lnTo>
                <a:lnTo>
                  <a:pt x="3927" y="752"/>
                </a:lnTo>
                <a:lnTo>
                  <a:pt x="3927" y="752"/>
                </a:lnTo>
                <a:lnTo>
                  <a:pt x="3961" y="747"/>
                </a:lnTo>
                <a:lnTo>
                  <a:pt x="3990" y="745"/>
                </a:lnTo>
                <a:lnTo>
                  <a:pt x="3990" y="745"/>
                </a:lnTo>
                <a:lnTo>
                  <a:pt x="4046" y="739"/>
                </a:lnTo>
                <a:lnTo>
                  <a:pt x="4120" y="733"/>
                </a:lnTo>
                <a:lnTo>
                  <a:pt x="4098" y="733"/>
                </a:lnTo>
                <a:lnTo>
                  <a:pt x="4098" y="733"/>
                </a:lnTo>
                <a:lnTo>
                  <a:pt x="4170" y="727"/>
                </a:lnTo>
                <a:lnTo>
                  <a:pt x="4166" y="727"/>
                </a:lnTo>
                <a:lnTo>
                  <a:pt x="4186" y="725"/>
                </a:lnTo>
                <a:lnTo>
                  <a:pt x="4186" y="725"/>
                </a:lnTo>
                <a:lnTo>
                  <a:pt x="4190" y="725"/>
                </a:lnTo>
                <a:lnTo>
                  <a:pt x="4190" y="725"/>
                </a:lnTo>
                <a:lnTo>
                  <a:pt x="4314" y="713"/>
                </a:lnTo>
                <a:lnTo>
                  <a:pt x="4314" y="713"/>
                </a:lnTo>
                <a:lnTo>
                  <a:pt x="4288" y="715"/>
                </a:lnTo>
                <a:lnTo>
                  <a:pt x="4250" y="719"/>
                </a:lnTo>
                <a:lnTo>
                  <a:pt x="4250" y="719"/>
                </a:lnTo>
                <a:lnTo>
                  <a:pt x="4226" y="719"/>
                </a:lnTo>
                <a:lnTo>
                  <a:pt x="4218" y="721"/>
                </a:lnTo>
                <a:lnTo>
                  <a:pt x="4222" y="719"/>
                </a:lnTo>
                <a:lnTo>
                  <a:pt x="4222" y="719"/>
                </a:lnTo>
                <a:lnTo>
                  <a:pt x="4374" y="703"/>
                </a:lnTo>
                <a:lnTo>
                  <a:pt x="4356" y="705"/>
                </a:lnTo>
                <a:lnTo>
                  <a:pt x="4356" y="705"/>
                </a:lnTo>
                <a:lnTo>
                  <a:pt x="4431" y="697"/>
                </a:lnTo>
                <a:lnTo>
                  <a:pt x="4431" y="697"/>
                </a:lnTo>
                <a:lnTo>
                  <a:pt x="4447" y="695"/>
                </a:lnTo>
                <a:lnTo>
                  <a:pt x="4435" y="697"/>
                </a:lnTo>
                <a:lnTo>
                  <a:pt x="4419" y="699"/>
                </a:lnTo>
                <a:lnTo>
                  <a:pt x="4425" y="699"/>
                </a:lnTo>
                <a:lnTo>
                  <a:pt x="4425" y="699"/>
                </a:lnTo>
                <a:lnTo>
                  <a:pt x="4386" y="705"/>
                </a:lnTo>
                <a:lnTo>
                  <a:pt x="4362" y="707"/>
                </a:lnTo>
                <a:lnTo>
                  <a:pt x="4394" y="707"/>
                </a:lnTo>
                <a:lnTo>
                  <a:pt x="4394" y="707"/>
                </a:lnTo>
                <a:lnTo>
                  <a:pt x="4437" y="701"/>
                </a:lnTo>
                <a:lnTo>
                  <a:pt x="4473" y="699"/>
                </a:lnTo>
                <a:lnTo>
                  <a:pt x="4453" y="701"/>
                </a:lnTo>
                <a:lnTo>
                  <a:pt x="4453" y="701"/>
                </a:lnTo>
                <a:lnTo>
                  <a:pt x="4467" y="699"/>
                </a:lnTo>
                <a:lnTo>
                  <a:pt x="4485" y="697"/>
                </a:lnTo>
                <a:lnTo>
                  <a:pt x="4471" y="697"/>
                </a:lnTo>
                <a:lnTo>
                  <a:pt x="4471" y="697"/>
                </a:lnTo>
                <a:lnTo>
                  <a:pt x="4431" y="701"/>
                </a:lnTo>
                <a:lnTo>
                  <a:pt x="4398" y="703"/>
                </a:lnTo>
                <a:lnTo>
                  <a:pt x="4398" y="703"/>
                </a:lnTo>
                <a:lnTo>
                  <a:pt x="4447" y="697"/>
                </a:lnTo>
                <a:lnTo>
                  <a:pt x="4505" y="691"/>
                </a:lnTo>
                <a:lnTo>
                  <a:pt x="4505" y="691"/>
                </a:lnTo>
                <a:lnTo>
                  <a:pt x="4499" y="691"/>
                </a:lnTo>
                <a:lnTo>
                  <a:pt x="4485" y="693"/>
                </a:lnTo>
                <a:lnTo>
                  <a:pt x="4485" y="693"/>
                </a:lnTo>
                <a:lnTo>
                  <a:pt x="4521" y="689"/>
                </a:lnTo>
                <a:lnTo>
                  <a:pt x="4567" y="685"/>
                </a:lnTo>
                <a:lnTo>
                  <a:pt x="4567" y="685"/>
                </a:lnTo>
                <a:lnTo>
                  <a:pt x="4535" y="689"/>
                </a:lnTo>
                <a:lnTo>
                  <a:pt x="4529" y="691"/>
                </a:lnTo>
                <a:lnTo>
                  <a:pt x="4539" y="691"/>
                </a:lnTo>
                <a:lnTo>
                  <a:pt x="4559" y="687"/>
                </a:lnTo>
                <a:lnTo>
                  <a:pt x="4559" y="687"/>
                </a:lnTo>
                <a:lnTo>
                  <a:pt x="4575" y="685"/>
                </a:lnTo>
                <a:lnTo>
                  <a:pt x="4575" y="685"/>
                </a:lnTo>
                <a:lnTo>
                  <a:pt x="4585" y="685"/>
                </a:lnTo>
                <a:lnTo>
                  <a:pt x="4587" y="685"/>
                </a:lnTo>
                <a:lnTo>
                  <a:pt x="4607" y="681"/>
                </a:lnTo>
                <a:lnTo>
                  <a:pt x="4607" y="681"/>
                </a:lnTo>
                <a:lnTo>
                  <a:pt x="4619" y="681"/>
                </a:lnTo>
                <a:lnTo>
                  <a:pt x="4619" y="681"/>
                </a:lnTo>
                <a:lnTo>
                  <a:pt x="4651" y="677"/>
                </a:lnTo>
                <a:lnTo>
                  <a:pt x="4681" y="675"/>
                </a:lnTo>
                <a:lnTo>
                  <a:pt x="4681" y="675"/>
                </a:lnTo>
                <a:lnTo>
                  <a:pt x="4659" y="675"/>
                </a:lnTo>
                <a:lnTo>
                  <a:pt x="4653" y="675"/>
                </a:lnTo>
                <a:lnTo>
                  <a:pt x="4659" y="675"/>
                </a:lnTo>
                <a:lnTo>
                  <a:pt x="4679" y="671"/>
                </a:lnTo>
                <a:lnTo>
                  <a:pt x="4679" y="671"/>
                </a:lnTo>
                <a:lnTo>
                  <a:pt x="4749" y="665"/>
                </a:lnTo>
                <a:lnTo>
                  <a:pt x="4805" y="659"/>
                </a:lnTo>
                <a:lnTo>
                  <a:pt x="4827" y="657"/>
                </a:lnTo>
                <a:lnTo>
                  <a:pt x="4827" y="657"/>
                </a:lnTo>
                <a:lnTo>
                  <a:pt x="4825" y="657"/>
                </a:lnTo>
                <a:lnTo>
                  <a:pt x="4827" y="657"/>
                </a:lnTo>
                <a:lnTo>
                  <a:pt x="4842" y="657"/>
                </a:lnTo>
                <a:lnTo>
                  <a:pt x="4878" y="653"/>
                </a:lnTo>
                <a:lnTo>
                  <a:pt x="4878" y="653"/>
                </a:lnTo>
                <a:lnTo>
                  <a:pt x="4870" y="655"/>
                </a:lnTo>
                <a:lnTo>
                  <a:pt x="4842" y="657"/>
                </a:lnTo>
                <a:lnTo>
                  <a:pt x="4813" y="661"/>
                </a:lnTo>
                <a:lnTo>
                  <a:pt x="4799" y="663"/>
                </a:lnTo>
                <a:lnTo>
                  <a:pt x="4799" y="663"/>
                </a:lnTo>
                <a:lnTo>
                  <a:pt x="4821" y="661"/>
                </a:lnTo>
                <a:lnTo>
                  <a:pt x="4807" y="663"/>
                </a:lnTo>
                <a:lnTo>
                  <a:pt x="4807" y="663"/>
                </a:lnTo>
                <a:lnTo>
                  <a:pt x="4827" y="661"/>
                </a:lnTo>
                <a:lnTo>
                  <a:pt x="4832" y="661"/>
                </a:lnTo>
                <a:lnTo>
                  <a:pt x="4832" y="659"/>
                </a:lnTo>
                <a:lnTo>
                  <a:pt x="4838" y="657"/>
                </a:lnTo>
                <a:lnTo>
                  <a:pt x="4838" y="657"/>
                </a:lnTo>
                <a:lnTo>
                  <a:pt x="4868" y="655"/>
                </a:lnTo>
                <a:lnTo>
                  <a:pt x="4884" y="655"/>
                </a:lnTo>
                <a:lnTo>
                  <a:pt x="4886" y="655"/>
                </a:lnTo>
                <a:lnTo>
                  <a:pt x="4880" y="655"/>
                </a:lnTo>
                <a:lnTo>
                  <a:pt x="4880" y="655"/>
                </a:lnTo>
                <a:lnTo>
                  <a:pt x="4914" y="651"/>
                </a:lnTo>
                <a:lnTo>
                  <a:pt x="4942" y="647"/>
                </a:lnTo>
                <a:lnTo>
                  <a:pt x="4942" y="647"/>
                </a:lnTo>
                <a:lnTo>
                  <a:pt x="4936" y="649"/>
                </a:lnTo>
                <a:lnTo>
                  <a:pt x="4936" y="651"/>
                </a:lnTo>
                <a:lnTo>
                  <a:pt x="4936" y="651"/>
                </a:lnTo>
                <a:lnTo>
                  <a:pt x="4936" y="651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58" y="647"/>
                </a:lnTo>
                <a:lnTo>
                  <a:pt x="4958" y="647"/>
                </a:lnTo>
                <a:lnTo>
                  <a:pt x="4994" y="643"/>
                </a:lnTo>
                <a:lnTo>
                  <a:pt x="5022" y="641"/>
                </a:lnTo>
                <a:lnTo>
                  <a:pt x="5022" y="641"/>
                </a:lnTo>
                <a:lnTo>
                  <a:pt x="5056" y="637"/>
                </a:lnTo>
                <a:lnTo>
                  <a:pt x="5110" y="633"/>
                </a:lnTo>
                <a:lnTo>
                  <a:pt x="5110" y="633"/>
                </a:lnTo>
                <a:lnTo>
                  <a:pt x="5100" y="631"/>
                </a:lnTo>
                <a:lnTo>
                  <a:pt x="5080" y="635"/>
                </a:lnTo>
                <a:lnTo>
                  <a:pt x="5060" y="637"/>
                </a:lnTo>
                <a:lnTo>
                  <a:pt x="5046" y="637"/>
                </a:lnTo>
                <a:lnTo>
                  <a:pt x="5046" y="637"/>
                </a:lnTo>
                <a:lnTo>
                  <a:pt x="5134" y="627"/>
                </a:lnTo>
                <a:lnTo>
                  <a:pt x="5238" y="615"/>
                </a:lnTo>
                <a:lnTo>
                  <a:pt x="5238" y="615"/>
                </a:lnTo>
                <a:lnTo>
                  <a:pt x="5263" y="613"/>
                </a:lnTo>
                <a:lnTo>
                  <a:pt x="5263" y="613"/>
                </a:lnTo>
                <a:lnTo>
                  <a:pt x="5261" y="615"/>
                </a:lnTo>
                <a:lnTo>
                  <a:pt x="5251" y="617"/>
                </a:lnTo>
                <a:lnTo>
                  <a:pt x="5249" y="617"/>
                </a:lnTo>
                <a:lnTo>
                  <a:pt x="5251" y="617"/>
                </a:lnTo>
                <a:lnTo>
                  <a:pt x="5251" y="617"/>
                </a:lnTo>
                <a:lnTo>
                  <a:pt x="5144" y="629"/>
                </a:lnTo>
                <a:lnTo>
                  <a:pt x="5144" y="629"/>
                </a:lnTo>
                <a:lnTo>
                  <a:pt x="5228" y="619"/>
                </a:lnTo>
                <a:lnTo>
                  <a:pt x="5305" y="611"/>
                </a:lnTo>
                <a:lnTo>
                  <a:pt x="5305" y="611"/>
                </a:lnTo>
                <a:lnTo>
                  <a:pt x="5337" y="609"/>
                </a:lnTo>
                <a:lnTo>
                  <a:pt x="5361" y="607"/>
                </a:lnTo>
                <a:lnTo>
                  <a:pt x="5387" y="605"/>
                </a:lnTo>
                <a:lnTo>
                  <a:pt x="5425" y="601"/>
                </a:lnTo>
                <a:lnTo>
                  <a:pt x="5425" y="601"/>
                </a:lnTo>
                <a:lnTo>
                  <a:pt x="5415" y="601"/>
                </a:lnTo>
                <a:lnTo>
                  <a:pt x="5397" y="601"/>
                </a:lnTo>
                <a:lnTo>
                  <a:pt x="5397" y="601"/>
                </a:lnTo>
                <a:lnTo>
                  <a:pt x="5451" y="597"/>
                </a:lnTo>
                <a:lnTo>
                  <a:pt x="5451" y="597"/>
                </a:lnTo>
                <a:lnTo>
                  <a:pt x="5453" y="595"/>
                </a:lnTo>
                <a:lnTo>
                  <a:pt x="5453" y="595"/>
                </a:lnTo>
                <a:lnTo>
                  <a:pt x="5445" y="597"/>
                </a:lnTo>
                <a:lnTo>
                  <a:pt x="5439" y="597"/>
                </a:lnTo>
                <a:lnTo>
                  <a:pt x="5449" y="595"/>
                </a:lnTo>
                <a:lnTo>
                  <a:pt x="5449" y="595"/>
                </a:lnTo>
                <a:lnTo>
                  <a:pt x="5467" y="593"/>
                </a:lnTo>
                <a:lnTo>
                  <a:pt x="5475" y="593"/>
                </a:lnTo>
                <a:lnTo>
                  <a:pt x="5471" y="593"/>
                </a:lnTo>
                <a:lnTo>
                  <a:pt x="5471" y="593"/>
                </a:lnTo>
                <a:lnTo>
                  <a:pt x="5503" y="591"/>
                </a:lnTo>
                <a:lnTo>
                  <a:pt x="5521" y="589"/>
                </a:lnTo>
                <a:lnTo>
                  <a:pt x="5537" y="587"/>
                </a:lnTo>
                <a:lnTo>
                  <a:pt x="5565" y="585"/>
                </a:lnTo>
                <a:lnTo>
                  <a:pt x="5565" y="585"/>
                </a:lnTo>
                <a:lnTo>
                  <a:pt x="5537" y="587"/>
                </a:lnTo>
                <a:lnTo>
                  <a:pt x="5537" y="587"/>
                </a:lnTo>
                <a:lnTo>
                  <a:pt x="5535" y="587"/>
                </a:lnTo>
                <a:lnTo>
                  <a:pt x="5537" y="587"/>
                </a:lnTo>
                <a:lnTo>
                  <a:pt x="5547" y="585"/>
                </a:lnTo>
                <a:lnTo>
                  <a:pt x="5583" y="579"/>
                </a:lnTo>
                <a:lnTo>
                  <a:pt x="5583" y="579"/>
                </a:lnTo>
                <a:lnTo>
                  <a:pt x="5593" y="579"/>
                </a:lnTo>
                <a:lnTo>
                  <a:pt x="5619" y="575"/>
                </a:lnTo>
                <a:lnTo>
                  <a:pt x="5619" y="575"/>
                </a:lnTo>
                <a:lnTo>
                  <a:pt x="5621" y="575"/>
                </a:lnTo>
                <a:lnTo>
                  <a:pt x="5617" y="577"/>
                </a:lnTo>
                <a:lnTo>
                  <a:pt x="5603" y="579"/>
                </a:lnTo>
                <a:lnTo>
                  <a:pt x="5571" y="583"/>
                </a:lnTo>
                <a:lnTo>
                  <a:pt x="5615" y="577"/>
                </a:lnTo>
                <a:lnTo>
                  <a:pt x="5607" y="579"/>
                </a:lnTo>
                <a:lnTo>
                  <a:pt x="5655" y="571"/>
                </a:lnTo>
                <a:lnTo>
                  <a:pt x="5655" y="571"/>
                </a:lnTo>
                <a:lnTo>
                  <a:pt x="5639" y="573"/>
                </a:lnTo>
                <a:lnTo>
                  <a:pt x="5637" y="573"/>
                </a:lnTo>
                <a:lnTo>
                  <a:pt x="5655" y="571"/>
                </a:lnTo>
                <a:lnTo>
                  <a:pt x="5655" y="571"/>
                </a:lnTo>
                <a:lnTo>
                  <a:pt x="5702" y="565"/>
                </a:lnTo>
                <a:lnTo>
                  <a:pt x="5716" y="565"/>
                </a:lnTo>
                <a:lnTo>
                  <a:pt x="5720" y="565"/>
                </a:lnTo>
                <a:lnTo>
                  <a:pt x="5720" y="565"/>
                </a:lnTo>
                <a:lnTo>
                  <a:pt x="5748" y="561"/>
                </a:lnTo>
                <a:lnTo>
                  <a:pt x="5798" y="555"/>
                </a:lnTo>
                <a:lnTo>
                  <a:pt x="5798" y="555"/>
                </a:lnTo>
                <a:lnTo>
                  <a:pt x="5782" y="555"/>
                </a:lnTo>
                <a:lnTo>
                  <a:pt x="5784" y="555"/>
                </a:lnTo>
                <a:lnTo>
                  <a:pt x="5802" y="551"/>
                </a:lnTo>
                <a:lnTo>
                  <a:pt x="5852" y="547"/>
                </a:lnTo>
                <a:lnTo>
                  <a:pt x="5852" y="547"/>
                </a:lnTo>
                <a:lnTo>
                  <a:pt x="5832" y="551"/>
                </a:lnTo>
                <a:lnTo>
                  <a:pt x="5836" y="551"/>
                </a:lnTo>
                <a:lnTo>
                  <a:pt x="5850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18" y="555"/>
                </a:lnTo>
                <a:lnTo>
                  <a:pt x="5776" y="559"/>
                </a:lnTo>
                <a:lnTo>
                  <a:pt x="5776" y="559"/>
                </a:lnTo>
                <a:lnTo>
                  <a:pt x="5812" y="555"/>
                </a:lnTo>
                <a:lnTo>
                  <a:pt x="5842" y="551"/>
                </a:lnTo>
                <a:lnTo>
                  <a:pt x="5868" y="547"/>
                </a:lnTo>
                <a:lnTo>
                  <a:pt x="5900" y="545"/>
                </a:lnTo>
                <a:lnTo>
                  <a:pt x="5900" y="545"/>
                </a:lnTo>
                <a:lnTo>
                  <a:pt x="5896" y="545"/>
                </a:lnTo>
                <a:lnTo>
                  <a:pt x="5876" y="549"/>
                </a:lnTo>
                <a:lnTo>
                  <a:pt x="5876" y="549"/>
                </a:lnTo>
                <a:lnTo>
                  <a:pt x="5904" y="545"/>
                </a:lnTo>
                <a:lnTo>
                  <a:pt x="5950" y="539"/>
                </a:lnTo>
                <a:lnTo>
                  <a:pt x="5950" y="539"/>
                </a:lnTo>
                <a:lnTo>
                  <a:pt x="5938" y="539"/>
                </a:lnTo>
                <a:lnTo>
                  <a:pt x="5940" y="539"/>
                </a:lnTo>
                <a:lnTo>
                  <a:pt x="5954" y="535"/>
                </a:lnTo>
                <a:lnTo>
                  <a:pt x="5996" y="533"/>
                </a:lnTo>
                <a:lnTo>
                  <a:pt x="5996" y="533"/>
                </a:lnTo>
                <a:lnTo>
                  <a:pt x="6020" y="529"/>
                </a:lnTo>
                <a:lnTo>
                  <a:pt x="6028" y="527"/>
                </a:lnTo>
                <a:lnTo>
                  <a:pt x="6034" y="525"/>
                </a:lnTo>
                <a:lnTo>
                  <a:pt x="6052" y="523"/>
                </a:lnTo>
                <a:lnTo>
                  <a:pt x="6026" y="525"/>
                </a:lnTo>
                <a:lnTo>
                  <a:pt x="6026" y="525"/>
                </a:lnTo>
                <a:lnTo>
                  <a:pt x="6054" y="521"/>
                </a:lnTo>
                <a:lnTo>
                  <a:pt x="6082" y="515"/>
                </a:lnTo>
                <a:lnTo>
                  <a:pt x="6082" y="515"/>
                </a:lnTo>
                <a:lnTo>
                  <a:pt x="6016" y="525"/>
                </a:lnTo>
                <a:lnTo>
                  <a:pt x="6016" y="525"/>
                </a:lnTo>
                <a:lnTo>
                  <a:pt x="6016" y="525"/>
                </a:lnTo>
                <a:lnTo>
                  <a:pt x="6018" y="525"/>
                </a:lnTo>
                <a:lnTo>
                  <a:pt x="6032" y="523"/>
                </a:lnTo>
                <a:lnTo>
                  <a:pt x="6064" y="517"/>
                </a:lnTo>
                <a:lnTo>
                  <a:pt x="6064" y="517"/>
                </a:lnTo>
                <a:lnTo>
                  <a:pt x="6149" y="509"/>
                </a:lnTo>
                <a:lnTo>
                  <a:pt x="6149" y="509"/>
                </a:lnTo>
                <a:lnTo>
                  <a:pt x="6139" y="511"/>
                </a:lnTo>
                <a:lnTo>
                  <a:pt x="6117" y="515"/>
                </a:lnTo>
                <a:lnTo>
                  <a:pt x="6097" y="519"/>
                </a:lnTo>
                <a:lnTo>
                  <a:pt x="6091" y="521"/>
                </a:lnTo>
                <a:lnTo>
                  <a:pt x="6091" y="521"/>
                </a:lnTo>
                <a:lnTo>
                  <a:pt x="6091" y="523"/>
                </a:lnTo>
                <a:lnTo>
                  <a:pt x="6091" y="523"/>
                </a:lnTo>
                <a:lnTo>
                  <a:pt x="6255" y="499"/>
                </a:lnTo>
                <a:lnTo>
                  <a:pt x="6255" y="499"/>
                </a:lnTo>
                <a:lnTo>
                  <a:pt x="6291" y="493"/>
                </a:lnTo>
                <a:lnTo>
                  <a:pt x="6293" y="491"/>
                </a:lnTo>
                <a:lnTo>
                  <a:pt x="6293" y="491"/>
                </a:lnTo>
                <a:lnTo>
                  <a:pt x="6289" y="491"/>
                </a:lnTo>
                <a:lnTo>
                  <a:pt x="6289" y="491"/>
                </a:lnTo>
                <a:lnTo>
                  <a:pt x="6331" y="485"/>
                </a:lnTo>
                <a:lnTo>
                  <a:pt x="6309" y="489"/>
                </a:lnTo>
                <a:lnTo>
                  <a:pt x="6459" y="465"/>
                </a:lnTo>
                <a:lnTo>
                  <a:pt x="6459" y="465"/>
                </a:lnTo>
                <a:lnTo>
                  <a:pt x="6481" y="459"/>
                </a:lnTo>
                <a:lnTo>
                  <a:pt x="6471" y="459"/>
                </a:lnTo>
                <a:lnTo>
                  <a:pt x="6510" y="453"/>
                </a:lnTo>
                <a:lnTo>
                  <a:pt x="6503" y="453"/>
                </a:lnTo>
                <a:lnTo>
                  <a:pt x="6503" y="453"/>
                </a:lnTo>
                <a:lnTo>
                  <a:pt x="6530" y="449"/>
                </a:lnTo>
                <a:lnTo>
                  <a:pt x="6570" y="441"/>
                </a:lnTo>
                <a:lnTo>
                  <a:pt x="6570" y="441"/>
                </a:lnTo>
                <a:lnTo>
                  <a:pt x="6556" y="445"/>
                </a:lnTo>
                <a:lnTo>
                  <a:pt x="6556" y="445"/>
                </a:lnTo>
                <a:lnTo>
                  <a:pt x="6628" y="433"/>
                </a:lnTo>
                <a:lnTo>
                  <a:pt x="6628" y="433"/>
                </a:lnTo>
                <a:lnTo>
                  <a:pt x="6618" y="435"/>
                </a:lnTo>
                <a:lnTo>
                  <a:pt x="6588" y="441"/>
                </a:lnTo>
                <a:lnTo>
                  <a:pt x="6588" y="441"/>
                </a:lnTo>
                <a:lnTo>
                  <a:pt x="6584" y="441"/>
                </a:lnTo>
                <a:lnTo>
                  <a:pt x="6540" y="449"/>
                </a:lnTo>
                <a:lnTo>
                  <a:pt x="6540" y="449"/>
                </a:lnTo>
                <a:lnTo>
                  <a:pt x="6600" y="439"/>
                </a:lnTo>
                <a:lnTo>
                  <a:pt x="6616" y="439"/>
                </a:lnTo>
                <a:lnTo>
                  <a:pt x="6620" y="439"/>
                </a:lnTo>
                <a:lnTo>
                  <a:pt x="6620" y="439"/>
                </a:lnTo>
                <a:lnTo>
                  <a:pt x="6636" y="435"/>
                </a:lnTo>
                <a:lnTo>
                  <a:pt x="6626" y="437"/>
                </a:lnTo>
                <a:lnTo>
                  <a:pt x="6618" y="437"/>
                </a:lnTo>
                <a:lnTo>
                  <a:pt x="6638" y="433"/>
                </a:lnTo>
                <a:lnTo>
                  <a:pt x="6638" y="433"/>
                </a:lnTo>
                <a:lnTo>
                  <a:pt x="6696" y="423"/>
                </a:lnTo>
                <a:lnTo>
                  <a:pt x="6750" y="415"/>
                </a:lnTo>
                <a:lnTo>
                  <a:pt x="6796" y="405"/>
                </a:lnTo>
                <a:lnTo>
                  <a:pt x="6834" y="401"/>
                </a:lnTo>
                <a:lnTo>
                  <a:pt x="6834" y="401"/>
                </a:lnTo>
                <a:lnTo>
                  <a:pt x="6971" y="369"/>
                </a:lnTo>
                <a:lnTo>
                  <a:pt x="6971" y="369"/>
                </a:lnTo>
                <a:lnTo>
                  <a:pt x="6989" y="365"/>
                </a:lnTo>
                <a:lnTo>
                  <a:pt x="7001" y="363"/>
                </a:lnTo>
                <a:lnTo>
                  <a:pt x="7005" y="361"/>
                </a:lnTo>
                <a:lnTo>
                  <a:pt x="7003" y="361"/>
                </a:lnTo>
                <a:lnTo>
                  <a:pt x="7003" y="361"/>
                </a:lnTo>
                <a:lnTo>
                  <a:pt x="6965" y="369"/>
                </a:lnTo>
                <a:lnTo>
                  <a:pt x="6926" y="377"/>
                </a:lnTo>
                <a:lnTo>
                  <a:pt x="6890" y="385"/>
                </a:lnTo>
                <a:lnTo>
                  <a:pt x="6858" y="391"/>
                </a:lnTo>
                <a:lnTo>
                  <a:pt x="6858" y="391"/>
                </a:lnTo>
                <a:lnTo>
                  <a:pt x="6838" y="395"/>
                </a:lnTo>
                <a:lnTo>
                  <a:pt x="6830" y="399"/>
                </a:lnTo>
                <a:lnTo>
                  <a:pt x="6830" y="399"/>
                </a:lnTo>
                <a:lnTo>
                  <a:pt x="6786" y="407"/>
                </a:lnTo>
                <a:lnTo>
                  <a:pt x="6786" y="407"/>
                </a:lnTo>
                <a:lnTo>
                  <a:pt x="6810" y="401"/>
                </a:lnTo>
                <a:lnTo>
                  <a:pt x="6818" y="399"/>
                </a:lnTo>
                <a:lnTo>
                  <a:pt x="6830" y="395"/>
                </a:lnTo>
                <a:lnTo>
                  <a:pt x="6862" y="389"/>
                </a:lnTo>
                <a:lnTo>
                  <a:pt x="6862" y="389"/>
                </a:lnTo>
                <a:lnTo>
                  <a:pt x="6826" y="395"/>
                </a:lnTo>
                <a:lnTo>
                  <a:pt x="6778" y="403"/>
                </a:lnTo>
                <a:lnTo>
                  <a:pt x="6778" y="403"/>
                </a:lnTo>
                <a:lnTo>
                  <a:pt x="6782" y="403"/>
                </a:lnTo>
                <a:lnTo>
                  <a:pt x="6780" y="403"/>
                </a:lnTo>
                <a:lnTo>
                  <a:pt x="6764" y="405"/>
                </a:lnTo>
                <a:lnTo>
                  <a:pt x="6764" y="405"/>
                </a:lnTo>
                <a:lnTo>
                  <a:pt x="6834" y="387"/>
                </a:lnTo>
                <a:lnTo>
                  <a:pt x="6834" y="387"/>
                </a:lnTo>
                <a:lnTo>
                  <a:pt x="6832" y="389"/>
                </a:lnTo>
                <a:lnTo>
                  <a:pt x="6834" y="389"/>
                </a:lnTo>
                <a:lnTo>
                  <a:pt x="6836" y="389"/>
                </a:lnTo>
                <a:lnTo>
                  <a:pt x="6836" y="389"/>
                </a:lnTo>
                <a:lnTo>
                  <a:pt x="6902" y="373"/>
                </a:lnTo>
                <a:lnTo>
                  <a:pt x="6902" y="373"/>
                </a:lnTo>
                <a:lnTo>
                  <a:pt x="6922" y="371"/>
                </a:lnTo>
                <a:lnTo>
                  <a:pt x="6922" y="371"/>
                </a:lnTo>
                <a:lnTo>
                  <a:pt x="6918" y="373"/>
                </a:lnTo>
                <a:lnTo>
                  <a:pt x="6918" y="373"/>
                </a:lnTo>
                <a:lnTo>
                  <a:pt x="6981" y="359"/>
                </a:lnTo>
                <a:lnTo>
                  <a:pt x="7007" y="355"/>
                </a:lnTo>
                <a:lnTo>
                  <a:pt x="7017" y="353"/>
                </a:lnTo>
                <a:lnTo>
                  <a:pt x="7017" y="353"/>
                </a:lnTo>
                <a:lnTo>
                  <a:pt x="7035" y="349"/>
                </a:lnTo>
                <a:lnTo>
                  <a:pt x="7027" y="349"/>
                </a:lnTo>
                <a:lnTo>
                  <a:pt x="6999" y="355"/>
                </a:lnTo>
                <a:lnTo>
                  <a:pt x="7003" y="355"/>
                </a:lnTo>
                <a:lnTo>
                  <a:pt x="6953" y="365"/>
                </a:lnTo>
                <a:lnTo>
                  <a:pt x="6953" y="365"/>
                </a:lnTo>
                <a:lnTo>
                  <a:pt x="6959" y="363"/>
                </a:lnTo>
                <a:lnTo>
                  <a:pt x="6979" y="359"/>
                </a:lnTo>
                <a:lnTo>
                  <a:pt x="7003" y="353"/>
                </a:lnTo>
                <a:lnTo>
                  <a:pt x="7017" y="349"/>
                </a:lnTo>
                <a:lnTo>
                  <a:pt x="7017" y="349"/>
                </a:lnTo>
                <a:lnTo>
                  <a:pt x="7021" y="347"/>
                </a:lnTo>
                <a:lnTo>
                  <a:pt x="7031" y="345"/>
                </a:lnTo>
                <a:lnTo>
                  <a:pt x="7059" y="339"/>
                </a:lnTo>
                <a:lnTo>
                  <a:pt x="7093" y="333"/>
                </a:lnTo>
                <a:lnTo>
                  <a:pt x="7123" y="327"/>
                </a:lnTo>
                <a:lnTo>
                  <a:pt x="7083" y="339"/>
                </a:lnTo>
                <a:lnTo>
                  <a:pt x="7119" y="331"/>
                </a:lnTo>
                <a:lnTo>
                  <a:pt x="7119" y="331"/>
                </a:lnTo>
                <a:lnTo>
                  <a:pt x="7097" y="337"/>
                </a:lnTo>
                <a:lnTo>
                  <a:pt x="7067" y="347"/>
                </a:lnTo>
                <a:lnTo>
                  <a:pt x="7067" y="347"/>
                </a:lnTo>
                <a:lnTo>
                  <a:pt x="7149" y="329"/>
                </a:lnTo>
                <a:lnTo>
                  <a:pt x="7217" y="313"/>
                </a:lnTo>
                <a:lnTo>
                  <a:pt x="7217" y="313"/>
                </a:lnTo>
                <a:lnTo>
                  <a:pt x="7231" y="311"/>
                </a:lnTo>
                <a:lnTo>
                  <a:pt x="7231" y="311"/>
                </a:lnTo>
                <a:lnTo>
                  <a:pt x="7229" y="313"/>
                </a:lnTo>
                <a:lnTo>
                  <a:pt x="7229" y="313"/>
                </a:lnTo>
                <a:lnTo>
                  <a:pt x="7263" y="305"/>
                </a:lnTo>
                <a:lnTo>
                  <a:pt x="7291" y="299"/>
                </a:lnTo>
                <a:lnTo>
                  <a:pt x="7347" y="286"/>
                </a:lnTo>
                <a:lnTo>
                  <a:pt x="7347" y="286"/>
                </a:lnTo>
                <a:lnTo>
                  <a:pt x="7362" y="282"/>
                </a:lnTo>
                <a:lnTo>
                  <a:pt x="7347" y="284"/>
                </a:lnTo>
                <a:lnTo>
                  <a:pt x="7329" y="288"/>
                </a:lnTo>
                <a:lnTo>
                  <a:pt x="7329" y="288"/>
                </a:lnTo>
                <a:lnTo>
                  <a:pt x="7335" y="286"/>
                </a:lnTo>
                <a:lnTo>
                  <a:pt x="7335" y="286"/>
                </a:lnTo>
                <a:lnTo>
                  <a:pt x="7362" y="280"/>
                </a:lnTo>
                <a:lnTo>
                  <a:pt x="7386" y="272"/>
                </a:lnTo>
                <a:lnTo>
                  <a:pt x="7386" y="272"/>
                </a:lnTo>
                <a:lnTo>
                  <a:pt x="7291" y="294"/>
                </a:lnTo>
                <a:lnTo>
                  <a:pt x="7291" y="294"/>
                </a:lnTo>
                <a:lnTo>
                  <a:pt x="7311" y="288"/>
                </a:lnTo>
                <a:lnTo>
                  <a:pt x="7319" y="286"/>
                </a:lnTo>
                <a:lnTo>
                  <a:pt x="7279" y="294"/>
                </a:lnTo>
                <a:lnTo>
                  <a:pt x="7279" y="294"/>
                </a:lnTo>
                <a:lnTo>
                  <a:pt x="7287" y="292"/>
                </a:lnTo>
                <a:lnTo>
                  <a:pt x="7307" y="288"/>
                </a:lnTo>
                <a:lnTo>
                  <a:pt x="7347" y="278"/>
                </a:lnTo>
                <a:lnTo>
                  <a:pt x="7347" y="278"/>
                </a:lnTo>
                <a:lnTo>
                  <a:pt x="7331" y="284"/>
                </a:lnTo>
                <a:lnTo>
                  <a:pt x="7331" y="284"/>
                </a:lnTo>
                <a:lnTo>
                  <a:pt x="7392" y="270"/>
                </a:lnTo>
                <a:lnTo>
                  <a:pt x="7450" y="256"/>
                </a:lnTo>
                <a:lnTo>
                  <a:pt x="7450" y="256"/>
                </a:lnTo>
                <a:lnTo>
                  <a:pt x="7454" y="256"/>
                </a:lnTo>
                <a:lnTo>
                  <a:pt x="7448" y="258"/>
                </a:lnTo>
                <a:lnTo>
                  <a:pt x="7426" y="264"/>
                </a:lnTo>
                <a:lnTo>
                  <a:pt x="7426" y="264"/>
                </a:lnTo>
                <a:lnTo>
                  <a:pt x="7446" y="258"/>
                </a:lnTo>
                <a:lnTo>
                  <a:pt x="7468" y="254"/>
                </a:lnTo>
                <a:lnTo>
                  <a:pt x="7468" y="254"/>
                </a:lnTo>
                <a:lnTo>
                  <a:pt x="7454" y="258"/>
                </a:lnTo>
                <a:lnTo>
                  <a:pt x="7434" y="262"/>
                </a:lnTo>
                <a:lnTo>
                  <a:pt x="7536" y="238"/>
                </a:lnTo>
                <a:lnTo>
                  <a:pt x="7536" y="238"/>
                </a:lnTo>
                <a:lnTo>
                  <a:pt x="7494" y="248"/>
                </a:lnTo>
                <a:lnTo>
                  <a:pt x="7494" y="248"/>
                </a:lnTo>
                <a:lnTo>
                  <a:pt x="7538" y="238"/>
                </a:lnTo>
                <a:lnTo>
                  <a:pt x="7584" y="224"/>
                </a:lnTo>
                <a:lnTo>
                  <a:pt x="7584" y="224"/>
                </a:lnTo>
                <a:lnTo>
                  <a:pt x="7634" y="212"/>
                </a:lnTo>
                <a:lnTo>
                  <a:pt x="7648" y="210"/>
                </a:lnTo>
                <a:lnTo>
                  <a:pt x="7650" y="210"/>
                </a:lnTo>
                <a:lnTo>
                  <a:pt x="7648" y="210"/>
                </a:lnTo>
                <a:lnTo>
                  <a:pt x="7648" y="210"/>
                </a:lnTo>
                <a:lnTo>
                  <a:pt x="7658" y="208"/>
                </a:lnTo>
                <a:lnTo>
                  <a:pt x="7654" y="208"/>
                </a:lnTo>
                <a:lnTo>
                  <a:pt x="7654" y="208"/>
                </a:lnTo>
                <a:lnTo>
                  <a:pt x="7700" y="194"/>
                </a:lnTo>
                <a:lnTo>
                  <a:pt x="7734" y="184"/>
                </a:lnTo>
                <a:lnTo>
                  <a:pt x="7712" y="190"/>
                </a:lnTo>
                <a:lnTo>
                  <a:pt x="7712" y="190"/>
                </a:lnTo>
                <a:lnTo>
                  <a:pt x="7734" y="184"/>
                </a:lnTo>
                <a:lnTo>
                  <a:pt x="7740" y="182"/>
                </a:lnTo>
                <a:lnTo>
                  <a:pt x="7744" y="180"/>
                </a:lnTo>
                <a:lnTo>
                  <a:pt x="7762" y="174"/>
                </a:lnTo>
                <a:lnTo>
                  <a:pt x="7762" y="174"/>
                </a:lnTo>
                <a:lnTo>
                  <a:pt x="7760" y="176"/>
                </a:lnTo>
                <a:lnTo>
                  <a:pt x="7760" y="178"/>
                </a:lnTo>
                <a:lnTo>
                  <a:pt x="7766" y="178"/>
                </a:lnTo>
                <a:lnTo>
                  <a:pt x="7766" y="178"/>
                </a:lnTo>
                <a:lnTo>
                  <a:pt x="7789" y="172"/>
                </a:lnTo>
                <a:lnTo>
                  <a:pt x="7817" y="164"/>
                </a:lnTo>
                <a:lnTo>
                  <a:pt x="7817" y="164"/>
                </a:lnTo>
                <a:lnTo>
                  <a:pt x="7815" y="164"/>
                </a:lnTo>
                <a:lnTo>
                  <a:pt x="7817" y="164"/>
                </a:lnTo>
                <a:lnTo>
                  <a:pt x="7827" y="160"/>
                </a:lnTo>
                <a:lnTo>
                  <a:pt x="7835" y="158"/>
                </a:lnTo>
                <a:lnTo>
                  <a:pt x="7825" y="160"/>
                </a:lnTo>
                <a:lnTo>
                  <a:pt x="7825" y="160"/>
                </a:lnTo>
                <a:lnTo>
                  <a:pt x="7875" y="148"/>
                </a:lnTo>
                <a:lnTo>
                  <a:pt x="7915" y="136"/>
                </a:lnTo>
                <a:lnTo>
                  <a:pt x="7915" y="136"/>
                </a:lnTo>
                <a:lnTo>
                  <a:pt x="7911" y="136"/>
                </a:lnTo>
                <a:lnTo>
                  <a:pt x="7923" y="132"/>
                </a:lnTo>
                <a:lnTo>
                  <a:pt x="7933" y="130"/>
                </a:lnTo>
                <a:lnTo>
                  <a:pt x="7935" y="128"/>
                </a:lnTo>
                <a:lnTo>
                  <a:pt x="7933" y="128"/>
                </a:lnTo>
                <a:lnTo>
                  <a:pt x="7933" y="128"/>
                </a:lnTo>
                <a:lnTo>
                  <a:pt x="7979" y="118"/>
                </a:lnTo>
                <a:lnTo>
                  <a:pt x="7989" y="116"/>
                </a:lnTo>
                <a:lnTo>
                  <a:pt x="7991" y="116"/>
                </a:lnTo>
                <a:lnTo>
                  <a:pt x="7989" y="116"/>
                </a:lnTo>
                <a:lnTo>
                  <a:pt x="7989" y="116"/>
                </a:lnTo>
                <a:lnTo>
                  <a:pt x="7965" y="122"/>
                </a:lnTo>
                <a:lnTo>
                  <a:pt x="7955" y="126"/>
                </a:lnTo>
                <a:lnTo>
                  <a:pt x="8027" y="108"/>
                </a:lnTo>
                <a:lnTo>
                  <a:pt x="8027" y="108"/>
                </a:lnTo>
                <a:lnTo>
                  <a:pt x="8053" y="100"/>
                </a:lnTo>
                <a:lnTo>
                  <a:pt x="8069" y="98"/>
                </a:lnTo>
                <a:lnTo>
                  <a:pt x="8069" y="98"/>
                </a:lnTo>
                <a:lnTo>
                  <a:pt x="8115" y="86"/>
                </a:lnTo>
                <a:lnTo>
                  <a:pt x="8137" y="80"/>
                </a:lnTo>
                <a:lnTo>
                  <a:pt x="8155" y="74"/>
                </a:lnTo>
                <a:lnTo>
                  <a:pt x="8155" y="74"/>
                </a:lnTo>
                <a:lnTo>
                  <a:pt x="8123" y="84"/>
                </a:lnTo>
                <a:lnTo>
                  <a:pt x="8101" y="88"/>
                </a:lnTo>
                <a:lnTo>
                  <a:pt x="8113" y="84"/>
                </a:lnTo>
                <a:lnTo>
                  <a:pt x="8107" y="86"/>
                </a:lnTo>
                <a:lnTo>
                  <a:pt x="8137" y="76"/>
                </a:lnTo>
                <a:lnTo>
                  <a:pt x="8137" y="76"/>
                </a:lnTo>
                <a:lnTo>
                  <a:pt x="8123" y="80"/>
                </a:lnTo>
                <a:lnTo>
                  <a:pt x="8119" y="82"/>
                </a:lnTo>
                <a:lnTo>
                  <a:pt x="8111" y="84"/>
                </a:lnTo>
                <a:lnTo>
                  <a:pt x="8091" y="90"/>
                </a:lnTo>
                <a:lnTo>
                  <a:pt x="8091" y="90"/>
                </a:lnTo>
                <a:lnTo>
                  <a:pt x="8083" y="90"/>
                </a:lnTo>
                <a:lnTo>
                  <a:pt x="8087" y="88"/>
                </a:lnTo>
                <a:lnTo>
                  <a:pt x="8113" y="80"/>
                </a:lnTo>
                <a:lnTo>
                  <a:pt x="8137" y="72"/>
                </a:lnTo>
                <a:lnTo>
                  <a:pt x="8141" y="72"/>
                </a:lnTo>
                <a:lnTo>
                  <a:pt x="8133" y="72"/>
                </a:lnTo>
                <a:lnTo>
                  <a:pt x="8133" y="72"/>
                </a:lnTo>
                <a:lnTo>
                  <a:pt x="8105" y="80"/>
                </a:lnTo>
                <a:lnTo>
                  <a:pt x="8083" y="88"/>
                </a:lnTo>
                <a:lnTo>
                  <a:pt x="8089" y="88"/>
                </a:lnTo>
                <a:lnTo>
                  <a:pt x="8033" y="104"/>
                </a:lnTo>
                <a:lnTo>
                  <a:pt x="8033" y="104"/>
                </a:lnTo>
                <a:lnTo>
                  <a:pt x="8039" y="100"/>
                </a:lnTo>
                <a:lnTo>
                  <a:pt x="8047" y="98"/>
                </a:lnTo>
                <a:lnTo>
                  <a:pt x="8047" y="98"/>
                </a:lnTo>
                <a:lnTo>
                  <a:pt x="7891" y="138"/>
                </a:lnTo>
                <a:lnTo>
                  <a:pt x="7891" y="138"/>
                </a:lnTo>
                <a:lnTo>
                  <a:pt x="7899" y="138"/>
                </a:lnTo>
                <a:lnTo>
                  <a:pt x="7895" y="140"/>
                </a:lnTo>
                <a:lnTo>
                  <a:pt x="7877" y="144"/>
                </a:lnTo>
                <a:lnTo>
                  <a:pt x="7877" y="144"/>
                </a:lnTo>
                <a:lnTo>
                  <a:pt x="7853" y="150"/>
                </a:lnTo>
                <a:lnTo>
                  <a:pt x="7831" y="156"/>
                </a:lnTo>
                <a:lnTo>
                  <a:pt x="7831" y="156"/>
                </a:lnTo>
                <a:lnTo>
                  <a:pt x="7849" y="150"/>
                </a:lnTo>
                <a:lnTo>
                  <a:pt x="7869" y="144"/>
                </a:lnTo>
                <a:lnTo>
                  <a:pt x="7867" y="144"/>
                </a:lnTo>
                <a:lnTo>
                  <a:pt x="7867" y="144"/>
                </a:lnTo>
                <a:lnTo>
                  <a:pt x="7911" y="130"/>
                </a:lnTo>
                <a:lnTo>
                  <a:pt x="7969" y="112"/>
                </a:lnTo>
                <a:lnTo>
                  <a:pt x="7969" y="112"/>
                </a:lnTo>
                <a:lnTo>
                  <a:pt x="8005" y="100"/>
                </a:lnTo>
                <a:lnTo>
                  <a:pt x="8069" y="84"/>
                </a:lnTo>
                <a:lnTo>
                  <a:pt x="8049" y="88"/>
                </a:lnTo>
                <a:lnTo>
                  <a:pt x="8049" y="88"/>
                </a:lnTo>
                <a:lnTo>
                  <a:pt x="8069" y="82"/>
                </a:lnTo>
                <a:lnTo>
                  <a:pt x="8077" y="80"/>
                </a:lnTo>
                <a:lnTo>
                  <a:pt x="8085" y="78"/>
                </a:lnTo>
                <a:lnTo>
                  <a:pt x="8113" y="72"/>
                </a:lnTo>
                <a:lnTo>
                  <a:pt x="8113" y="72"/>
                </a:lnTo>
                <a:lnTo>
                  <a:pt x="8151" y="64"/>
                </a:lnTo>
                <a:lnTo>
                  <a:pt x="8159" y="64"/>
                </a:lnTo>
                <a:lnTo>
                  <a:pt x="8149" y="68"/>
                </a:lnTo>
                <a:lnTo>
                  <a:pt x="8149" y="68"/>
                </a:lnTo>
                <a:lnTo>
                  <a:pt x="8194" y="56"/>
                </a:lnTo>
                <a:lnTo>
                  <a:pt x="8236" y="44"/>
                </a:lnTo>
                <a:lnTo>
                  <a:pt x="8236" y="44"/>
                </a:lnTo>
                <a:lnTo>
                  <a:pt x="8244" y="44"/>
                </a:lnTo>
                <a:lnTo>
                  <a:pt x="8240" y="46"/>
                </a:lnTo>
                <a:lnTo>
                  <a:pt x="8232" y="48"/>
                </a:lnTo>
                <a:lnTo>
                  <a:pt x="8230" y="50"/>
                </a:lnTo>
                <a:lnTo>
                  <a:pt x="8230" y="50"/>
                </a:lnTo>
                <a:lnTo>
                  <a:pt x="8230" y="50"/>
                </a:lnTo>
                <a:lnTo>
                  <a:pt x="8266" y="40"/>
                </a:lnTo>
                <a:lnTo>
                  <a:pt x="8274" y="38"/>
                </a:lnTo>
                <a:lnTo>
                  <a:pt x="8268" y="38"/>
                </a:lnTo>
                <a:lnTo>
                  <a:pt x="8318" y="26"/>
                </a:lnTo>
                <a:lnTo>
                  <a:pt x="8318" y="26"/>
                </a:lnTo>
                <a:lnTo>
                  <a:pt x="8294" y="32"/>
                </a:lnTo>
                <a:lnTo>
                  <a:pt x="8294" y="32"/>
                </a:lnTo>
                <a:lnTo>
                  <a:pt x="8360" y="14"/>
                </a:lnTo>
                <a:lnTo>
                  <a:pt x="8360" y="14"/>
                </a:lnTo>
                <a:lnTo>
                  <a:pt x="8338" y="20"/>
                </a:lnTo>
                <a:lnTo>
                  <a:pt x="8338" y="20"/>
                </a:lnTo>
                <a:lnTo>
                  <a:pt x="8398" y="2"/>
                </a:lnTo>
                <a:lnTo>
                  <a:pt x="8398" y="2"/>
                </a:lnTo>
                <a:lnTo>
                  <a:pt x="8366" y="10"/>
                </a:lnTo>
                <a:lnTo>
                  <a:pt x="8334" y="18"/>
                </a:lnTo>
                <a:lnTo>
                  <a:pt x="8334" y="18"/>
                </a:lnTo>
                <a:lnTo>
                  <a:pt x="8340" y="16"/>
                </a:lnTo>
                <a:lnTo>
                  <a:pt x="8358" y="12"/>
                </a:lnTo>
                <a:lnTo>
                  <a:pt x="8358" y="12"/>
                </a:lnTo>
                <a:lnTo>
                  <a:pt x="8322" y="20"/>
                </a:lnTo>
                <a:lnTo>
                  <a:pt x="8296" y="26"/>
                </a:lnTo>
                <a:lnTo>
                  <a:pt x="8296" y="26"/>
                </a:lnTo>
                <a:lnTo>
                  <a:pt x="8322" y="18"/>
                </a:lnTo>
                <a:lnTo>
                  <a:pt x="8336" y="14"/>
                </a:lnTo>
                <a:lnTo>
                  <a:pt x="8336" y="14"/>
                </a:lnTo>
                <a:lnTo>
                  <a:pt x="8264" y="34"/>
                </a:lnTo>
                <a:lnTo>
                  <a:pt x="8264" y="34"/>
                </a:lnTo>
                <a:lnTo>
                  <a:pt x="8252" y="36"/>
                </a:lnTo>
                <a:lnTo>
                  <a:pt x="8228" y="42"/>
                </a:lnTo>
                <a:lnTo>
                  <a:pt x="8212" y="46"/>
                </a:lnTo>
                <a:lnTo>
                  <a:pt x="8210" y="48"/>
                </a:lnTo>
                <a:lnTo>
                  <a:pt x="8214" y="46"/>
                </a:lnTo>
                <a:lnTo>
                  <a:pt x="8214" y="46"/>
                </a:lnTo>
                <a:lnTo>
                  <a:pt x="8167" y="58"/>
                </a:lnTo>
                <a:lnTo>
                  <a:pt x="8167" y="58"/>
                </a:lnTo>
                <a:lnTo>
                  <a:pt x="8190" y="50"/>
                </a:lnTo>
                <a:lnTo>
                  <a:pt x="8222" y="40"/>
                </a:lnTo>
                <a:lnTo>
                  <a:pt x="8222" y="40"/>
                </a:lnTo>
                <a:lnTo>
                  <a:pt x="8254" y="32"/>
                </a:lnTo>
                <a:lnTo>
                  <a:pt x="8256" y="32"/>
                </a:lnTo>
                <a:lnTo>
                  <a:pt x="8252" y="34"/>
                </a:lnTo>
                <a:lnTo>
                  <a:pt x="8238" y="38"/>
                </a:lnTo>
                <a:lnTo>
                  <a:pt x="8236" y="40"/>
                </a:lnTo>
                <a:lnTo>
                  <a:pt x="8238" y="38"/>
                </a:lnTo>
                <a:lnTo>
                  <a:pt x="8296" y="24"/>
                </a:lnTo>
                <a:lnTo>
                  <a:pt x="8296" y="24"/>
                </a:lnTo>
                <a:lnTo>
                  <a:pt x="8300" y="22"/>
                </a:lnTo>
                <a:lnTo>
                  <a:pt x="8282" y="26"/>
                </a:lnTo>
                <a:lnTo>
                  <a:pt x="8282" y="26"/>
                </a:lnTo>
                <a:lnTo>
                  <a:pt x="8318" y="14"/>
                </a:lnTo>
                <a:lnTo>
                  <a:pt x="8364" y="2"/>
                </a:lnTo>
                <a:lnTo>
                  <a:pt x="8364" y="2"/>
                </a:lnTo>
                <a:lnTo>
                  <a:pt x="8358" y="4"/>
                </a:lnTo>
                <a:lnTo>
                  <a:pt x="8342" y="8"/>
                </a:lnTo>
                <a:lnTo>
                  <a:pt x="8342" y="8"/>
                </a:lnTo>
                <a:lnTo>
                  <a:pt x="8360" y="0"/>
                </a:lnTo>
                <a:lnTo>
                  <a:pt x="8362" y="0"/>
                </a:lnTo>
                <a:lnTo>
                  <a:pt x="8358" y="0"/>
                </a:lnTo>
                <a:lnTo>
                  <a:pt x="8338" y="6"/>
                </a:lnTo>
                <a:lnTo>
                  <a:pt x="8338" y="6"/>
                </a:lnTo>
                <a:lnTo>
                  <a:pt x="8340" y="4"/>
                </a:lnTo>
                <a:lnTo>
                  <a:pt x="8334" y="6"/>
                </a:lnTo>
                <a:lnTo>
                  <a:pt x="8330" y="8"/>
                </a:lnTo>
                <a:lnTo>
                  <a:pt x="8340" y="6"/>
                </a:lnTo>
                <a:lnTo>
                  <a:pt x="8340" y="6"/>
                </a:lnTo>
                <a:lnTo>
                  <a:pt x="8300" y="16"/>
                </a:lnTo>
                <a:lnTo>
                  <a:pt x="8286" y="20"/>
                </a:lnTo>
                <a:lnTo>
                  <a:pt x="8284" y="20"/>
                </a:lnTo>
                <a:lnTo>
                  <a:pt x="8290" y="18"/>
                </a:lnTo>
                <a:lnTo>
                  <a:pt x="8204" y="42"/>
                </a:lnTo>
                <a:lnTo>
                  <a:pt x="8204" y="42"/>
                </a:lnTo>
                <a:lnTo>
                  <a:pt x="8212" y="40"/>
                </a:lnTo>
                <a:lnTo>
                  <a:pt x="8230" y="34"/>
                </a:lnTo>
                <a:lnTo>
                  <a:pt x="8163" y="52"/>
                </a:lnTo>
                <a:lnTo>
                  <a:pt x="8183" y="48"/>
                </a:lnTo>
                <a:lnTo>
                  <a:pt x="8183" y="48"/>
                </a:lnTo>
                <a:lnTo>
                  <a:pt x="8121" y="66"/>
                </a:lnTo>
                <a:lnTo>
                  <a:pt x="8065" y="82"/>
                </a:lnTo>
                <a:lnTo>
                  <a:pt x="8065" y="82"/>
                </a:lnTo>
                <a:lnTo>
                  <a:pt x="8089" y="74"/>
                </a:lnTo>
                <a:lnTo>
                  <a:pt x="8127" y="64"/>
                </a:lnTo>
                <a:lnTo>
                  <a:pt x="8127" y="64"/>
                </a:lnTo>
                <a:lnTo>
                  <a:pt x="8113" y="66"/>
                </a:lnTo>
                <a:lnTo>
                  <a:pt x="8105" y="68"/>
                </a:lnTo>
                <a:lnTo>
                  <a:pt x="8071" y="78"/>
                </a:lnTo>
                <a:lnTo>
                  <a:pt x="8071" y="78"/>
                </a:lnTo>
                <a:lnTo>
                  <a:pt x="8065" y="80"/>
                </a:lnTo>
                <a:lnTo>
                  <a:pt x="8067" y="78"/>
                </a:lnTo>
                <a:lnTo>
                  <a:pt x="8035" y="88"/>
                </a:lnTo>
                <a:lnTo>
                  <a:pt x="8035" y="88"/>
                </a:lnTo>
                <a:lnTo>
                  <a:pt x="8029" y="90"/>
                </a:lnTo>
                <a:lnTo>
                  <a:pt x="8035" y="88"/>
                </a:lnTo>
                <a:lnTo>
                  <a:pt x="8035" y="88"/>
                </a:lnTo>
                <a:lnTo>
                  <a:pt x="8011" y="96"/>
                </a:lnTo>
                <a:lnTo>
                  <a:pt x="8007" y="98"/>
                </a:lnTo>
                <a:lnTo>
                  <a:pt x="7963" y="110"/>
                </a:lnTo>
                <a:lnTo>
                  <a:pt x="7963" y="110"/>
                </a:lnTo>
                <a:lnTo>
                  <a:pt x="8003" y="100"/>
                </a:lnTo>
                <a:lnTo>
                  <a:pt x="8039" y="90"/>
                </a:lnTo>
                <a:lnTo>
                  <a:pt x="8039" y="90"/>
                </a:lnTo>
                <a:lnTo>
                  <a:pt x="8043" y="88"/>
                </a:lnTo>
                <a:lnTo>
                  <a:pt x="8041" y="90"/>
                </a:lnTo>
                <a:lnTo>
                  <a:pt x="8023" y="96"/>
                </a:lnTo>
                <a:lnTo>
                  <a:pt x="7985" y="106"/>
                </a:lnTo>
                <a:lnTo>
                  <a:pt x="7985" y="106"/>
                </a:lnTo>
                <a:lnTo>
                  <a:pt x="7945" y="116"/>
                </a:lnTo>
                <a:lnTo>
                  <a:pt x="7899" y="128"/>
                </a:lnTo>
                <a:lnTo>
                  <a:pt x="7899" y="128"/>
                </a:lnTo>
                <a:lnTo>
                  <a:pt x="7917" y="122"/>
                </a:lnTo>
                <a:lnTo>
                  <a:pt x="7945" y="114"/>
                </a:lnTo>
                <a:lnTo>
                  <a:pt x="7945" y="114"/>
                </a:lnTo>
                <a:lnTo>
                  <a:pt x="7953" y="110"/>
                </a:lnTo>
                <a:lnTo>
                  <a:pt x="7947" y="112"/>
                </a:lnTo>
                <a:lnTo>
                  <a:pt x="7927" y="116"/>
                </a:lnTo>
                <a:lnTo>
                  <a:pt x="7927" y="116"/>
                </a:lnTo>
                <a:lnTo>
                  <a:pt x="7921" y="118"/>
                </a:lnTo>
                <a:lnTo>
                  <a:pt x="7921" y="120"/>
                </a:lnTo>
                <a:lnTo>
                  <a:pt x="7901" y="126"/>
                </a:lnTo>
                <a:lnTo>
                  <a:pt x="7903" y="124"/>
                </a:lnTo>
                <a:lnTo>
                  <a:pt x="7847" y="140"/>
                </a:lnTo>
                <a:lnTo>
                  <a:pt x="7847" y="140"/>
                </a:lnTo>
                <a:lnTo>
                  <a:pt x="7766" y="162"/>
                </a:lnTo>
                <a:lnTo>
                  <a:pt x="7728" y="172"/>
                </a:lnTo>
                <a:lnTo>
                  <a:pt x="7696" y="180"/>
                </a:lnTo>
                <a:lnTo>
                  <a:pt x="7704" y="180"/>
                </a:lnTo>
                <a:lnTo>
                  <a:pt x="7604" y="206"/>
                </a:lnTo>
                <a:lnTo>
                  <a:pt x="7604" y="206"/>
                </a:lnTo>
                <a:lnTo>
                  <a:pt x="7622" y="200"/>
                </a:lnTo>
                <a:lnTo>
                  <a:pt x="7654" y="192"/>
                </a:lnTo>
                <a:lnTo>
                  <a:pt x="7654" y="192"/>
                </a:lnTo>
                <a:lnTo>
                  <a:pt x="7572" y="214"/>
                </a:lnTo>
                <a:lnTo>
                  <a:pt x="7506" y="232"/>
                </a:lnTo>
                <a:lnTo>
                  <a:pt x="7506" y="232"/>
                </a:lnTo>
                <a:lnTo>
                  <a:pt x="7566" y="218"/>
                </a:lnTo>
                <a:lnTo>
                  <a:pt x="7566" y="218"/>
                </a:lnTo>
                <a:lnTo>
                  <a:pt x="7542" y="226"/>
                </a:lnTo>
                <a:lnTo>
                  <a:pt x="7524" y="230"/>
                </a:lnTo>
                <a:lnTo>
                  <a:pt x="7502" y="234"/>
                </a:lnTo>
                <a:lnTo>
                  <a:pt x="7472" y="242"/>
                </a:lnTo>
                <a:lnTo>
                  <a:pt x="7472" y="242"/>
                </a:lnTo>
                <a:lnTo>
                  <a:pt x="7474" y="240"/>
                </a:lnTo>
                <a:lnTo>
                  <a:pt x="7478" y="240"/>
                </a:lnTo>
                <a:lnTo>
                  <a:pt x="7480" y="238"/>
                </a:lnTo>
                <a:lnTo>
                  <a:pt x="7474" y="238"/>
                </a:lnTo>
                <a:lnTo>
                  <a:pt x="7474" y="238"/>
                </a:lnTo>
                <a:lnTo>
                  <a:pt x="7398" y="260"/>
                </a:lnTo>
                <a:lnTo>
                  <a:pt x="7398" y="260"/>
                </a:lnTo>
                <a:lnTo>
                  <a:pt x="7394" y="258"/>
                </a:lnTo>
                <a:lnTo>
                  <a:pt x="7404" y="256"/>
                </a:lnTo>
                <a:lnTo>
                  <a:pt x="7456" y="242"/>
                </a:lnTo>
                <a:lnTo>
                  <a:pt x="7456" y="242"/>
                </a:lnTo>
                <a:lnTo>
                  <a:pt x="7514" y="228"/>
                </a:lnTo>
                <a:lnTo>
                  <a:pt x="7566" y="214"/>
                </a:lnTo>
                <a:lnTo>
                  <a:pt x="7548" y="218"/>
                </a:lnTo>
                <a:lnTo>
                  <a:pt x="7548" y="218"/>
                </a:lnTo>
                <a:lnTo>
                  <a:pt x="7640" y="192"/>
                </a:lnTo>
                <a:lnTo>
                  <a:pt x="7640" y="194"/>
                </a:lnTo>
                <a:lnTo>
                  <a:pt x="7654" y="188"/>
                </a:lnTo>
                <a:lnTo>
                  <a:pt x="7638" y="192"/>
                </a:lnTo>
                <a:lnTo>
                  <a:pt x="7638" y="192"/>
                </a:lnTo>
                <a:lnTo>
                  <a:pt x="7696" y="174"/>
                </a:lnTo>
                <a:lnTo>
                  <a:pt x="7696" y="174"/>
                </a:lnTo>
                <a:lnTo>
                  <a:pt x="7644" y="190"/>
                </a:lnTo>
                <a:lnTo>
                  <a:pt x="7614" y="200"/>
                </a:lnTo>
                <a:lnTo>
                  <a:pt x="7614" y="200"/>
                </a:lnTo>
                <a:lnTo>
                  <a:pt x="7558" y="214"/>
                </a:lnTo>
                <a:lnTo>
                  <a:pt x="7536" y="218"/>
                </a:lnTo>
                <a:lnTo>
                  <a:pt x="7514" y="224"/>
                </a:lnTo>
                <a:lnTo>
                  <a:pt x="7514" y="224"/>
                </a:lnTo>
                <a:lnTo>
                  <a:pt x="7500" y="226"/>
                </a:lnTo>
                <a:lnTo>
                  <a:pt x="7496" y="226"/>
                </a:lnTo>
                <a:lnTo>
                  <a:pt x="7504" y="224"/>
                </a:lnTo>
                <a:lnTo>
                  <a:pt x="7504" y="224"/>
                </a:lnTo>
                <a:lnTo>
                  <a:pt x="7538" y="216"/>
                </a:lnTo>
                <a:lnTo>
                  <a:pt x="7554" y="210"/>
                </a:lnTo>
                <a:lnTo>
                  <a:pt x="7554" y="210"/>
                </a:lnTo>
                <a:lnTo>
                  <a:pt x="7492" y="226"/>
                </a:lnTo>
                <a:lnTo>
                  <a:pt x="7492" y="226"/>
                </a:lnTo>
                <a:lnTo>
                  <a:pt x="7466" y="234"/>
                </a:lnTo>
                <a:lnTo>
                  <a:pt x="7422" y="248"/>
                </a:lnTo>
                <a:lnTo>
                  <a:pt x="7422" y="248"/>
                </a:lnTo>
                <a:lnTo>
                  <a:pt x="7370" y="260"/>
                </a:lnTo>
                <a:lnTo>
                  <a:pt x="7321" y="272"/>
                </a:lnTo>
                <a:lnTo>
                  <a:pt x="7321" y="272"/>
                </a:lnTo>
                <a:lnTo>
                  <a:pt x="7366" y="260"/>
                </a:lnTo>
                <a:lnTo>
                  <a:pt x="7378" y="256"/>
                </a:lnTo>
                <a:lnTo>
                  <a:pt x="7380" y="256"/>
                </a:lnTo>
                <a:lnTo>
                  <a:pt x="7378" y="256"/>
                </a:lnTo>
                <a:lnTo>
                  <a:pt x="7378" y="256"/>
                </a:lnTo>
                <a:lnTo>
                  <a:pt x="7339" y="266"/>
                </a:lnTo>
                <a:lnTo>
                  <a:pt x="7325" y="268"/>
                </a:lnTo>
                <a:lnTo>
                  <a:pt x="7323" y="270"/>
                </a:lnTo>
                <a:lnTo>
                  <a:pt x="7323" y="270"/>
                </a:lnTo>
                <a:lnTo>
                  <a:pt x="7323" y="270"/>
                </a:lnTo>
                <a:lnTo>
                  <a:pt x="7257" y="284"/>
                </a:lnTo>
                <a:lnTo>
                  <a:pt x="7231" y="290"/>
                </a:lnTo>
                <a:lnTo>
                  <a:pt x="7217" y="292"/>
                </a:lnTo>
                <a:lnTo>
                  <a:pt x="7217" y="292"/>
                </a:lnTo>
                <a:lnTo>
                  <a:pt x="7319" y="268"/>
                </a:lnTo>
                <a:lnTo>
                  <a:pt x="7319" y="268"/>
                </a:lnTo>
                <a:lnTo>
                  <a:pt x="7307" y="272"/>
                </a:lnTo>
                <a:lnTo>
                  <a:pt x="7305" y="272"/>
                </a:lnTo>
                <a:lnTo>
                  <a:pt x="7307" y="270"/>
                </a:lnTo>
                <a:lnTo>
                  <a:pt x="7352" y="260"/>
                </a:lnTo>
                <a:lnTo>
                  <a:pt x="7352" y="260"/>
                </a:lnTo>
                <a:lnTo>
                  <a:pt x="7319" y="266"/>
                </a:lnTo>
                <a:lnTo>
                  <a:pt x="7281" y="276"/>
                </a:lnTo>
                <a:lnTo>
                  <a:pt x="7281" y="276"/>
                </a:lnTo>
                <a:lnTo>
                  <a:pt x="7285" y="276"/>
                </a:lnTo>
                <a:lnTo>
                  <a:pt x="7249" y="284"/>
                </a:lnTo>
                <a:lnTo>
                  <a:pt x="7247" y="282"/>
                </a:lnTo>
                <a:lnTo>
                  <a:pt x="7247" y="282"/>
                </a:lnTo>
                <a:lnTo>
                  <a:pt x="7181" y="299"/>
                </a:lnTo>
                <a:lnTo>
                  <a:pt x="7093" y="319"/>
                </a:lnTo>
                <a:lnTo>
                  <a:pt x="7099" y="317"/>
                </a:lnTo>
                <a:lnTo>
                  <a:pt x="7099" y="317"/>
                </a:lnTo>
                <a:lnTo>
                  <a:pt x="7069" y="323"/>
                </a:lnTo>
                <a:lnTo>
                  <a:pt x="7049" y="329"/>
                </a:lnTo>
                <a:lnTo>
                  <a:pt x="7027" y="335"/>
                </a:lnTo>
                <a:lnTo>
                  <a:pt x="6997" y="343"/>
                </a:lnTo>
                <a:lnTo>
                  <a:pt x="6997" y="343"/>
                </a:lnTo>
                <a:lnTo>
                  <a:pt x="7005" y="339"/>
                </a:lnTo>
                <a:lnTo>
                  <a:pt x="7001" y="339"/>
                </a:lnTo>
                <a:lnTo>
                  <a:pt x="7001" y="339"/>
                </a:lnTo>
                <a:lnTo>
                  <a:pt x="6969" y="347"/>
                </a:lnTo>
                <a:lnTo>
                  <a:pt x="6935" y="353"/>
                </a:lnTo>
                <a:lnTo>
                  <a:pt x="6935" y="353"/>
                </a:lnTo>
                <a:lnTo>
                  <a:pt x="6945" y="351"/>
                </a:lnTo>
                <a:lnTo>
                  <a:pt x="6941" y="353"/>
                </a:lnTo>
                <a:lnTo>
                  <a:pt x="6933" y="355"/>
                </a:lnTo>
                <a:lnTo>
                  <a:pt x="6937" y="355"/>
                </a:lnTo>
                <a:lnTo>
                  <a:pt x="6937" y="355"/>
                </a:lnTo>
                <a:lnTo>
                  <a:pt x="6931" y="357"/>
                </a:lnTo>
                <a:lnTo>
                  <a:pt x="6908" y="361"/>
                </a:lnTo>
                <a:lnTo>
                  <a:pt x="6858" y="371"/>
                </a:lnTo>
                <a:lnTo>
                  <a:pt x="6858" y="371"/>
                </a:lnTo>
                <a:lnTo>
                  <a:pt x="6856" y="371"/>
                </a:lnTo>
                <a:lnTo>
                  <a:pt x="6858" y="371"/>
                </a:lnTo>
                <a:lnTo>
                  <a:pt x="6864" y="369"/>
                </a:lnTo>
                <a:lnTo>
                  <a:pt x="6888" y="363"/>
                </a:lnTo>
                <a:lnTo>
                  <a:pt x="6910" y="359"/>
                </a:lnTo>
                <a:lnTo>
                  <a:pt x="6910" y="359"/>
                </a:lnTo>
                <a:lnTo>
                  <a:pt x="6902" y="359"/>
                </a:lnTo>
                <a:lnTo>
                  <a:pt x="6902" y="359"/>
                </a:lnTo>
                <a:lnTo>
                  <a:pt x="6876" y="365"/>
                </a:lnTo>
                <a:lnTo>
                  <a:pt x="6886" y="363"/>
                </a:lnTo>
                <a:lnTo>
                  <a:pt x="6886" y="363"/>
                </a:lnTo>
                <a:lnTo>
                  <a:pt x="6828" y="375"/>
                </a:lnTo>
                <a:lnTo>
                  <a:pt x="6776" y="383"/>
                </a:lnTo>
                <a:lnTo>
                  <a:pt x="6776" y="383"/>
                </a:lnTo>
                <a:lnTo>
                  <a:pt x="6728" y="393"/>
                </a:lnTo>
                <a:lnTo>
                  <a:pt x="6694" y="403"/>
                </a:lnTo>
                <a:lnTo>
                  <a:pt x="6694" y="403"/>
                </a:lnTo>
                <a:lnTo>
                  <a:pt x="6716" y="397"/>
                </a:lnTo>
                <a:lnTo>
                  <a:pt x="6744" y="393"/>
                </a:lnTo>
                <a:lnTo>
                  <a:pt x="6714" y="399"/>
                </a:lnTo>
                <a:lnTo>
                  <a:pt x="6714" y="399"/>
                </a:lnTo>
                <a:lnTo>
                  <a:pt x="6660" y="409"/>
                </a:lnTo>
                <a:lnTo>
                  <a:pt x="6616" y="415"/>
                </a:lnTo>
                <a:lnTo>
                  <a:pt x="6644" y="409"/>
                </a:lnTo>
                <a:lnTo>
                  <a:pt x="6642" y="411"/>
                </a:lnTo>
                <a:lnTo>
                  <a:pt x="6642" y="411"/>
                </a:lnTo>
                <a:lnTo>
                  <a:pt x="6670" y="405"/>
                </a:lnTo>
                <a:lnTo>
                  <a:pt x="6686" y="401"/>
                </a:lnTo>
                <a:lnTo>
                  <a:pt x="6686" y="401"/>
                </a:lnTo>
                <a:lnTo>
                  <a:pt x="6648" y="409"/>
                </a:lnTo>
                <a:lnTo>
                  <a:pt x="6606" y="417"/>
                </a:lnTo>
                <a:lnTo>
                  <a:pt x="6606" y="415"/>
                </a:lnTo>
                <a:lnTo>
                  <a:pt x="6606" y="415"/>
                </a:lnTo>
                <a:lnTo>
                  <a:pt x="6564" y="423"/>
                </a:lnTo>
                <a:lnTo>
                  <a:pt x="6528" y="429"/>
                </a:lnTo>
                <a:lnTo>
                  <a:pt x="6493" y="433"/>
                </a:lnTo>
                <a:lnTo>
                  <a:pt x="6463" y="439"/>
                </a:lnTo>
                <a:lnTo>
                  <a:pt x="6463" y="439"/>
                </a:lnTo>
                <a:lnTo>
                  <a:pt x="6483" y="437"/>
                </a:lnTo>
                <a:lnTo>
                  <a:pt x="6491" y="437"/>
                </a:lnTo>
                <a:lnTo>
                  <a:pt x="6491" y="437"/>
                </a:lnTo>
                <a:lnTo>
                  <a:pt x="6489" y="437"/>
                </a:lnTo>
                <a:lnTo>
                  <a:pt x="6489" y="437"/>
                </a:lnTo>
                <a:lnTo>
                  <a:pt x="6459" y="441"/>
                </a:lnTo>
                <a:lnTo>
                  <a:pt x="6441" y="445"/>
                </a:lnTo>
                <a:lnTo>
                  <a:pt x="6453" y="441"/>
                </a:lnTo>
                <a:lnTo>
                  <a:pt x="6453" y="441"/>
                </a:lnTo>
                <a:lnTo>
                  <a:pt x="6385" y="453"/>
                </a:lnTo>
                <a:lnTo>
                  <a:pt x="6385" y="453"/>
                </a:lnTo>
                <a:lnTo>
                  <a:pt x="6379" y="455"/>
                </a:lnTo>
                <a:lnTo>
                  <a:pt x="6361" y="459"/>
                </a:lnTo>
                <a:lnTo>
                  <a:pt x="6361" y="459"/>
                </a:lnTo>
                <a:lnTo>
                  <a:pt x="6339" y="461"/>
                </a:lnTo>
                <a:lnTo>
                  <a:pt x="6345" y="459"/>
                </a:lnTo>
                <a:lnTo>
                  <a:pt x="6355" y="457"/>
                </a:lnTo>
                <a:lnTo>
                  <a:pt x="6343" y="457"/>
                </a:lnTo>
                <a:lnTo>
                  <a:pt x="6287" y="467"/>
                </a:lnTo>
                <a:lnTo>
                  <a:pt x="6275" y="467"/>
                </a:lnTo>
                <a:lnTo>
                  <a:pt x="6275" y="467"/>
                </a:lnTo>
                <a:lnTo>
                  <a:pt x="6159" y="485"/>
                </a:lnTo>
                <a:lnTo>
                  <a:pt x="6036" y="503"/>
                </a:lnTo>
                <a:lnTo>
                  <a:pt x="6036" y="503"/>
                </a:lnTo>
                <a:lnTo>
                  <a:pt x="6046" y="499"/>
                </a:lnTo>
                <a:lnTo>
                  <a:pt x="6070" y="495"/>
                </a:lnTo>
                <a:lnTo>
                  <a:pt x="6123" y="489"/>
                </a:lnTo>
                <a:lnTo>
                  <a:pt x="6123" y="489"/>
                </a:lnTo>
                <a:lnTo>
                  <a:pt x="6072" y="495"/>
                </a:lnTo>
                <a:lnTo>
                  <a:pt x="6016" y="501"/>
                </a:lnTo>
                <a:lnTo>
                  <a:pt x="6016" y="501"/>
                </a:lnTo>
                <a:lnTo>
                  <a:pt x="5974" y="507"/>
                </a:lnTo>
                <a:lnTo>
                  <a:pt x="5964" y="509"/>
                </a:lnTo>
                <a:lnTo>
                  <a:pt x="5962" y="511"/>
                </a:lnTo>
                <a:lnTo>
                  <a:pt x="5962" y="511"/>
                </a:lnTo>
                <a:lnTo>
                  <a:pt x="5962" y="511"/>
                </a:lnTo>
                <a:lnTo>
                  <a:pt x="5930" y="515"/>
                </a:lnTo>
                <a:lnTo>
                  <a:pt x="5926" y="515"/>
                </a:lnTo>
                <a:lnTo>
                  <a:pt x="5926" y="515"/>
                </a:lnTo>
                <a:lnTo>
                  <a:pt x="5882" y="521"/>
                </a:lnTo>
                <a:lnTo>
                  <a:pt x="5824" y="527"/>
                </a:lnTo>
                <a:lnTo>
                  <a:pt x="5822" y="527"/>
                </a:lnTo>
                <a:lnTo>
                  <a:pt x="5770" y="535"/>
                </a:lnTo>
                <a:lnTo>
                  <a:pt x="5770" y="535"/>
                </a:lnTo>
                <a:lnTo>
                  <a:pt x="5774" y="535"/>
                </a:lnTo>
                <a:lnTo>
                  <a:pt x="5770" y="537"/>
                </a:lnTo>
                <a:lnTo>
                  <a:pt x="5756" y="537"/>
                </a:lnTo>
                <a:lnTo>
                  <a:pt x="5756" y="537"/>
                </a:lnTo>
                <a:lnTo>
                  <a:pt x="5798" y="533"/>
                </a:lnTo>
                <a:lnTo>
                  <a:pt x="5842" y="529"/>
                </a:lnTo>
                <a:lnTo>
                  <a:pt x="5888" y="523"/>
                </a:lnTo>
                <a:lnTo>
                  <a:pt x="5930" y="519"/>
                </a:lnTo>
                <a:lnTo>
                  <a:pt x="5930" y="519"/>
                </a:lnTo>
                <a:lnTo>
                  <a:pt x="5924" y="519"/>
                </a:lnTo>
                <a:lnTo>
                  <a:pt x="5924" y="519"/>
                </a:lnTo>
                <a:lnTo>
                  <a:pt x="5926" y="521"/>
                </a:lnTo>
                <a:lnTo>
                  <a:pt x="5918" y="521"/>
                </a:lnTo>
                <a:lnTo>
                  <a:pt x="5918" y="521"/>
                </a:lnTo>
                <a:lnTo>
                  <a:pt x="5900" y="523"/>
                </a:lnTo>
                <a:lnTo>
                  <a:pt x="5900" y="523"/>
                </a:lnTo>
                <a:lnTo>
                  <a:pt x="5886" y="525"/>
                </a:lnTo>
                <a:lnTo>
                  <a:pt x="5900" y="525"/>
                </a:lnTo>
                <a:lnTo>
                  <a:pt x="5900" y="525"/>
                </a:lnTo>
                <a:lnTo>
                  <a:pt x="5890" y="527"/>
                </a:lnTo>
                <a:lnTo>
                  <a:pt x="5864" y="531"/>
                </a:lnTo>
                <a:lnTo>
                  <a:pt x="5800" y="539"/>
                </a:lnTo>
                <a:lnTo>
                  <a:pt x="5800" y="539"/>
                </a:lnTo>
                <a:lnTo>
                  <a:pt x="5792" y="539"/>
                </a:lnTo>
                <a:lnTo>
                  <a:pt x="5808" y="537"/>
                </a:lnTo>
                <a:lnTo>
                  <a:pt x="5850" y="529"/>
                </a:lnTo>
                <a:lnTo>
                  <a:pt x="5850" y="529"/>
                </a:lnTo>
                <a:lnTo>
                  <a:pt x="5828" y="533"/>
                </a:lnTo>
                <a:lnTo>
                  <a:pt x="5800" y="537"/>
                </a:lnTo>
                <a:lnTo>
                  <a:pt x="5806" y="533"/>
                </a:lnTo>
                <a:lnTo>
                  <a:pt x="5806" y="533"/>
                </a:lnTo>
                <a:lnTo>
                  <a:pt x="5776" y="539"/>
                </a:lnTo>
                <a:lnTo>
                  <a:pt x="5780" y="539"/>
                </a:lnTo>
                <a:lnTo>
                  <a:pt x="5780" y="539"/>
                </a:lnTo>
                <a:lnTo>
                  <a:pt x="5778" y="541"/>
                </a:lnTo>
                <a:lnTo>
                  <a:pt x="5778" y="541"/>
                </a:lnTo>
                <a:lnTo>
                  <a:pt x="5764" y="543"/>
                </a:lnTo>
                <a:lnTo>
                  <a:pt x="5746" y="545"/>
                </a:lnTo>
                <a:lnTo>
                  <a:pt x="5714" y="547"/>
                </a:lnTo>
                <a:lnTo>
                  <a:pt x="5730" y="545"/>
                </a:lnTo>
                <a:lnTo>
                  <a:pt x="5730" y="545"/>
                </a:lnTo>
                <a:lnTo>
                  <a:pt x="5682" y="551"/>
                </a:lnTo>
                <a:lnTo>
                  <a:pt x="5639" y="557"/>
                </a:lnTo>
                <a:lnTo>
                  <a:pt x="5619" y="557"/>
                </a:lnTo>
                <a:lnTo>
                  <a:pt x="5619" y="557"/>
                </a:lnTo>
                <a:lnTo>
                  <a:pt x="5649" y="555"/>
                </a:lnTo>
                <a:lnTo>
                  <a:pt x="5672" y="551"/>
                </a:lnTo>
                <a:lnTo>
                  <a:pt x="5690" y="549"/>
                </a:lnTo>
                <a:lnTo>
                  <a:pt x="5708" y="547"/>
                </a:lnTo>
                <a:lnTo>
                  <a:pt x="5708" y="547"/>
                </a:lnTo>
                <a:lnTo>
                  <a:pt x="5680" y="547"/>
                </a:lnTo>
                <a:lnTo>
                  <a:pt x="5692" y="545"/>
                </a:lnTo>
                <a:lnTo>
                  <a:pt x="5744" y="537"/>
                </a:lnTo>
                <a:lnTo>
                  <a:pt x="5744" y="537"/>
                </a:lnTo>
                <a:lnTo>
                  <a:pt x="5670" y="545"/>
                </a:lnTo>
                <a:lnTo>
                  <a:pt x="5670" y="545"/>
                </a:lnTo>
                <a:lnTo>
                  <a:pt x="5635" y="549"/>
                </a:lnTo>
                <a:lnTo>
                  <a:pt x="5601" y="553"/>
                </a:lnTo>
                <a:lnTo>
                  <a:pt x="5567" y="557"/>
                </a:lnTo>
                <a:lnTo>
                  <a:pt x="5533" y="561"/>
                </a:lnTo>
                <a:lnTo>
                  <a:pt x="5533" y="561"/>
                </a:lnTo>
                <a:lnTo>
                  <a:pt x="5527" y="561"/>
                </a:lnTo>
                <a:lnTo>
                  <a:pt x="5531" y="561"/>
                </a:lnTo>
                <a:lnTo>
                  <a:pt x="5537" y="559"/>
                </a:lnTo>
                <a:lnTo>
                  <a:pt x="5529" y="561"/>
                </a:lnTo>
                <a:lnTo>
                  <a:pt x="5529" y="561"/>
                </a:lnTo>
                <a:lnTo>
                  <a:pt x="5387" y="577"/>
                </a:lnTo>
                <a:lnTo>
                  <a:pt x="5387" y="577"/>
                </a:lnTo>
                <a:lnTo>
                  <a:pt x="5367" y="579"/>
                </a:lnTo>
                <a:lnTo>
                  <a:pt x="5359" y="579"/>
                </a:lnTo>
                <a:lnTo>
                  <a:pt x="5359" y="579"/>
                </a:lnTo>
                <a:lnTo>
                  <a:pt x="5281" y="587"/>
                </a:lnTo>
                <a:lnTo>
                  <a:pt x="5214" y="595"/>
                </a:lnTo>
                <a:lnTo>
                  <a:pt x="5144" y="603"/>
                </a:lnTo>
                <a:lnTo>
                  <a:pt x="5060" y="611"/>
                </a:lnTo>
                <a:lnTo>
                  <a:pt x="5078" y="609"/>
                </a:lnTo>
                <a:lnTo>
                  <a:pt x="5078" y="609"/>
                </a:lnTo>
                <a:lnTo>
                  <a:pt x="5042" y="613"/>
                </a:lnTo>
                <a:lnTo>
                  <a:pt x="5014" y="615"/>
                </a:lnTo>
                <a:lnTo>
                  <a:pt x="5014" y="615"/>
                </a:lnTo>
                <a:lnTo>
                  <a:pt x="4980" y="619"/>
                </a:lnTo>
                <a:lnTo>
                  <a:pt x="4936" y="623"/>
                </a:lnTo>
                <a:lnTo>
                  <a:pt x="4892" y="629"/>
                </a:lnTo>
                <a:lnTo>
                  <a:pt x="4852" y="631"/>
                </a:lnTo>
                <a:lnTo>
                  <a:pt x="4852" y="631"/>
                </a:lnTo>
                <a:lnTo>
                  <a:pt x="4793" y="637"/>
                </a:lnTo>
                <a:lnTo>
                  <a:pt x="4745" y="643"/>
                </a:lnTo>
                <a:lnTo>
                  <a:pt x="4745" y="643"/>
                </a:lnTo>
                <a:lnTo>
                  <a:pt x="4749" y="643"/>
                </a:lnTo>
                <a:lnTo>
                  <a:pt x="4735" y="643"/>
                </a:lnTo>
                <a:lnTo>
                  <a:pt x="4735" y="643"/>
                </a:lnTo>
                <a:lnTo>
                  <a:pt x="4286" y="689"/>
                </a:lnTo>
                <a:lnTo>
                  <a:pt x="4286" y="689"/>
                </a:lnTo>
                <a:lnTo>
                  <a:pt x="4300" y="687"/>
                </a:lnTo>
                <a:lnTo>
                  <a:pt x="4300" y="687"/>
                </a:lnTo>
                <a:lnTo>
                  <a:pt x="4144" y="703"/>
                </a:lnTo>
                <a:lnTo>
                  <a:pt x="4000" y="717"/>
                </a:lnTo>
                <a:lnTo>
                  <a:pt x="4000" y="717"/>
                </a:lnTo>
                <a:lnTo>
                  <a:pt x="3961" y="721"/>
                </a:lnTo>
                <a:lnTo>
                  <a:pt x="3947" y="723"/>
                </a:lnTo>
                <a:lnTo>
                  <a:pt x="3945" y="723"/>
                </a:lnTo>
                <a:lnTo>
                  <a:pt x="3947" y="723"/>
                </a:lnTo>
                <a:lnTo>
                  <a:pt x="3947" y="723"/>
                </a:lnTo>
                <a:lnTo>
                  <a:pt x="3967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31" y="727"/>
                </a:lnTo>
                <a:lnTo>
                  <a:pt x="3915" y="729"/>
                </a:lnTo>
                <a:lnTo>
                  <a:pt x="3905" y="729"/>
                </a:lnTo>
                <a:lnTo>
                  <a:pt x="3879" y="731"/>
                </a:lnTo>
                <a:lnTo>
                  <a:pt x="3879" y="731"/>
                </a:lnTo>
                <a:lnTo>
                  <a:pt x="3875" y="731"/>
                </a:lnTo>
                <a:lnTo>
                  <a:pt x="3877" y="729"/>
                </a:lnTo>
                <a:lnTo>
                  <a:pt x="3889" y="727"/>
                </a:lnTo>
                <a:lnTo>
                  <a:pt x="3905" y="725"/>
                </a:lnTo>
                <a:lnTo>
                  <a:pt x="3911" y="723"/>
                </a:lnTo>
                <a:lnTo>
                  <a:pt x="3835" y="733"/>
                </a:lnTo>
                <a:lnTo>
                  <a:pt x="3835" y="733"/>
                </a:lnTo>
                <a:lnTo>
                  <a:pt x="3771" y="739"/>
                </a:lnTo>
                <a:lnTo>
                  <a:pt x="3713" y="743"/>
                </a:lnTo>
                <a:lnTo>
                  <a:pt x="3713" y="743"/>
                </a:lnTo>
                <a:lnTo>
                  <a:pt x="3725" y="741"/>
                </a:lnTo>
                <a:lnTo>
                  <a:pt x="3745" y="739"/>
                </a:lnTo>
                <a:lnTo>
                  <a:pt x="3745" y="739"/>
                </a:lnTo>
                <a:lnTo>
                  <a:pt x="3739" y="741"/>
                </a:lnTo>
                <a:lnTo>
                  <a:pt x="3739" y="741"/>
                </a:lnTo>
                <a:lnTo>
                  <a:pt x="3789" y="735"/>
                </a:lnTo>
                <a:lnTo>
                  <a:pt x="3831" y="731"/>
                </a:lnTo>
                <a:lnTo>
                  <a:pt x="3831" y="731"/>
                </a:lnTo>
                <a:lnTo>
                  <a:pt x="3669" y="745"/>
                </a:lnTo>
                <a:lnTo>
                  <a:pt x="3669" y="745"/>
                </a:lnTo>
                <a:lnTo>
                  <a:pt x="3671" y="745"/>
                </a:lnTo>
                <a:lnTo>
                  <a:pt x="3667" y="747"/>
                </a:lnTo>
                <a:lnTo>
                  <a:pt x="3653" y="747"/>
                </a:lnTo>
                <a:lnTo>
                  <a:pt x="3621" y="752"/>
                </a:lnTo>
                <a:lnTo>
                  <a:pt x="3619" y="752"/>
                </a:lnTo>
                <a:lnTo>
                  <a:pt x="3619" y="752"/>
                </a:lnTo>
                <a:lnTo>
                  <a:pt x="3583" y="758"/>
                </a:lnTo>
                <a:lnTo>
                  <a:pt x="3571" y="756"/>
                </a:lnTo>
                <a:lnTo>
                  <a:pt x="3571" y="756"/>
                </a:lnTo>
                <a:lnTo>
                  <a:pt x="3564" y="758"/>
                </a:lnTo>
                <a:lnTo>
                  <a:pt x="3556" y="758"/>
                </a:lnTo>
                <a:lnTo>
                  <a:pt x="3556" y="758"/>
                </a:lnTo>
                <a:lnTo>
                  <a:pt x="3482" y="766"/>
                </a:lnTo>
                <a:lnTo>
                  <a:pt x="3444" y="768"/>
                </a:lnTo>
                <a:lnTo>
                  <a:pt x="3424" y="768"/>
                </a:lnTo>
                <a:lnTo>
                  <a:pt x="3424" y="768"/>
                </a:lnTo>
                <a:lnTo>
                  <a:pt x="3346" y="776"/>
                </a:lnTo>
                <a:lnTo>
                  <a:pt x="3346" y="776"/>
                </a:lnTo>
                <a:lnTo>
                  <a:pt x="3358" y="774"/>
                </a:lnTo>
                <a:lnTo>
                  <a:pt x="3358" y="774"/>
                </a:lnTo>
                <a:lnTo>
                  <a:pt x="3240" y="784"/>
                </a:lnTo>
                <a:lnTo>
                  <a:pt x="3125" y="794"/>
                </a:lnTo>
                <a:lnTo>
                  <a:pt x="3125" y="794"/>
                </a:lnTo>
                <a:lnTo>
                  <a:pt x="2983" y="808"/>
                </a:lnTo>
                <a:lnTo>
                  <a:pt x="2983" y="808"/>
                </a:lnTo>
                <a:lnTo>
                  <a:pt x="3015" y="804"/>
                </a:lnTo>
                <a:lnTo>
                  <a:pt x="3025" y="804"/>
                </a:lnTo>
                <a:lnTo>
                  <a:pt x="3015" y="806"/>
                </a:lnTo>
                <a:lnTo>
                  <a:pt x="3015" y="806"/>
                </a:lnTo>
                <a:lnTo>
                  <a:pt x="2953" y="812"/>
                </a:lnTo>
                <a:lnTo>
                  <a:pt x="2953" y="812"/>
                </a:lnTo>
                <a:lnTo>
                  <a:pt x="2931" y="812"/>
                </a:lnTo>
                <a:lnTo>
                  <a:pt x="2923" y="814"/>
                </a:lnTo>
                <a:lnTo>
                  <a:pt x="2941" y="812"/>
                </a:lnTo>
                <a:lnTo>
                  <a:pt x="2941" y="812"/>
                </a:lnTo>
                <a:lnTo>
                  <a:pt x="2919" y="812"/>
                </a:lnTo>
                <a:lnTo>
                  <a:pt x="2885" y="816"/>
                </a:lnTo>
                <a:lnTo>
                  <a:pt x="2853" y="818"/>
                </a:lnTo>
                <a:lnTo>
                  <a:pt x="2839" y="818"/>
                </a:lnTo>
                <a:lnTo>
                  <a:pt x="2839" y="818"/>
                </a:lnTo>
                <a:lnTo>
                  <a:pt x="2793" y="822"/>
                </a:lnTo>
                <a:lnTo>
                  <a:pt x="2737" y="828"/>
                </a:lnTo>
                <a:lnTo>
                  <a:pt x="2737" y="828"/>
                </a:lnTo>
                <a:lnTo>
                  <a:pt x="2753" y="826"/>
                </a:lnTo>
                <a:lnTo>
                  <a:pt x="2773" y="824"/>
                </a:lnTo>
                <a:lnTo>
                  <a:pt x="2743" y="826"/>
                </a:lnTo>
                <a:lnTo>
                  <a:pt x="2743" y="826"/>
                </a:lnTo>
                <a:lnTo>
                  <a:pt x="2743" y="826"/>
                </a:lnTo>
                <a:lnTo>
                  <a:pt x="2680" y="832"/>
                </a:lnTo>
                <a:lnTo>
                  <a:pt x="2638" y="836"/>
                </a:lnTo>
                <a:lnTo>
                  <a:pt x="2638" y="836"/>
                </a:lnTo>
                <a:lnTo>
                  <a:pt x="2616" y="838"/>
                </a:lnTo>
                <a:lnTo>
                  <a:pt x="2642" y="834"/>
                </a:lnTo>
                <a:lnTo>
                  <a:pt x="2642" y="834"/>
                </a:lnTo>
                <a:lnTo>
                  <a:pt x="2544" y="844"/>
                </a:lnTo>
                <a:lnTo>
                  <a:pt x="2540" y="844"/>
                </a:lnTo>
                <a:lnTo>
                  <a:pt x="2516" y="846"/>
                </a:lnTo>
                <a:lnTo>
                  <a:pt x="2516" y="846"/>
                </a:lnTo>
                <a:lnTo>
                  <a:pt x="2518" y="846"/>
                </a:lnTo>
                <a:lnTo>
                  <a:pt x="2518" y="846"/>
                </a:lnTo>
                <a:lnTo>
                  <a:pt x="2468" y="850"/>
                </a:lnTo>
                <a:lnTo>
                  <a:pt x="2418" y="856"/>
                </a:lnTo>
                <a:lnTo>
                  <a:pt x="2418" y="856"/>
                </a:lnTo>
                <a:lnTo>
                  <a:pt x="2394" y="856"/>
                </a:lnTo>
                <a:lnTo>
                  <a:pt x="2366" y="858"/>
                </a:lnTo>
                <a:lnTo>
                  <a:pt x="2370" y="856"/>
                </a:lnTo>
                <a:lnTo>
                  <a:pt x="2370" y="856"/>
                </a:lnTo>
                <a:lnTo>
                  <a:pt x="2408" y="854"/>
                </a:lnTo>
                <a:lnTo>
                  <a:pt x="2450" y="850"/>
                </a:lnTo>
                <a:lnTo>
                  <a:pt x="2450" y="850"/>
                </a:lnTo>
                <a:lnTo>
                  <a:pt x="2404" y="852"/>
                </a:lnTo>
                <a:lnTo>
                  <a:pt x="2340" y="856"/>
                </a:lnTo>
                <a:lnTo>
                  <a:pt x="2203" y="866"/>
                </a:lnTo>
                <a:lnTo>
                  <a:pt x="2203" y="866"/>
                </a:lnTo>
                <a:lnTo>
                  <a:pt x="2091" y="874"/>
                </a:lnTo>
                <a:lnTo>
                  <a:pt x="2039" y="878"/>
                </a:lnTo>
                <a:lnTo>
                  <a:pt x="2005" y="882"/>
                </a:lnTo>
                <a:lnTo>
                  <a:pt x="2011" y="880"/>
                </a:lnTo>
                <a:lnTo>
                  <a:pt x="1901" y="886"/>
                </a:lnTo>
                <a:lnTo>
                  <a:pt x="1901" y="886"/>
                </a:lnTo>
                <a:lnTo>
                  <a:pt x="1762" y="896"/>
                </a:lnTo>
                <a:lnTo>
                  <a:pt x="1642" y="904"/>
                </a:lnTo>
                <a:lnTo>
                  <a:pt x="1622" y="904"/>
                </a:lnTo>
                <a:lnTo>
                  <a:pt x="1622" y="904"/>
                </a:lnTo>
                <a:lnTo>
                  <a:pt x="1552" y="910"/>
                </a:lnTo>
                <a:lnTo>
                  <a:pt x="1463" y="916"/>
                </a:lnTo>
                <a:lnTo>
                  <a:pt x="1379" y="922"/>
                </a:lnTo>
                <a:lnTo>
                  <a:pt x="1323" y="928"/>
                </a:lnTo>
                <a:lnTo>
                  <a:pt x="1323" y="928"/>
                </a:lnTo>
                <a:lnTo>
                  <a:pt x="1307" y="928"/>
                </a:lnTo>
                <a:lnTo>
                  <a:pt x="1315" y="926"/>
                </a:lnTo>
                <a:lnTo>
                  <a:pt x="1339" y="924"/>
                </a:lnTo>
                <a:lnTo>
                  <a:pt x="1339" y="924"/>
                </a:lnTo>
                <a:lnTo>
                  <a:pt x="1283" y="928"/>
                </a:lnTo>
                <a:lnTo>
                  <a:pt x="1253" y="930"/>
                </a:lnTo>
                <a:lnTo>
                  <a:pt x="1229" y="930"/>
                </a:lnTo>
                <a:lnTo>
                  <a:pt x="1229" y="930"/>
                </a:lnTo>
                <a:lnTo>
                  <a:pt x="1247" y="928"/>
                </a:lnTo>
                <a:lnTo>
                  <a:pt x="1257" y="928"/>
                </a:lnTo>
                <a:lnTo>
                  <a:pt x="1253" y="928"/>
                </a:lnTo>
                <a:lnTo>
                  <a:pt x="1253" y="928"/>
                </a:lnTo>
                <a:lnTo>
                  <a:pt x="1225" y="930"/>
                </a:lnTo>
                <a:lnTo>
                  <a:pt x="1195" y="930"/>
                </a:lnTo>
                <a:lnTo>
                  <a:pt x="1195" y="930"/>
                </a:lnTo>
                <a:lnTo>
                  <a:pt x="1197" y="930"/>
                </a:lnTo>
                <a:lnTo>
                  <a:pt x="1193" y="932"/>
                </a:lnTo>
                <a:lnTo>
                  <a:pt x="1175" y="934"/>
                </a:lnTo>
                <a:lnTo>
                  <a:pt x="1117" y="938"/>
                </a:lnTo>
                <a:lnTo>
                  <a:pt x="1117" y="938"/>
                </a:lnTo>
                <a:lnTo>
                  <a:pt x="1127" y="936"/>
                </a:lnTo>
                <a:lnTo>
                  <a:pt x="1127" y="936"/>
                </a:lnTo>
                <a:lnTo>
                  <a:pt x="1117" y="938"/>
                </a:lnTo>
                <a:lnTo>
                  <a:pt x="1089" y="940"/>
                </a:lnTo>
                <a:lnTo>
                  <a:pt x="1089" y="940"/>
                </a:lnTo>
                <a:lnTo>
                  <a:pt x="1095" y="940"/>
                </a:lnTo>
                <a:lnTo>
                  <a:pt x="1095" y="940"/>
                </a:lnTo>
                <a:lnTo>
                  <a:pt x="946" y="946"/>
                </a:lnTo>
                <a:lnTo>
                  <a:pt x="790" y="954"/>
                </a:lnTo>
                <a:lnTo>
                  <a:pt x="632" y="958"/>
                </a:lnTo>
                <a:lnTo>
                  <a:pt x="477" y="962"/>
                </a:lnTo>
                <a:lnTo>
                  <a:pt x="515" y="960"/>
                </a:lnTo>
                <a:lnTo>
                  <a:pt x="515" y="960"/>
                </a:lnTo>
                <a:lnTo>
                  <a:pt x="461" y="962"/>
                </a:lnTo>
                <a:lnTo>
                  <a:pt x="417" y="962"/>
                </a:lnTo>
                <a:lnTo>
                  <a:pt x="421" y="962"/>
                </a:lnTo>
                <a:lnTo>
                  <a:pt x="421" y="962"/>
                </a:lnTo>
                <a:lnTo>
                  <a:pt x="389" y="960"/>
                </a:lnTo>
                <a:lnTo>
                  <a:pt x="365" y="962"/>
                </a:lnTo>
                <a:lnTo>
                  <a:pt x="345" y="962"/>
                </a:lnTo>
                <a:lnTo>
                  <a:pt x="319" y="962"/>
                </a:lnTo>
                <a:lnTo>
                  <a:pt x="327" y="962"/>
                </a:lnTo>
                <a:lnTo>
                  <a:pt x="327" y="962"/>
                </a:lnTo>
                <a:lnTo>
                  <a:pt x="243" y="960"/>
                </a:lnTo>
                <a:lnTo>
                  <a:pt x="158" y="960"/>
                </a:lnTo>
                <a:lnTo>
                  <a:pt x="158" y="960"/>
                </a:lnTo>
                <a:lnTo>
                  <a:pt x="112" y="958"/>
                </a:lnTo>
                <a:lnTo>
                  <a:pt x="78" y="954"/>
                </a:lnTo>
                <a:lnTo>
                  <a:pt x="78" y="954"/>
                </a:lnTo>
                <a:lnTo>
                  <a:pt x="34" y="954"/>
                </a:lnTo>
                <a:lnTo>
                  <a:pt x="48" y="954"/>
                </a:lnTo>
                <a:lnTo>
                  <a:pt x="48" y="954"/>
                </a:lnTo>
                <a:lnTo>
                  <a:pt x="52" y="956"/>
                </a:lnTo>
                <a:lnTo>
                  <a:pt x="50" y="956"/>
                </a:lnTo>
                <a:lnTo>
                  <a:pt x="36" y="954"/>
                </a:lnTo>
                <a:lnTo>
                  <a:pt x="36" y="954"/>
                </a:lnTo>
                <a:lnTo>
                  <a:pt x="16" y="954"/>
                </a:lnTo>
                <a:lnTo>
                  <a:pt x="16" y="954"/>
                </a:lnTo>
                <a:lnTo>
                  <a:pt x="6" y="952"/>
                </a:lnTo>
                <a:lnTo>
                  <a:pt x="6" y="952"/>
                </a:lnTo>
                <a:lnTo>
                  <a:pt x="4" y="950"/>
                </a:lnTo>
                <a:lnTo>
                  <a:pt x="0" y="950"/>
                </a:lnTo>
                <a:lnTo>
                  <a:pt x="0" y="950"/>
                </a:lnTo>
                <a:lnTo>
                  <a:pt x="4" y="952"/>
                </a:lnTo>
                <a:lnTo>
                  <a:pt x="6" y="954"/>
                </a:lnTo>
                <a:lnTo>
                  <a:pt x="6" y="954"/>
                </a:lnTo>
                <a:lnTo>
                  <a:pt x="14" y="956"/>
                </a:lnTo>
                <a:lnTo>
                  <a:pt x="14" y="956"/>
                </a:lnTo>
                <a:lnTo>
                  <a:pt x="30" y="960"/>
                </a:lnTo>
                <a:lnTo>
                  <a:pt x="62" y="964"/>
                </a:lnTo>
                <a:lnTo>
                  <a:pt x="62" y="964"/>
                </a:lnTo>
                <a:lnTo>
                  <a:pt x="88" y="966"/>
                </a:lnTo>
                <a:lnTo>
                  <a:pt x="106" y="966"/>
                </a:lnTo>
                <a:lnTo>
                  <a:pt x="124" y="968"/>
                </a:lnTo>
                <a:lnTo>
                  <a:pt x="152" y="970"/>
                </a:lnTo>
                <a:lnTo>
                  <a:pt x="152" y="970"/>
                </a:lnTo>
                <a:lnTo>
                  <a:pt x="176" y="970"/>
                </a:lnTo>
                <a:lnTo>
                  <a:pt x="204" y="970"/>
                </a:lnTo>
                <a:lnTo>
                  <a:pt x="235" y="970"/>
                </a:lnTo>
                <a:lnTo>
                  <a:pt x="267" y="970"/>
                </a:lnTo>
                <a:lnTo>
                  <a:pt x="267" y="970"/>
                </a:lnTo>
                <a:lnTo>
                  <a:pt x="263" y="970"/>
                </a:lnTo>
                <a:lnTo>
                  <a:pt x="265" y="972"/>
                </a:lnTo>
                <a:lnTo>
                  <a:pt x="281" y="972"/>
                </a:lnTo>
                <a:lnTo>
                  <a:pt x="293" y="972"/>
                </a:lnTo>
                <a:lnTo>
                  <a:pt x="281" y="974"/>
                </a:lnTo>
                <a:lnTo>
                  <a:pt x="281" y="974"/>
                </a:lnTo>
                <a:lnTo>
                  <a:pt x="339" y="972"/>
                </a:lnTo>
                <a:lnTo>
                  <a:pt x="411" y="972"/>
                </a:lnTo>
                <a:lnTo>
                  <a:pt x="411" y="972"/>
                </a:lnTo>
                <a:lnTo>
                  <a:pt x="399" y="974"/>
                </a:lnTo>
                <a:lnTo>
                  <a:pt x="399" y="974"/>
                </a:lnTo>
                <a:lnTo>
                  <a:pt x="437" y="974"/>
                </a:lnTo>
                <a:lnTo>
                  <a:pt x="467" y="974"/>
                </a:lnTo>
                <a:lnTo>
                  <a:pt x="467" y="972"/>
                </a:lnTo>
                <a:lnTo>
                  <a:pt x="467" y="972"/>
                </a:lnTo>
                <a:lnTo>
                  <a:pt x="497" y="972"/>
                </a:lnTo>
                <a:lnTo>
                  <a:pt x="497" y="972"/>
                </a:lnTo>
                <a:lnTo>
                  <a:pt x="479" y="972"/>
                </a:lnTo>
                <a:lnTo>
                  <a:pt x="475" y="970"/>
                </a:lnTo>
                <a:lnTo>
                  <a:pt x="477" y="970"/>
                </a:lnTo>
                <a:lnTo>
                  <a:pt x="477" y="970"/>
                </a:lnTo>
                <a:lnTo>
                  <a:pt x="525" y="968"/>
                </a:lnTo>
                <a:lnTo>
                  <a:pt x="525" y="968"/>
                </a:lnTo>
                <a:lnTo>
                  <a:pt x="505" y="970"/>
                </a:lnTo>
                <a:lnTo>
                  <a:pt x="505" y="970"/>
                </a:lnTo>
                <a:lnTo>
                  <a:pt x="547" y="970"/>
                </a:lnTo>
                <a:lnTo>
                  <a:pt x="547" y="970"/>
                </a:lnTo>
                <a:lnTo>
                  <a:pt x="503" y="972"/>
                </a:lnTo>
                <a:lnTo>
                  <a:pt x="503" y="972"/>
                </a:lnTo>
                <a:lnTo>
                  <a:pt x="527" y="972"/>
                </a:lnTo>
                <a:lnTo>
                  <a:pt x="523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7" y="972"/>
                </a:lnTo>
                <a:lnTo>
                  <a:pt x="555" y="972"/>
                </a:lnTo>
                <a:lnTo>
                  <a:pt x="605" y="970"/>
                </a:lnTo>
                <a:lnTo>
                  <a:pt x="605" y="970"/>
                </a:lnTo>
                <a:lnTo>
                  <a:pt x="595" y="972"/>
                </a:lnTo>
                <a:lnTo>
                  <a:pt x="577" y="972"/>
                </a:lnTo>
                <a:lnTo>
                  <a:pt x="577" y="972"/>
                </a:lnTo>
                <a:lnTo>
                  <a:pt x="613" y="972"/>
                </a:lnTo>
                <a:lnTo>
                  <a:pt x="646" y="972"/>
                </a:lnTo>
                <a:lnTo>
                  <a:pt x="726" y="968"/>
                </a:lnTo>
                <a:lnTo>
                  <a:pt x="726" y="968"/>
                </a:lnTo>
                <a:lnTo>
                  <a:pt x="712" y="970"/>
                </a:lnTo>
                <a:lnTo>
                  <a:pt x="712" y="970"/>
                </a:lnTo>
                <a:lnTo>
                  <a:pt x="754" y="968"/>
                </a:lnTo>
                <a:lnTo>
                  <a:pt x="788" y="966"/>
                </a:lnTo>
                <a:lnTo>
                  <a:pt x="788" y="966"/>
                </a:lnTo>
                <a:lnTo>
                  <a:pt x="802" y="966"/>
                </a:lnTo>
                <a:lnTo>
                  <a:pt x="808" y="968"/>
                </a:lnTo>
                <a:lnTo>
                  <a:pt x="840" y="968"/>
                </a:lnTo>
                <a:lnTo>
                  <a:pt x="840" y="968"/>
                </a:lnTo>
                <a:lnTo>
                  <a:pt x="838" y="966"/>
                </a:lnTo>
                <a:lnTo>
                  <a:pt x="844" y="966"/>
                </a:lnTo>
                <a:lnTo>
                  <a:pt x="864" y="966"/>
                </a:lnTo>
                <a:lnTo>
                  <a:pt x="886" y="964"/>
                </a:lnTo>
                <a:lnTo>
                  <a:pt x="898" y="964"/>
                </a:lnTo>
                <a:lnTo>
                  <a:pt x="934" y="964"/>
                </a:lnTo>
                <a:lnTo>
                  <a:pt x="934" y="964"/>
                </a:lnTo>
                <a:lnTo>
                  <a:pt x="946" y="962"/>
                </a:lnTo>
                <a:lnTo>
                  <a:pt x="948" y="960"/>
                </a:lnTo>
                <a:lnTo>
                  <a:pt x="956" y="958"/>
                </a:lnTo>
                <a:lnTo>
                  <a:pt x="988" y="956"/>
                </a:lnTo>
                <a:lnTo>
                  <a:pt x="988" y="956"/>
                </a:lnTo>
                <a:lnTo>
                  <a:pt x="1012" y="956"/>
                </a:lnTo>
                <a:lnTo>
                  <a:pt x="1012" y="958"/>
                </a:lnTo>
                <a:lnTo>
                  <a:pt x="1010" y="958"/>
                </a:lnTo>
                <a:lnTo>
                  <a:pt x="1004" y="960"/>
                </a:lnTo>
                <a:lnTo>
                  <a:pt x="1016" y="960"/>
                </a:lnTo>
                <a:lnTo>
                  <a:pt x="1030" y="958"/>
                </a:lnTo>
                <a:lnTo>
                  <a:pt x="1059" y="958"/>
                </a:lnTo>
                <a:lnTo>
                  <a:pt x="1053" y="958"/>
                </a:lnTo>
                <a:lnTo>
                  <a:pt x="1053" y="958"/>
                </a:lnTo>
                <a:lnTo>
                  <a:pt x="1101" y="956"/>
                </a:lnTo>
                <a:lnTo>
                  <a:pt x="1101" y="956"/>
                </a:lnTo>
                <a:lnTo>
                  <a:pt x="1077" y="960"/>
                </a:lnTo>
                <a:lnTo>
                  <a:pt x="1077" y="960"/>
                </a:lnTo>
                <a:lnTo>
                  <a:pt x="1147" y="956"/>
                </a:lnTo>
                <a:lnTo>
                  <a:pt x="1187" y="954"/>
                </a:lnTo>
                <a:lnTo>
                  <a:pt x="1217" y="952"/>
                </a:lnTo>
                <a:lnTo>
                  <a:pt x="1217" y="952"/>
                </a:lnTo>
                <a:lnTo>
                  <a:pt x="1247" y="952"/>
                </a:lnTo>
                <a:lnTo>
                  <a:pt x="1263" y="952"/>
                </a:lnTo>
                <a:lnTo>
                  <a:pt x="1263" y="952"/>
                </a:lnTo>
                <a:lnTo>
                  <a:pt x="1307" y="948"/>
                </a:lnTo>
                <a:lnTo>
                  <a:pt x="1359" y="946"/>
                </a:lnTo>
                <a:lnTo>
                  <a:pt x="1359" y="946"/>
                </a:lnTo>
                <a:lnTo>
                  <a:pt x="1369" y="946"/>
                </a:lnTo>
                <a:lnTo>
                  <a:pt x="1393" y="946"/>
                </a:lnTo>
                <a:lnTo>
                  <a:pt x="1393" y="946"/>
                </a:lnTo>
                <a:lnTo>
                  <a:pt x="1383" y="944"/>
                </a:lnTo>
                <a:lnTo>
                  <a:pt x="1399" y="942"/>
                </a:lnTo>
                <a:lnTo>
                  <a:pt x="1399" y="942"/>
                </a:lnTo>
                <a:lnTo>
                  <a:pt x="1445" y="940"/>
                </a:lnTo>
                <a:lnTo>
                  <a:pt x="1484" y="940"/>
                </a:lnTo>
                <a:lnTo>
                  <a:pt x="1484" y="940"/>
                </a:lnTo>
                <a:lnTo>
                  <a:pt x="1506" y="938"/>
                </a:lnTo>
                <a:lnTo>
                  <a:pt x="1508" y="936"/>
                </a:lnTo>
                <a:lnTo>
                  <a:pt x="1510" y="934"/>
                </a:lnTo>
                <a:lnTo>
                  <a:pt x="1510" y="934"/>
                </a:lnTo>
                <a:lnTo>
                  <a:pt x="1558" y="934"/>
                </a:lnTo>
                <a:lnTo>
                  <a:pt x="1578" y="932"/>
                </a:lnTo>
                <a:lnTo>
                  <a:pt x="1582" y="934"/>
                </a:lnTo>
                <a:lnTo>
                  <a:pt x="1582" y="934"/>
                </a:lnTo>
                <a:lnTo>
                  <a:pt x="1582" y="934"/>
                </a:lnTo>
                <a:lnTo>
                  <a:pt x="1548" y="936"/>
                </a:lnTo>
                <a:lnTo>
                  <a:pt x="1536" y="936"/>
                </a:lnTo>
                <a:lnTo>
                  <a:pt x="1534" y="936"/>
                </a:lnTo>
                <a:lnTo>
                  <a:pt x="1534" y="938"/>
                </a:lnTo>
                <a:lnTo>
                  <a:pt x="1534" y="938"/>
                </a:lnTo>
                <a:lnTo>
                  <a:pt x="1556" y="936"/>
                </a:lnTo>
                <a:lnTo>
                  <a:pt x="1574" y="934"/>
                </a:lnTo>
                <a:lnTo>
                  <a:pt x="1574" y="934"/>
                </a:lnTo>
                <a:lnTo>
                  <a:pt x="1582" y="934"/>
                </a:lnTo>
                <a:lnTo>
                  <a:pt x="1588" y="936"/>
                </a:lnTo>
                <a:lnTo>
                  <a:pt x="1588" y="936"/>
                </a:lnTo>
                <a:lnTo>
                  <a:pt x="1646" y="932"/>
                </a:lnTo>
                <a:lnTo>
                  <a:pt x="1646" y="932"/>
                </a:lnTo>
                <a:lnTo>
                  <a:pt x="1636" y="932"/>
                </a:lnTo>
                <a:lnTo>
                  <a:pt x="1642" y="932"/>
                </a:lnTo>
                <a:lnTo>
                  <a:pt x="1652" y="930"/>
                </a:lnTo>
                <a:lnTo>
                  <a:pt x="1648" y="930"/>
                </a:lnTo>
                <a:lnTo>
                  <a:pt x="1614" y="934"/>
                </a:lnTo>
                <a:lnTo>
                  <a:pt x="1614" y="934"/>
                </a:lnTo>
                <a:lnTo>
                  <a:pt x="1594" y="934"/>
                </a:lnTo>
                <a:lnTo>
                  <a:pt x="1596" y="934"/>
                </a:lnTo>
                <a:lnTo>
                  <a:pt x="1592" y="932"/>
                </a:lnTo>
                <a:lnTo>
                  <a:pt x="1592" y="932"/>
                </a:lnTo>
                <a:lnTo>
                  <a:pt x="1654" y="928"/>
                </a:lnTo>
                <a:lnTo>
                  <a:pt x="1714" y="922"/>
                </a:lnTo>
                <a:lnTo>
                  <a:pt x="1756" y="920"/>
                </a:lnTo>
                <a:lnTo>
                  <a:pt x="1756" y="920"/>
                </a:lnTo>
                <a:lnTo>
                  <a:pt x="1740" y="922"/>
                </a:lnTo>
                <a:lnTo>
                  <a:pt x="1750" y="922"/>
                </a:lnTo>
                <a:lnTo>
                  <a:pt x="1750" y="922"/>
                </a:lnTo>
                <a:lnTo>
                  <a:pt x="1802" y="920"/>
                </a:lnTo>
                <a:lnTo>
                  <a:pt x="1848" y="918"/>
                </a:lnTo>
                <a:lnTo>
                  <a:pt x="1848" y="918"/>
                </a:lnTo>
                <a:lnTo>
                  <a:pt x="1832" y="918"/>
                </a:lnTo>
                <a:lnTo>
                  <a:pt x="1846" y="916"/>
                </a:lnTo>
                <a:lnTo>
                  <a:pt x="1846" y="916"/>
                </a:lnTo>
                <a:lnTo>
                  <a:pt x="1884" y="914"/>
                </a:lnTo>
                <a:lnTo>
                  <a:pt x="1886" y="914"/>
                </a:lnTo>
                <a:lnTo>
                  <a:pt x="1899" y="914"/>
                </a:lnTo>
                <a:lnTo>
                  <a:pt x="1899" y="914"/>
                </a:lnTo>
                <a:lnTo>
                  <a:pt x="2027" y="906"/>
                </a:lnTo>
                <a:lnTo>
                  <a:pt x="2139" y="900"/>
                </a:lnTo>
                <a:lnTo>
                  <a:pt x="2101" y="900"/>
                </a:lnTo>
                <a:lnTo>
                  <a:pt x="2089" y="902"/>
                </a:lnTo>
                <a:lnTo>
                  <a:pt x="2089" y="902"/>
                </a:lnTo>
                <a:lnTo>
                  <a:pt x="2077" y="902"/>
                </a:lnTo>
                <a:lnTo>
                  <a:pt x="2083" y="900"/>
                </a:lnTo>
                <a:lnTo>
                  <a:pt x="2111" y="896"/>
                </a:lnTo>
                <a:lnTo>
                  <a:pt x="2111" y="896"/>
                </a:lnTo>
                <a:lnTo>
                  <a:pt x="2137" y="894"/>
                </a:lnTo>
                <a:lnTo>
                  <a:pt x="2147" y="894"/>
                </a:lnTo>
                <a:lnTo>
                  <a:pt x="2145" y="894"/>
                </a:lnTo>
                <a:lnTo>
                  <a:pt x="2191" y="890"/>
                </a:lnTo>
                <a:lnTo>
                  <a:pt x="2191" y="890"/>
                </a:lnTo>
                <a:lnTo>
                  <a:pt x="2173" y="892"/>
                </a:lnTo>
                <a:lnTo>
                  <a:pt x="2167" y="892"/>
                </a:lnTo>
                <a:lnTo>
                  <a:pt x="2175" y="890"/>
                </a:lnTo>
                <a:lnTo>
                  <a:pt x="2175" y="890"/>
                </a:lnTo>
                <a:lnTo>
                  <a:pt x="2209" y="890"/>
                </a:lnTo>
                <a:lnTo>
                  <a:pt x="2219" y="890"/>
                </a:lnTo>
                <a:lnTo>
                  <a:pt x="2209" y="890"/>
                </a:lnTo>
                <a:lnTo>
                  <a:pt x="2209" y="890"/>
                </a:lnTo>
                <a:lnTo>
                  <a:pt x="2247" y="888"/>
                </a:lnTo>
                <a:lnTo>
                  <a:pt x="2261" y="886"/>
                </a:lnTo>
                <a:lnTo>
                  <a:pt x="2261" y="886"/>
                </a:lnTo>
                <a:lnTo>
                  <a:pt x="2277" y="884"/>
                </a:lnTo>
                <a:lnTo>
                  <a:pt x="2271" y="886"/>
                </a:lnTo>
                <a:lnTo>
                  <a:pt x="2239" y="890"/>
                </a:lnTo>
                <a:lnTo>
                  <a:pt x="2239" y="890"/>
                </a:lnTo>
                <a:lnTo>
                  <a:pt x="2263" y="888"/>
                </a:lnTo>
                <a:lnTo>
                  <a:pt x="2257" y="890"/>
                </a:lnTo>
                <a:lnTo>
                  <a:pt x="2301" y="886"/>
                </a:lnTo>
                <a:lnTo>
                  <a:pt x="2301" y="886"/>
                </a:lnTo>
                <a:lnTo>
                  <a:pt x="2281" y="890"/>
                </a:lnTo>
                <a:lnTo>
                  <a:pt x="2281" y="890"/>
                </a:lnTo>
                <a:lnTo>
                  <a:pt x="2322" y="886"/>
                </a:lnTo>
                <a:lnTo>
                  <a:pt x="2358" y="884"/>
                </a:lnTo>
                <a:lnTo>
                  <a:pt x="2368" y="882"/>
                </a:lnTo>
                <a:lnTo>
                  <a:pt x="2368" y="882"/>
                </a:lnTo>
                <a:lnTo>
                  <a:pt x="2516" y="872"/>
                </a:lnTo>
                <a:lnTo>
                  <a:pt x="2504" y="872"/>
                </a:lnTo>
                <a:lnTo>
                  <a:pt x="2504" y="872"/>
                </a:lnTo>
                <a:lnTo>
                  <a:pt x="2534" y="870"/>
                </a:lnTo>
                <a:lnTo>
                  <a:pt x="2554" y="868"/>
                </a:lnTo>
                <a:lnTo>
                  <a:pt x="2578" y="868"/>
                </a:lnTo>
                <a:lnTo>
                  <a:pt x="2622" y="864"/>
                </a:lnTo>
                <a:lnTo>
                  <a:pt x="2622" y="864"/>
                </a:lnTo>
                <a:lnTo>
                  <a:pt x="2672" y="860"/>
                </a:lnTo>
                <a:lnTo>
                  <a:pt x="2684" y="858"/>
                </a:lnTo>
                <a:lnTo>
                  <a:pt x="2686" y="858"/>
                </a:lnTo>
                <a:lnTo>
                  <a:pt x="2686" y="856"/>
                </a:lnTo>
                <a:lnTo>
                  <a:pt x="2686" y="856"/>
                </a:lnTo>
                <a:lnTo>
                  <a:pt x="2712" y="854"/>
                </a:lnTo>
                <a:lnTo>
                  <a:pt x="2729" y="854"/>
                </a:lnTo>
                <a:lnTo>
                  <a:pt x="2729" y="854"/>
                </a:lnTo>
                <a:lnTo>
                  <a:pt x="2771" y="850"/>
                </a:lnTo>
                <a:lnTo>
                  <a:pt x="2821" y="846"/>
                </a:lnTo>
                <a:lnTo>
                  <a:pt x="2763" y="852"/>
                </a:lnTo>
                <a:lnTo>
                  <a:pt x="2763" y="852"/>
                </a:lnTo>
                <a:lnTo>
                  <a:pt x="2803" y="850"/>
                </a:lnTo>
                <a:lnTo>
                  <a:pt x="2861" y="844"/>
                </a:lnTo>
                <a:lnTo>
                  <a:pt x="2995" y="830"/>
                </a:lnTo>
                <a:lnTo>
                  <a:pt x="2995" y="830"/>
                </a:lnTo>
                <a:lnTo>
                  <a:pt x="2987" y="830"/>
                </a:lnTo>
                <a:lnTo>
                  <a:pt x="2987" y="828"/>
                </a:lnTo>
                <a:lnTo>
                  <a:pt x="2987" y="828"/>
                </a:lnTo>
                <a:lnTo>
                  <a:pt x="3021" y="822"/>
                </a:lnTo>
                <a:lnTo>
                  <a:pt x="3021" y="822"/>
                </a:lnTo>
                <a:lnTo>
                  <a:pt x="3045" y="822"/>
                </a:lnTo>
                <a:lnTo>
                  <a:pt x="3093" y="818"/>
                </a:lnTo>
                <a:lnTo>
                  <a:pt x="3093" y="818"/>
                </a:lnTo>
                <a:lnTo>
                  <a:pt x="3093" y="820"/>
                </a:lnTo>
                <a:lnTo>
                  <a:pt x="3097" y="820"/>
                </a:lnTo>
                <a:lnTo>
                  <a:pt x="3111" y="818"/>
                </a:lnTo>
                <a:lnTo>
                  <a:pt x="3117" y="820"/>
                </a:lnTo>
                <a:lnTo>
                  <a:pt x="3097" y="822"/>
                </a:lnTo>
                <a:lnTo>
                  <a:pt x="3097" y="822"/>
                </a:lnTo>
                <a:lnTo>
                  <a:pt x="3077" y="822"/>
                </a:lnTo>
                <a:lnTo>
                  <a:pt x="3053" y="824"/>
                </a:lnTo>
                <a:lnTo>
                  <a:pt x="3053" y="824"/>
                </a:lnTo>
                <a:lnTo>
                  <a:pt x="3135" y="820"/>
                </a:lnTo>
                <a:lnTo>
                  <a:pt x="3135" y="820"/>
                </a:lnTo>
                <a:lnTo>
                  <a:pt x="3095" y="824"/>
                </a:lnTo>
                <a:lnTo>
                  <a:pt x="3095" y="824"/>
                </a:lnTo>
                <a:lnTo>
                  <a:pt x="3101" y="824"/>
                </a:lnTo>
                <a:lnTo>
                  <a:pt x="3099" y="822"/>
                </a:ln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68313" y="1520825"/>
            <a:ext cx="5694362" cy="1470025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4000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8313" y="3218006"/>
            <a:ext cx="5694362" cy="1292662"/>
          </a:xfrm>
        </p:spPr>
        <p:txBody>
          <a:bodyPr rtlCol="0"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lang="de-DE" sz="28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 smtClean="0"/>
              <a:t>Formatvorlage</a:t>
            </a:r>
            <a:r>
              <a:rPr lang="en-GB" dirty="0" smtClean="0"/>
              <a:t> des </a:t>
            </a:r>
            <a:r>
              <a:rPr lang="en-GB" dirty="0" err="1" smtClean="0"/>
              <a:t>Unter-titelmasters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2613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1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68313" y="1520825"/>
            <a:ext cx="5532437" cy="1470025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4000" kern="1200" baseline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8313" y="3218006"/>
            <a:ext cx="5532437" cy="1292662"/>
          </a:xfrm>
        </p:spPr>
        <p:txBody>
          <a:bodyPr rtlCol="0"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lang="de-DE" sz="2800" kern="120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 smtClean="0"/>
              <a:t>Formatvorlage</a:t>
            </a:r>
            <a:r>
              <a:rPr lang="en-GB" dirty="0" smtClean="0"/>
              <a:t> des </a:t>
            </a:r>
            <a:r>
              <a:rPr lang="en-GB" dirty="0" err="1" smtClean="0"/>
              <a:t>Unter-titelmasters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pic>
        <p:nvPicPr>
          <p:cNvPr id="10" name="Grafik 12" descr="primaerlogo-wts-weiss.png"/>
          <p:cNvPicPr>
            <a:picLocks noChangeAspect="1"/>
          </p:cNvPicPr>
          <p:nvPr userDrawn="1"/>
        </p:nvPicPr>
        <p:blipFill rotWithShape="1">
          <a:blip r:embed="rId7" cstate="print"/>
          <a:srcRect r="59127"/>
          <a:stretch/>
        </p:blipFill>
        <p:spPr bwMode="gray">
          <a:xfrm>
            <a:off x="439738" y="514350"/>
            <a:ext cx="112641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Freeform 50"/>
          <p:cNvSpPr>
            <a:spLocks/>
          </p:cNvSpPr>
          <p:nvPr userDrawn="1"/>
        </p:nvSpPr>
        <p:spPr bwMode="auto">
          <a:xfrm>
            <a:off x="-6673269" y="2604674"/>
            <a:ext cx="13334479" cy="3384550"/>
          </a:xfrm>
          <a:custGeom>
            <a:avLst/>
            <a:gdLst>
              <a:gd name="T0" fmla="*/ 2457 w 5760"/>
              <a:gd name="T1" fmla="*/ 1278 h 1462"/>
              <a:gd name="T2" fmla="*/ 2601 w 5760"/>
              <a:gd name="T3" fmla="*/ 1266 h 1462"/>
              <a:gd name="T4" fmla="*/ 2656 w 5760"/>
              <a:gd name="T5" fmla="*/ 1257 h 1462"/>
              <a:gd name="T6" fmla="*/ 2732 w 5760"/>
              <a:gd name="T7" fmla="*/ 1252 h 1462"/>
              <a:gd name="T8" fmla="*/ 3014 w 5760"/>
              <a:gd name="T9" fmla="*/ 1222 h 1462"/>
              <a:gd name="T10" fmla="*/ 3175 w 5760"/>
              <a:gd name="T11" fmla="*/ 1204 h 1462"/>
              <a:gd name="T12" fmla="*/ 3282 w 5760"/>
              <a:gd name="T13" fmla="*/ 1193 h 1462"/>
              <a:gd name="T14" fmla="*/ 3479 w 5760"/>
              <a:gd name="T15" fmla="*/ 1172 h 1462"/>
              <a:gd name="T16" fmla="*/ 3533 w 5760"/>
              <a:gd name="T17" fmla="*/ 1168 h 1462"/>
              <a:gd name="T18" fmla="*/ 3653 w 5760"/>
              <a:gd name="T19" fmla="*/ 1154 h 1462"/>
              <a:gd name="T20" fmla="*/ 3945 w 5760"/>
              <a:gd name="T21" fmla="*/ 1118 h 1462"/>
              <a:gd name="T22" fmla="*/ 4049 w 5760"/>
              <a:gd name="T23" fmla="*/ 1098 h 1462"/>
              <a:gd name="T24" fmla="*/ 4198 w 5760"/>
              <a:gd name="T25" fmla="*/ 1065 h 1462"/>
              <a:gd name="T26" fmla="*/ 4336 w 5760"/>
              <a:gd name="T27" fmla="*/ 1033 h 1462"/>
              <a:gd name="T28" fmla="*/ 4401 w 5760"/>
              <a:gd name="T29" fmla="*/ 1013 h 1462"/>
              <a:gd name="T30" fmla="*/ 4726 w 5760"/>
              <a:gd name="T31" fmla="*/ 877 h 1462"/>
              <a:gd name="T32" fmla="*/ 4872 w 5760"/>
              <a:gd name="T33" fmla="*/ 799 h 1462"/>
              <a:gd name="T34" fmla="*/ 4913 w 5760"/>
              <a:gd name="T35" fmla="*/ 770 h 1462"/>
              <a:gd name="T36" fmla="*/ 5019 w 5760"/>
              <a:gd name="T37" fmla="*/ 696 h 1462"/>
              <a:gd name="T38" fmla="*/ 5127 w 5760"/>
              <a:gd name="T39" fmla="*/ 618 h 1462"/>
              <a:gd name="T40" fmla="*/ 5168 w 5760"/>
              <a:gd name="T41" fmla="*/ 583 h 1462"/>
              <a:gd name="T42" fmla="*/ 5335 w 5760"/>
              <a:gd name="T43" fmla="*/ 439 h 1462"/>
              <a:gd name="T44" fmla="*/ 5462 w 5760"/>
              <a:gd name="T45" fmla="*/ 320 h 1462"/>
              <a:gd name="T46" fmla="*/ 5570 w 5760"/>
              <a:gd name="T47" fmla="*/ 207 h 1462"/>
              <a:gd name="T48" fmla="*/ 5625 w 5760"/>
              <a:gd name="T49" fmla="*/ 145 h 1462"/>
              <a:gd name="T50" fmla="*/ 5508 w 5760"/>
              <a:gd name="T51" fmla="*/ 264 h 1462"/>
              <a:gd name="T52" fmla="*/ 5676 w 5760"/>
              <a:gd name="T53" fmla="*/ 95 h 1462"/>
              <a:gd name="T54" fmla="*/ 5720 w 5760"/>
              <a:gd name="T55" fmla="*/ 41 h 1462"/>
              <a:gd name="T56" fmla="*/ 5708 w 5760"/>
              <a:gd name="T57" fmla="*/ 51 h 1462"/>
              <a:gd name="T58" fmla="*/ 5657 w 5760"/>
              <a:gd name="T59" fmla="*/ 99 h 1462"/>
              <a:gd name="T60" fmla="*/ 5555 w 5760"/>
              <a:gd name="T61" fmla="*/ 208 h 1462"/>
              <a:gd name="T62" fmla="*/ 5501 w 5760"/>
              <a:gd name="T63" fmla="*/ 264 h 1462"/>
              <a:gd name="T64" fmla="*/ 5269 w 5760"/>
              <a:gd name="T65" fmla="*/ 487 h 1462"/>
              <a:gd name="T66" fmla="*/ 5314 w 5760"/>
              <a:gd name="T67" fmla="*/ 442 h 1462"/>
              <a:gd name="T68" fmla="*/ 5204 w 5760"/>
              <a:gd name="T69" fmla="*/ 540 h 1462"/>
              <a:gd name="T70" fmla="*/ 5138 w 5760"/>
              <a:gd name="T71" fmla="*/ 588 h 1462"/>
              <a:gd name="T72" fmla="*/ 4907 w 5760"/>
              <a:gd name="T73" fmla="*/ 760 h 1462"/>
              <a:gd name="T74" fmla="*/ 4751 w 5760"/>
              <a:gd name="T75" fmla="*/ 849 h 1462"/>
              <a:gd name="T76" fmla="*/ 4599 w 5760"/>
              <a:gd name="T77" fmla="*/ 920 h 1462"/>
              <a:gd name="T78" fmla="*/ 4318 w 5760"/>
              <a:gd name="T79" fmla="*/ 1019 h 1462"/>
              <a:gd name="T80" fmla="*/ 4283 w 5760"/>
              <a:gd name="T81" fmla="*/ 1031 h 1462"/>
              <a:gd name="T82" fmla="*/ 4180 w 5760"/>
              <a:gd name="T83" fmla="*/ 1059 h 1462"/>
              <a:gd name="T84" fmla="*/ 4053 w 5760"/>
              <a:gd name="T85" fmla="*/ 1080 h 1462"/>
              <a:gd name="T86" fmla="*/ 3512 w 5760"/>
              <a:gd name="T87" fmla="*/ 1151 h 1462"/>
              <a:gd name="T88" fmla="*/ 2844 w 5760"/>
              <a:gd name="T89" fmla="*/ 1224 h 1462"/>
              <a:gd name="T90" fmla="*/ 2655 w 5760"/>
              <a:gd name="T91" fmla="*/ 1239 h 1462"/>
              <a:gd name="T92" fmla="*/ 2159 w 5760"/>
              <a:gd name="T93" fmla="*/ 1288 h 1462"/>
              <a:gd name="T94" fmla="*/ 1983 w 5760"/>
              <a:gd name="T95" fmla="*/ 1305 h 1462"/>
              <a:gd name="T96" fmla="*/ 1693 w 5760"/>
              <a:gd name="T97" fmla="*/ 1331 h 1462"/>
              <a:gd name="T98" fmla="*/ 889 w 5760"/>
              <a:gd name="T99" fmla="*/ 1403 h 1462"/>
              <a:gd name="T100" fmla="*/ 372 w 5760"/>
              <a:gd name="T101" fmla="*/ 1442 h 1462"/>
              <a:gd name="T102" fmla="*/ 26 w 5760"/>
              <a:gd name="T103" fmla="*/ 1456 h 1462"/>
              <a:gd name="T104" fmla="*/ 148 w 5760"/>
              <a:gd name="T105" fmla="*/ 1461 h 1462"/>
              <a:gd name="T106" fmla="*/ 346 w 5760"/>
              <a:gd name="T107" fmla="*/ 1451 h 1462"/>
              <a:gd name="T108" fmla="*/ 525 w 5760"/>
              <a:gd name="T109" fmla="*/ 1442 h 1462"/>
              <a:gd name="T110" fmla="*/ 733 w 5760"/>
              <a:gd name="T111" fmla="*/ 1427 h 1462"/>
              <a:gd name="T112" fmla="*/ 1009 w 5760"/>
              <a:gd name="T113" fmla="*/ 1410 h 1462"/>
              <a:gd name="T114" fmla="*/ 1146 w 5760"/>
              <a:gd name="T115" fmla="*/ 1399 h 1462"/>
              <a:gd name="T116" fmla="*/ 1338 w 5760"/>
              <a:gd name="T117" fmla="*/ 1383 h 1462"/>
              <a:gd name="T118" fmla="*/ 1575 w 5760"/>
              <a:gd name="T119" fmla="*/ 1358 h 1462"/>
              <a:gd name="T120" fmla="*/ 1812 w 5760"/>
              <a:gd name="T121" fmla="*/ 1341 h 1462"/>
              <a:gd name="T122" fmla="*/ 2162 w 5760"/>
              <a:gd name="T123" fmla="*/ 1303 h 1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60" h="1462">
                <a:moveTo>
                  <a:pt x="2242" y="1298"/>
                </a:moveTo>
                <a:lnTo>
                  <a:pt x="2242" y="1298"/>
                </a:lnTo>
                <a:lnTo>
                  <a:pt x="2224" y="1300"/>
                </a:lnTo>
                <a:lnTo>
                  <a:pt x="2230" y="1300"/>
                </a:lnTo>
                <a:lnTo>
                  <a:pt x="2241" y="1300"/>
                </a:lnTo>
                <a:lnTo>
                  <a:pt x="2245" y="1300"/>
                </a:lnTo>
                <a:lnTo>
                  <a:pt x="2245" y="1300"/>
                </a:lnTo>
                <a:lnTo>
                  <a:pt x="2267" y="1298"/>
                </a:lnTo>
                <a:lnTo>
                  <a:pt x="2274" y="1298"/>
                </a:lnTo>
                <a:lnTo>
                  <a:pt x="2272" y="1296"/>
                </a:lnTo>
                <a:lnTo>
                  <a:pt x="2272" y="1296"/>
                </a:lnTo>
                <a:lnTo>
                  <a:pt x="2294" y="1295"/>
                </a:lnTo>
                <a:lnTo>
                  <a:pt x="2320" y="1292"/>
                </a:lnTo>
                <a:lnTo>
                  <a:pt x="2348" y="1289"/>
                </a:lnTo>
                <a:lnTo>
                  <a:pt x="2372" y="1288"/>
                </a:lnTo>
                <a:lnTo>
                  <a:pt x="2372" y="1288"/>
                </a:lnTo>
                <a:lnTo>
                  <a:pt x="2366" y="1288"/>
                </a:lnTo>
                <a:lnTo>
                  <a:pt x="2375" y="1286"/>
                </a:lnTo>
                <a:lnTo>
                  <a:pt x="2375" y="1286"/>
                </a:lnTo>
                <a:lnTo>
                  <a:pt x="2400" y="1284"/>
                </a:lnTo>
                <a:lnTo>
                  <a:pt x="2411" y="1284"/>
                </a:lnTo>
                <a:lnTo>
                  <a:pt x="2411" y="1284"/>
                </a:lnTo>
                <a:lnTo>
                  <a:pt x="2457" y="1278"/>
                </a:lnTo>
                <a:lnTo>
                  <a:pt x="2457" y="1278"/>
                </a:lnTo>
                <a:lnTo>
                  <a:pt x="2461" y="1278"/>
                </a:lnTo>
                <a:lnTo>
                  <a:pt x="2457" y="1278"/>
                </a:lnTo>
                <a:lnTo>
                  <a:pt x="2454" y="1277"/>
                </a:lnTo>
                <a:lnTo>
                  <a:pt x="2463" y="1275"/>
                </a:lnTo>
                <a:lnTo>
                  <a:pt x="2463" y="1275"/>
                </a:lnTo>
                <a:lnTo>
                  <a:pt x="2492" y="1273"/>
                </a:lnTo>
                <a:lnTo>
                  <a:pt x="2523" y="1270"/>
                </a:lnTo>
                <a:lnTo>
                  <a:pt x="2523" y="1270"/>
                </a:lnTo>
                <a:lnTo>
                  <a:pt x="2529" y="1270"/>
                </a:lnTo>
                <a:lnTo>
                  <a:pt x="2518" y="1270"/>
                </a:lnTo>
                <a:lnTo>
                  <a:pt x="2489" y="1274"/>
                </a:lnTo>
                <a:lnTo>
                  <a:pt x="2557" y="1267"/>
                </a:lnTo>
                <a:lnTo>
                  <a:pt x="2557" y="1267"/>
                </a:lnTo>
                <a:lnTo>
                  <a:pt x="2564" y="1266"/>
                </a:lnTo>
                <a:lnTo>
                  <a:pt x="2557" y="1267"/>
                </a:lnTo>
                <a:lnTo>
                  <a:pt x="2528" y="1270"/>
                </a:lnTo>
                <a:lnTo>
                  <a:pt x="2528" y="1270"/>
                </a:lnTo>
                <a:lnTo>
                  <a:pt x="2570" y="1266"/>
                </a:lnTo>
                <a:lnTo>
                  <a:pt x="2598" y="1263"/>
                </a:lnTo>
                <a:lnTo>
                  <a:pt x="2598" y="1263"/>
                </a:lnTo>
                <a:lnTo>
                  <a:pt x="2641" y="1259"/>
                </a:lnTo>
                <a:lnTo>
                  <a:pt x="2641" y="1259"/>
                </a:lnTo>
                <a:lnTo>
                  <a:pt x="2624" y="1261"/>
                </a:lnTo>
                <a:lnTo>
                  <a:pt x="2601" y="1266"/>
                </a:lnTo>
                <a:lnTo>
                  <a:pt x="2601" y="1266"/>
                </a:lnTo>
                <a:lnTo>
                  <a:pt x="2585" y="1267"/>
                </a:lnTo>
                <a:lnTo>
                  <a:pt x="2588" y="1266"/>
                </a:lnTo>
                <a:lnTo>
                  <a:pt x="2592" y="1264"/>
                </a:lnTo>
                <a:lnTo>
                  <a:pt x="2581" y="1266"/>
                </a:lnTo>
                <a:lnTo>
                  <a:pt x="2577" y="1267"/>
                </a:lnTo>
                <a:lnTo>
                  <a:pt x="2577" y="1267"/>
                </a:lnTo>
                <a:lnTo>
                  <a:pt x="2556" y="1268"/>
                </a:lnTo>
                <a:lnTo>
                  <a:pt x="2534" y="1271"/>
                </a:lnTo>
                <a:lnTo>
                  <a:pt x="2534" y="1271"/>
                </a:lnTo>
                <a:lnTo>
                  <a:pt x="2531" y="1271"/>
                </a:lnTo>
                <a:lnTo>
                  <a:pt x="2532" y="1271"/>
                </a:lnTo>
                <a:lnTo>
                  <a:pt x="2542" y="1270"/>
                </a:lnTo>
                <a:lnTo>
                  <a:pt x="2542" y="1270"/>
                </a:lnTo>
                <a:lnTo>
                  <a:pt x="2503" y="1274"/>
                </a:lnTo>
                <a:lnTo>
                  <a:pt x="2468" y="1278"/>
                </a:lnTo>
                <a:lnTo>
                  <a:pt x="2468" y="1278"/>
                </a:lnTo>
                <a:lnTo>
                  <a:pt x="2534" y="1273"/>
                </a:lnTo>
                <a:lnTo>
                  <a:pt x="2584" y="1267"/>
                </a:lnTo>
                <a:lnTo>
                  <a:pt x="2662" y="1259"/>
                </a:lnTo>
                <a:lnTo>
                  <a:pt x="2662" y="1259"/>
                </a:lnTo>
                <a:lnTo>
                  <a:pt x="2651" y="1259"/>
                </a:lnTo>
                <a:lnTo>
                  <a:pt x="2648" y="1259"/>
                </a:lnTo>
                <a:lnTo>
                  <a:pt x="2656" y="1257"/>
                </a:lnTo>
                <a:lnTo>
                  <a:pt x="2656" y="1257"/>
                </a:lnTo>
                <a:lnTo>
                  <a:pt x="2680" y="1256"/>
                </a:lnTo>
                <a:lnTo>
                  <a:pt x="2719" y="1253"/>
                </a:lnTo>
                <a:lnTo>
                  <a:pt x="2719" y="1253"/>
                </a:lnTo>
                <a:lnTo>
                  <a:pt x="2718" y="1253"/>
                </a:lnTo>
                <a:lnTo>
                  <a:pt x="2722" y="1252"/>
                </a:lnTo>
                <a:lnTo>
                  <a:pt x="2737" y="1250"/>
                </a:lnTo>
                <a:lnTo>
                  <a:pt x="2751" y="1247"/>
                </a:lnTo>
                <a:lnTo>
                  <a:pt x="2754" y="1247"/>
                </a:lnTo>
                <a:lnTo>
                  <a:pt x="2752" y="1247"/>
                </a:lnTo>
                <a:lnTo>
                  <a:pt x="2752" y="1247"/>
                </a:lnTo>
                <a:lnTo>
                  <a:pt x="2736" y="1249"/>
                </a:lnTo>
                <a:lnTo>
                  <a:pt x="2729" y="1249"/>
                </a:lnTo>
                <a:lnTo>
                  <a:pt x="2729" y="1249"/>
                </a:lnTo>
                <a:lnTo>
                  <a:pt x="2741" y="1247"/>
                </a:lnTo>
                <a:lnTo>
                  <a:pt x="2744" y="1247"/>
                </a:lnTo>
                <a:lnTo>
                  <a:pt x="2743" y="1246"/>
                </a:lnTo>
                <a:lnTo>
                  <a:pt x="2748" y="1246"/>
                </a:lnTo>
                <a:lnTo>
                  <a:pt x="2748" y="1246"/>
                </a:lnTo>
                <a:lnTo>
                  <a:pt x="2775" y="1243"/>
                </a:lnTo>
                <a:lnTo>
                  <a:pt x="2798" y="1242"/>
                </a:lnTo>
                <a:lnTo>
                  <a:pt x="2798" y="1242"/>
                </a:lnTo>
                <a:lnTo>
                  <a:pt x="2732" y="1252"/>
                </a:lnTo>
                <a:lnTo>
                  <a:pt x="2732" y="1252"/>
                </a:lnTo>
                <a:lnTo>
                  <a:pt x="2772" y="1247"/>
                </a:lnTo>
                <a:lnTo>
                  <a:pt x="2772" y="1247"/>
                </a:lnTo>
                <a:lnTo>
                  <a:pt x="2766" y="1247"/>
                </a:lnTo>
                <a:lnTo>
                  <a:pt x="2771" y="1247"/>
                </a:lnTo>
                <a:lnTo>
                  <a:pt x="2775" y="1246"/>
                </a:lnTo>
                <a:lnTo>
                  <a:pt x="2771" y="1246"/>
                </a:lnTo>
                <a:lnTo>
                  <a:pt x="2771" y="1246"/>
                </a:lnTo>
                <a:lnTo>
                  <a:pt x="2913" y="1231"/>
                </a:lnTo>
                <a:lnTo>
                  <a:pt x="2913" y="1231"/>
                </a:lnTo>
                <a:lnTo>
                  <a:pt x="2896" y="1234"/>
                </a:lnTo>
                <a:lnTo>
                  <a:pt x="2868" y="1236"/>
                </a:lnTo>
                <a:lnTo>
                  <a:pt x="2846" y="1239"/>
                </a:lnTo>
                <a:lnTo>
                  <a:pt x="2840" y="1240"/>
                </a:lnTo>
                <a:lnTo>
                  <a:pt x="2843" y="1240"/>
                </a:lnTo>
                <a:lnTo>
                  <a:pt x="2843" y="1240"/>
                </a:lnTo>
                <a:lnTo>
                  <a:pt x="2867" y="1238"/>
                </a:lnTo>
                <a:lnTo>
                  <a:pt x="2888" y="1235"/>
                </a:lnTo>
                <a:lnTo>
                  <a:pt x="2888" y="1235"/>
                </a:lnTo>
                <a:lnTo>
                  <a:pt x="2928" y="1232"/>
                </a:lnTo>
                <a:lnTo>
                  <a:pt x="2981" y="1227"/>
                </a:lnTo>
                <a:lnTo>
                  <a:pt x="2966" y="1227"/>
                </a:lnTo>
                <a:lnTo>
                  <a:pt x="2966" y="1227"/>
                </a:lnTo>
                <a:lnTo>
                  <a:pt x="3019" y="1222"/>
                </a:lnTo>
                <a:lnTo>
                  <a:pt x="3014" y="1222"/>
                </a:lnTo>
                <a:lnTo>
                  <a:pt x="3030" y="1221"/>
                </a:lnTo>
                <a:lnTo>
                  <a:pt x="3030" y="1221"/>
                </a:lnTo>
                <a:lnTo>
                  <a:pt x="3033" y="1221"/>
                </a:lnTo>
                <a:lnTo>
                  <a:pt x="3033" y="1221"/>
                </a:lnTo>
                <a:lnTo>
                  <a:pt x="3122" y="1211"/>
                </a:lnTo>
                <a:lnTo>
                  <a:pt x="3122" y="1211"/>
                </a:lnTo>
                <a:lnTo>
                  <a:pt x="3104" y="1213"/>
                </a:lnTo>
                <a:lnTo>
                  <a:pt x="3076" y="1215"/>
                </a:lnTo>
                <a:lnTo>
                  <a:pt x="3076" y="1215"/>
                </a:lnTo>
                <a:lnTo>
                  <a:pt x="3059" y="1217"/>
                </a:lnTo>
                <a:lnTo>
                  <a:pt x="3054" y="1217"/>
                </a:lnTo>
                <a:lnTo>
                  <a:pt x="3056" y="1217"/>
                </a:lnTo>
                <a:lnTo>
                  <a:pt x="3056" y="1217"/>
                </a:lnTo>
                <a:lnTo>
                  <a:pt x="3166" y="1204"/>
                </a:lnTo>
                <a:lnTo>
                  <a:pt x="3152" y="1206"/>
                </a:lnTo>
                <a:lnTo>
                  <a:pt x="3152" y="1206"/>
                </a:lnTo>
                <a:lnTo>
                  <a:pt x="3207" y="1199"/>
                </a:lnTo>
                <a:lnTo>
                  <a:pt x="3207" y="1199"/>
                </a:lnTo>
                <a:lnTo>
                  <a:pt x="3219" y="1199"/>
                </a:lnTo>
                <a:lnTo>
                  <a:pt x="3210" y="1200"/>
                </a:lnTo>
                <a:lnTo>
                  <a:pt x="3198" y="1201"/>
                </a:lnTo>
                <a:lnTo>
                  <a:pt x="3203" y="1201"/>
                </a:lnTo>
                <a:lnTo>
                  <a:pt x="3203" y="1201"/>
                </a:lnTo>
                <a:lnTo>
                  <a:pt x="3175" y="1204"/>
                </a:lnTo>
                <a:lnTo>
                  <a:pt x="3157" y="1207"/>
                </a:lnTo>
                <a:lnTo>
                  <a:pt x="3182" y="1206"/>
                </a:lnTo>
                <a:lnTo>
                  <a:pt x="3182" y="1206"/>
                </a:lnTo>
                <a:lnTo>
                  <a:pt x="3211" y="1203"/>
                </a:lnTo>
                <a:lnTo>
                  <a:pt x="3237" y="1200"/>
                </a:lnTo>
                <a:lnTo>
                  <a:pt x="3222" y="1201"/>
                </a:lnTo>
                <a:lnTo>
                  <a:pt x="3222" y="1201"/>
                </a:lnTo>
                <a:lnTo>
                  <a:pt x="3233" y="1200"/>
                </a:lnTo>
                <a:lnTo>
                  <a:pt x="3247" y="1199"/>
                </a:lnTo>
                <a:lnTo>
                  <a:pt x="3236" y="1199"/>
                </a:lnTo>
                <a:lnTo>
                  <a:pt x="3236" y="1199"/>
                </a:lnTo>
                <a:lnTo>
                  <a:pt x="3207" y="1201"/>
                </a:lnTo>
                <a:lnTo>
                  <a:pt x="3183" y="1204"/>
                </a:lnTo>
                <a:lnTo>
                  <a:pt x="3183" y="1204"/>
                </a:lnTo>
                <a:lnTo>
                  <a:pt x="3218" y="1200"/>
                </a:lnTo>
                <a:lnTo>
                  <a:pt x="3260" y="1194"/>
                </a:lnTo>
                <a:lnTo>
                  <a:pt x="3260" y="1194"/>
                </a:lnTo>
                <a:lnTo>
                  <a:pt x="3256" y="1196"/>
                </a:lnTo>
                <a:lnTo>
                  <a:pt x="3246" y="1197"/>
                </a:lnTo>
                <a:lnTo>
                  <a:pt x="3246" y="1197"/>
                </a:lnTo>
                <a:lnTo>
                  <a:pt x="3272" y="1194"/>
                </a:lnTo>
                <a:lnTo>
                  <a:pt x="3306" y="1190"/>
                </a:lnTo>
                <a:lnTo>
                  <a:pt x="3306" y="1190"/>
                </a:lnTo>
                <a:lnTo>
                  <a:pt x="3282" y="1193"/>
                </a:lnTo>
                <a:lnTo>
                  <a:pt x="3278" y="1194"/>
                </a:lnTo>
                <a:lnTo>
                  <a:pt x="3286" y="1194"/>
                </a:lnTo>
                <a:lnTo>
                  <a:pt x="3299" y="1192"/>
                </a:lnTo>
                <a:lnTo>
                  <a:pt x="3299" y="1192"/>
                </a:lnTo>
                <a:lnTo>
                  <a:pt x="3311" y="1190"/>
                </a:lnTo>
                <a:lnTo>
                  <a:pt x="3311" y="1190"/>
                </a:lnTo>
                <a:lnTo>
                  <a:pt x="3318" y="1190"/>
                </a:lnTo>
                <a:lnTo>
                  <a:pt x="3320" y="1190"/>
                </a:lnTo>
                <a:lnTo>
                  <a:pt x="3335" y="1188"/>
                </a:lnTo>
                <a:lnTo>
                  <a:pt x="3335" y="1188"/>
                </a:lnTo>
                <a:lnTo>
                  <a:pt x="3342" y="1188"/>
                </a:lnTo>
                <a:lnTo>
                  <a:pt x="3345" y="1188"/>
                </a:lnTo>
                <a:lnTo>
                  <a:pt x="3343" y="1188"/>
                </a:lnTo>
                <a:lnTo>
                  <a:pt x="3343" y="1188"/>
                </a:lnTo>
                <a:lnTo>
                  <a:pt x="3367" y="1185"/>
                </a:lnTo>
                <a:lnTo>
                  <a:pt x="3388" y="1182"/>
                </a:lnTo>
                <a:lnTo>
                  <a:pt x="3388" y="1182"/>
                </a:lnTo>
                <a:lnTo>
                  <a:pt x="3373" y="1183"/>
                </a:lnTo>
                <a:lnTo>
                  <a:pt x="3367" y="1183"/>
                </a:lnTo>
                <a:lnTo>
                  <a:pt x="3373" y="1182"/>
                </a:lnTo>
                <a:lnTo>
                  <a:pt x="3388" y="1181"/>
                </a:lnTo>
                <a:lnTo>
                  <a:pt x="3388" y="1181"/>
                </a:lnTo>
                <a:lnTo>
                  <a:pt x="3437" y="1175"/>
                </a:lnTo>
                <a:lnTo>
                  <a:pt x="3479" y="1172"/>
                </a:lnTo>
                <a:lnTo>
                  <a:pt x="3495" y="1169"/>
                </a:lnTo>
                <a:lnTo>
                  <a:pt x="3495" y="1169"/>
                </a:lnTo>
                <a:lnTo>
                  <a:pt x="3493" y="1169"/>
                </a:lnTo>
                <a:lnTo>
                  <a:pt x="3494" y="1169"/>
                </a:lnTo>
                <a:lnTo>
                  <a:pt x="3505" y="1169"/>
                </a:lnTo>
                <a:lnTo>
                  <a:pt x="3532" y="1167"/>
                </a:lnTo>
                <a:lnTo>
                  <a:pt x="3532" y="1167"/>
                </a:lnTo>
                <a:lnTo>
                  <a:pt x="3525" y="1167"/>
                </a:lnTo>
                <a:lnTo>
                  <a:pt x="3504" y="1169"/>
                </a:lnTo>
                <a:lnTo>
                  <a:pt x="3484" y="1172"/>
                </a:lnTo>
                <a:lnTo>
                  <a:pt x="3474" y="1174"/>
                </a:lnTo>
                <a:lnTo>
                  <a:pt x="3474" y="1174"/>
                </a:lnTo>
                <a:lnTo>
                  <a:pt x="3490" y="1172"/>
                </a:lnTo>
                <a:lnTo>
                  <a:pt x="3480" y="1175"/>
                </a:lnTo>
                <a:lnTo>
                  <a:pt x="3480" y="1175"/>
                </a:lnTo>
                <a:lnTo>
                  <a:pt x="3494" y="1172"/>
                </a:lnTo>
                <a:lnTo>
                  <a:pt x="3497" y="1172"/>
                </a:lnTo>
                <a:lnTo>
                  <a:pt x="3498" y="1171"/>
                </a:lnTo>
                <a:lnTo>
                  <a:pt x="3502" y="1169"/>
                </a:lnTo>
                <a:lnTo>
                  <a:pt x="3502" y="1169"/>
                </a:lnTo>
                <a:lnTo>
                  <a:pt x="3523" y="1168"/>
                </a:lnTo>
                <a:lnTo>
                  <a:pt x="3534" y="1167"/>
                </a:lnTo>
                <a:lnTo>
                  <a:pt x="3536" y="1168"/>
                </a:lnTo>
                <a:lnTo>
                  <a:pt x="3533" y="1168"/>
                </a:lnTo>
                <a:lnTo>
                  <a:pt x="3533" y="1168"/>
                </a:lnTo>
                <a:lnTo>
                  <a:pt x="3557" y="1165"/>
                </a:lnTo>
                <a:lnTo>
                  <a:pt x="3576" y="1162"/>
                </a:lnTo>
                <a:lnTo>
                  <a:pt x="3576" y="1162"/>
                </a:lnTo>
                <a:lnTo>
                  <a:pt x="3573" y="1164"/>
                </a:lnTo>
                <a:lnTo>
                  <a:pt x="3572" y="1164"/>
                </a:lnTo>
                <a:lnTo>
                  <a:pt x="3573" y="1165"/>
                </a:lnTo>
                <a:lnTo>
                  <a:pt x="3573" y="1165"/>
                </a:lnTo>
                <a:lnTo>
                  <a:pt x="3601" y="1162"/>
                </a:lnTo>
                <a:lnTo>
                  <a:pt x="3601" y="1162"/>
                </a:lnTo>
                <a:lnTo>
                  <a:pt x="3600" y="1161"/>
                </a:lnTo>
                <a:lnTo>
                  <a:pt x="3601" y="1161"/>
                </a:lnTo>
                <a:lnTo>
                  <a:pt x="3589" y="1162"/>
                </a:lnTo>
                <a:lnTo>
                  <a:pt x="3589" y="1162"/>
                </a:lnTo>
                <a:lnTo>
                  <a:pt x="3614" y="1160"/>
                </a:lnTo>
                <a:lnTo>
                  <a:pt x="3635" y="1157"/>
                </a:lnTo>
                <a:lnTo>
                  <a:pt x="3635" y="1157"/>
                </a:lnTo>
                <a:lnTo>
                  <a:pt x="3660" y="1155"/>
                </a:lnTo>
                <a:lnTo>
                  <a:pt x="3699" y="1151"/>
                </a:lnTo>
                <a:lnTo>
                  <a:pt x="3699" y="1151"/>
                </a:lnTo>
                <a:lnTo>
                  <a:pt x="3692" y="1151"/>
                </a:lnTo>
                <a:lnTo>
                  <a:pt x="3678" y="1153"/>
                </a:lnTo>
                <a:lnTo>
                  <a:pt x="3663" y="1154"/>
                </a:lnTo>
                <a:lnTo>
                  <a:pt x="3653" y="1154"/>
                </a:lnTo>
                <a:lnTo>
                  <a:pt x="3653" y="1154"/>
                </a:lnTo>
                <a:lnTo>
                  <a:pt x="3717" y="1147"/>
                </a:lnTo>
                <a:lnTo>
                  <a:pt x="3792" y="1137"/>
                </a:lnTo>
                <a:lnTo>
                  <a:pt x="3792" y="1137"/>
                </a:lnTo>
                <a:lnTo>
                  <a:pt x="3809" y="1136"/>
                </a:lnTo>
                <a:lnTo>
                  <a:pt x="3810" y="1136"/>
                </a:lnTo>
                <a:lnTo>
                  <a:pt x="3807" y="1136"/>
                </a:lnTo>
                <a:lnTo>
                  <a:pt x="3802" y="1137"/>
                </a:lnTo>
                <a:lnTo>
                  <a:pt x="3799" y="1139"/>
                </a:lnTo>
                <a:lnTo>
                  <a:pt x="3801" y="1139"/>
                </a:lnTo>
                <a:lnTo>
                  <a:pt x="3801" y="1139"/>
                </a:lnTo>
                <a:lnTo>
                  <a:pt x="3724" y="1147"/>
                </a:lnTo>
                <a:lnTo>
                  <a:pt x="3724" y="1147"/>
                </a:lnTo>
                <a:lnTo>
                  <a:pt x="3785" y="1140"/>
                </a:lnTo>
                <a:lnTo>
                  <a:pt x="3840" y="1133"/>
                </a:lnTo>
                <a:lnTo>
                  <a:pt x="3840" y="1133"/>
                </a:lnTo>
                <a:lnTo>
                  <a:pt x="3880" y="1128"/>
                </a:lnTo>
                <a:lnTo>
                  <a:pt x="3899" y="1126"/>
                </a:lnTo>
                <a:lnTo>
                  <a:pt x="3926" y="1122"/>
                </a:lnTo>
                <a:lnTo>
                  <a:pt x="3926" y="1122"/>
                </a:lnTo>
                <a:lnTo>
                  <a:pt x="3919" y="1122"/>
                </a:lnTo>
                <a:lnTo>
                  <a:pt x="3906" y="1123"/>
                </a:lnTo>
                <a:lnTo>
                  <a:pt x="3906" y="1123"/>
                </a:lnTo>
                <a:lnTo>
                  <a:pt x="3945" y="1118"/>
                </a:lnTo>
                <a:lnTo>
                  <a:pt x="3945" y="1118"/>
                </a:lnTo>
                <a:lnTo>
                  <a:pt x="3947" y="1118"/>
                </a:lnTo>
                <a:lnTo>
                  <a:pt x="3947" y="1118"/>
                </a:lnTo>
                <a:lnTo>
                  <a:pt x="3941" y="1118"/>
                </a:lnTo>
                <a:lnTo>
                  <a:pt x="3937" y="1118"/>
                </a:lnTo>
                <a:lnTo>
                  <a:pt x="3944" y="1116"/>
                </a:lnTo>
                <a:lnTo>
                  <a:pt x="3944" y="1116"/>
                </a:lnTo>
                <a:lnTo>
                  <a:pt x="3957" y="1115"/>
                </a:lnTo>
                <a:lnTo>
                  <a:pt x="3962" y="1115"/>
                </a:lnTo>
                <a:lnTo>
                  <a:pt x="3959" y="1115"/>
                </a:lnTo>
                <a:lnTo>
                  <a:pt x="3959" y="1115"/>
                </a:lnTo>
                <a:lnTo>
                  <a:pt x="3983" y="1111"/>
                </a:lnTo>
                <a:lnTo>
                  <a:pt x="3996" y="1110"/>
                </a:lnTo>
                <a:lnTo>
                  <a:pt x="4008" y="1108"/>
                </a:lnTo>
                <a:lnTo>
                  <a:pt x="4028" y="1104"/>
                </a:lnTo>
                <a:lnTo>
                  <a:pt x="4028" y="1104"/>
                </a:lnTo>
                <a:lnTo>
                  <a:pt x="4008" y="1108"/>
                </a:lnTo>
                <a:lnTo>
                  <a:pt x="4008" y="1108"/>
                </a:lnTo>
                <a:lnTo>
                  <a:pt x="4007" y="1108"/>
                </a:lnTo>
                <a:lnTo>
                  <a:pt x="4007" y="1107"/>
                </a:lnTo>
                <a:lnTo>
                  <a:pt x="4015" y="1105"/>
                </a:lnTo>
                <a:lnTo>
                  <a:pt x="4040" y="1100"/>
                </a:lnTo>
                <a:lnTo>
                  <a:pt x="4040" y="1100"/>
                </a:lnTo>
                <a:lnTo>
                  <a:pt x="4049" y="1098"/>
                </a:lnTo>
                <a:lnTo>
                  <a:pt x="4067" y="1096"/>
                </a:lnTo>
                <a:lnTo>
                  <a:pt x="4067" y="1096"/>
                </a:lnTo>
                <a:lnTo>
                  <a:pt x="4068" y="1096"/>
                </a:lnTo>
                <a:lnTo>
                  <a:pt x="4065" y="1096"/>
                </a:lnTo>
                <a:lnTo>
                  <a:pt x="4054" y="1098"/>
                </a:lnTo>
                <a:lnTo>
                  <a:pt x="4032" y="1103"/>
                </a:lnTo>
                <a:lnTo>
                  <a:pt x="4064" y="1097"/>
                </a:lnTo>
                <a:lnTo>
                  <a:pt x="4057" y="1098"/>
                </a:lnTo>
                <a:lnTo>
                  <a:pt x="4093" y="1090"/>
                </a:lnTo>
                <a:lnTo>
                  <a:pt x="4093" y="1090"/>
                </a:lnTo>
                <a:lnTo>
                  <a:pt x="4081" y="1093"/>
                </a:lnTo>
                <a:lnTo>
                  <a:pt x="4079" y="1093"/>
                </a:lnTo>
                <a:lnTo>
                  <a:pt x="4092" y="1089"/>
                </a:lnTo>
                <a:lnTo>
                  <a:pt x="4092" y="1089"/>
                </a:lnTo>
                <a:lnTo>
                  <a:pt x="4125" y="1083"/>
                </a:lnTo>
                <a:lnTo>
                  <a:pt x="4136" y="1080"/>
                </a:lnTo>
                <a:lnTo>
                  <a:pt x="4139" y="1080"/>
                </a:lnTo>
                <a:lnTo>
                  <a:pt x="4139" y="1080"/>
                </a:lnTo>
                <a:lnTo>
                  <a:pt x="4159" y="1076"/>
                </a:lnTo>
                <a:lnTo>
                  <a:pt x="4194" y="1068"/>
                </a:lnTo>
                <a:lnTo>
                  <a:pt x="4194" y="1068"/>
                </a:lnTo>
                <a:lnTo>
                  <a:pt x="4184" y="1069"/>
                </a:lnTo>
                <a:lnTo>
                  <a:pt x="4184" y="1069"/>
                </a:lnTo>
                <a:lnTo>
                  <a:pt x="4198" y="1065"/>
                </a:lnTo>
                <a:lnTo>
                  <a:pt x="4233" y="1058"/>
                </a:lnTo>
                <a:lnTo>
                  <a:pt x="4233" y="1058"/>
                </a:lnTo>
                <a:lnTo>
                  <a:pt x="4219" y="1062"/>
                </a:lnTo>
                <a:lnTo>
                  <a:pt x="4221" y="1061"/>
                </a:lnTo>
                <a:lnTo>
                  <a:pt x="4231" y="1059"/>
                </a:lnTo>
                <a:lnTo>
                  <a:pt x="4234" y="1059"/>
                </a:lnTo>
                <a:lnTo>
                  <a:pt x="4233" y="1059"/>
                </a:lnTo>
                <a:lnTo>
                  <a:pt x="4233" y="1059"/>
                </a:lnTo>
                <a:lnTo>
                  <a:pt x="4209" y="1066"/>
                </a:lnTo>
                <a:lnTo>
                  <a:pt x="4180" y="1073"/>
                </a:lnTo>
                <a:lnTo>
                  <a:pt x="4180" y="1073"/>
                </a:lnTo>
                <a:lnTo>
                  <a:pt x="4205" y="1068"/>
                </a:lnTo>
                <a:lnTo>
                  <a:pt x="4226" y="1062"/>
                </a:lnTo>
                <a:lnTo>
                  <a:pt x="4267" y="1051"/>
                </a:lnTo>
                <a:lnTo>
                  <a:pt x="4267" y="1051"/>
                </a:lnTo>
                <a:lnTo>
                  <a:pt x="4263" y="1052"/>
                </a:lnTo>
                <a:lnTo>
                  <a:pt x="4249" y="1057"/>
                </a:lnTo>
                <a:lnTo>
                  <a:pt x="4249" y="1057"/>
                </a:lnTo>
                <a:lnTo>
                  <a:pt x="4302" y="1043"/>
                </a:lnTo>
                <a:lnTo>
                  <a:pt x="4302" y="1043"/>
                </a:lnTo>
                <a:lnTo>
                  <a:pt x="4294" y="1044"/>
                </a:lnTo>
                <a:lnTo>
                  <a:pt x="4295" y="1043"/>
                </a:lnTo>
                <a:lnTo>
                  <a:pt x="4305" y="1040"/>
                </a:lnTo>
                <a:lnTo>
                  <a:pt x="4336" y="1033"/>
                </a:lnTo>
                <a:lnTo>
                  <a:pt x="4336" y="1033"/>
                </a:lnTo>
                <a:lnTo>
                  <a:pt x="4352" y="1027"/>
                </a:lnTo>
                <a:lnTo>
                  <a:pt x="4357" y="1026"/>
                </a:lnTo>
                <a:lnTo>
                  <a:pt x="4361" y="1025"/>
                </a:lnTo>
                <a:lnTo>
                  <a:pt x="4375" y="1019"/>
                </a:lnTo>
                <a:lnTo>
                  <a:pt x="4355" y="1025"/>
                </a:lnTo>
                <a:lnTo>
                  <a:pt x="4355" y="1025"/>
                </a:lnTo>
                <a:lnTo>
                  <a:pt x="4376" y="1018"/>
                </a:lnTo>
                <a:lnTo>
                  <a:pt x="4389" y="1013"/>
                </a:lnTo>
                <a:lnTo>
                  <a:pt x="4394" y="1012"/>
                </a:lnTo>
                <a:lnTo>
                  <a:pt x="4394" y="1012"/>
                </a:lnTo>
                <a:lnTo>
                  <a:pt x="4372" y="1019"/>
                </a:lnTo>
                <a:lnTo>
                  <a:pt x="4348" y="1026"/>
                </a:lnTo>
                <a:lnTo>
                  <a:pt x="4348" y="1026"/>
                </a:lnTo>
                <a:lnTo>
                  <a:pt x="4348" y="1026"/>
                </a:lnTo>
                <a:lnTo>
                  <a:pt x="4350" y="1025"/>
                </a:lnTo>
                <a:lnTo>
                  <a:pt x="4359" y="1022"/>
                </a:lnTo>
                <a:lnTo>
                  <a:pt x="4382" y="1015"/>
                </a:lnTo>
                <a:lnTo>
                  <a:pt x="4440" y="997"/>
                </a:lnTo>
                <a:lnTo>
                  <a:pt x="4440" y="997"/>
                </a:lnTo>
                <a:lnTo>
                  <a:pt x="4435" y="1001"/>
                </a:lnTo>
                <a:lnTo>
                  <a:pt x="4419" y="1006"/>
                </a:lnTo>
                <a:lnTo>
                  <a:pt x="4405" y="1012"/>
                </a:lnTo>
                <a:lnTo>
                  <a:pt x="4401" y="1013"/>
                </a:lnTo>
                <a:lnTo>
                  <a:pt x="4401" y="1015"/>
                </a:lnTo>
                <a:lnTo>
                  <a:pt x="4401" y="1015"/>
                </a:lnTo>
                <a:lnTo>
                  <a:pt x="4401" y="1015"/>
                </a:lnTo>
                <a:lnTo>
                  <a:pt x="4463" y="994"/>
                </a:lnTo>
                <a:lnTo>
                  <a:pt x="4514" y="976"/>
                </a:lnTo>
                <a:lnTo>
                  <a:pt x="4514" y="976"/>
                </a:lnTo>
                <a:lnTo>
                  <a:pt x="4541" y="965"/>
                </a:lnTo>
                <a:lnTo>
                  <a:pt x="4542" y="963"/>
                </a:lnTo>
                <a:lnTo>
                  <a:pt x="4541" y="963"/>
                </a:lnTo>
                <a:lnTo>
                  <a:pt x="4538" y="963"/>
                </a:lnTo>
                <a:lnTo>
                  <a:pt x="4538" y="963"/>
                </a:lnTo>
                <a:lnTo>
                  <a:pt x="4567" y="952"/>
                </a:lnTo>
                <a:lnTo>
                  <a:pt x="4552" y="959"/>
                </a:lnTo>
                <a:lnTo>
                  <a:pt x="4552" y="959"/>
                </a:lnTo>
                <a:lnTo>
                  <a:pt x="4602" y="938"/>
                </a:lnTo>
                <a:lnTo>
                  <a:pt x="4653" y="914"/>
                </a:lnTo>
                <a:lnTo>
                  <a:pt x="4653" y="914"/>
                </a:lnTo>
                <a:lnTo>
                  <a:pt x="4669" y="907"/>
                </a:lnTo>
                <a:lnTo>
                  <a:pt x="4662" y="909"/>
                </a:lnTo>
                <a:lnTo>
                  <a:pt x="4685" y="898"/>
                </a:lnTo>
                <a:lnTo>
                  <a:pt x="4681" y="899"/>
                </a:lnTo>
                <a:lnTo>
                  <a:pt x="4681" y="899"/>
                </a:lnTo>
                <a:lnTo>
                  <a:pt x="4699" y="889"/>
                </a:lnTo>
                <a:lnTo>
                  <a:pt x="4726" y="877"/>
                </a:lnTo>
                <a:lnTo>
                  <a:pt x="4726" y="877"/>
                </a:lnTo>
                <a:lnTo>
                  <a:pt x="4716" y="882"/>
                </a:lnTo>
                <a:lnTo>
                  <a:pt x="4716" y="882"/>
                </a:lnTo>
                <a:lnTo>
                  <a:pt x="4741" y="870"/>
                </a:lnTo>
                <a:lnTo>
                  <a:pt x="4764" y="857"/>
                </a:lnTo>
                <a:lnTo>
                  <a:pt x="4764" y="857"/>
                </a:lnTo>
                <a:lnTo>
                  <a:pt x="4758" y="862"/>
                </a:lnTo>
                <a:lnTo>
                  <a:pt x="4738" y="873"/>
                </a:lnTo>
                <a:lnTo>
                  <a:pt x="4738" y="873"/>
                </a:lnTo>
                <a:lnTo>
                  <a:pt x="4736" y="874"/>
                </a:lnTo>
                <a:lnTo>
                  <a:pt x="4706" y="888"/>
                </a:lnTo>
                <a:lnTo>
                  <a:pt x="4706" y="888"/>
                </a:lnTo>
                <a:lnTo>
                  <a:pt x="4745" y="868"/>
                </a:lnTo>
                <a:lnTo>
                  <a:pt x="4757" y="864"/>
                </a:lnTo>
                <a:lnTo>
                  <a:pt x="4759" y="863"/>
                </a:lnTo>
                <a:lnTo>
                  <a:pt x="4759" y="863"/>
                </a:lnTo>
                <a:lnTo>
                  <a:pt x="4769" y="857"/>
                </a:lnTo>
                <a:lnTo>
                  <a:pt x="4764" y="860"/>
                </a:lnTo>
                <a:lnTo>
                  <a:pt x="4758" y="863"/>
                </a:lnTo>
                <a:lnTo>
                  <a:pt x="4772" y="856"/>
                </a:lnTo>
                <a:lnTo>
                  <a:pt x="4772" y="856"/>
                </a:lnTo>
                <a:lnTo>
                  <a:pt x="4810" y="836"/>
                </a:lnTo>
                <a:lnTo>
                  <a:pt x="4843" y="817"/>
                </a:lnTo>
                <a:lnTo>
                  <a:pt x="4872" y="799"/>
                </a:lnTo>
                <a:lnTo>
                  <a:pt x="4897" y="786"/>
                </a:lnTo>
                <a:lnTo>
                  <a:pt x="4897" y="786"/>
                </a:lnTo>
                <a:lnTo>
                  <a:pt x="4981" y="728"/>
                </a:lnTo>
                <a:lnTo>
                  <a:pt x="4981" y="728"/>
                </a:lnTo>
                <a:lnTo>
                  <a:pt x="4992" y="719"/>
                </a:lnTo>
                <a:lnTo>
                  <a:pt x="4999" y="715"/>
                </a:lnTo>
                <a:lnTo>
                  <a:pt x="5000" y="714"/>
                </a:lnTo>
                <a:lnTo>
                  <a:pt x="5000" y="712"/>
                </a:lnTo>
                <a:lnTo>
                  <a:pt x="5000" y="712"/>
                </a:lnTo>
                <a:lnTo>
                  <a:pt x="4953" y="746"/>
                </a:lnTo>
                <a:lnTo>
                  <a:pt x="4932" y="760"/>
                </a:lnTo>
                <a:lnTo>
                  <a:pt x="4910" y="774"/>
                </a:lnTo>
                <a:lnTo>
                  <a:pt x="4910" y="774"/>
                </a:lnTo>
                <a:lnTo>
                  <a:pt x="4899" y="781"/>
                </a:lnTo>
                <a:lnTo>
                  <a:pt x="4895" y="785"/>
                </a:lnTo>
                <a:lnTo>
                  <a:pt x="4895" y="785"/>
                </a:lnTo>
                <a:lnTo>
                  <a:pt x="4875" y="797"/>
                </a:lnTo>
                <a:lnTo>
                  <a:pt x="4865" y="803"/>
                </a:lnTo>
                <a:lnTo>
                  <a:pt x="4865" y="803"/>
                </a:lnTo>
                <a:lnTo>
                  <a:pt x="4881" y="792"/>
                </a:lnTo>
                <a:lnTo>
                  <a:pt x="4886" y="788"/>
                </a:lnTo>
                <a:lnTo>
                  <a:pt x="4893" y="783"/>
                </a:lnTo>
                <a:lnTo>
                  <a:pt x="4913" y="770"/>
                </a:lnTo>
                <a:lnTo>
                  <a:pt x="4913" y="770"/>
                </a:lnTo>
                <a:lnTo>
                  <a:pt x="4861" y="802"/>
                </a:lnTo>
                <a:lnTo>
                  <a:pt x="4861" y="802"/>
                </a:lnTo>
                <a:lnTo>
                  <a:pt x="4862" y="800"/>
                </a:lnTo>
                <a:lnTo>
                  <a:pt x="4861" y="802"/>
                </a:lnTo>
                <a:lnTo>
                  <a:pt x="4850" y="807"/>
                </a:lnTo>
                <a:lnTo>
                  <a:pt x="4850" y="807"/>
                </a:lnTo>
                <a:lnTo>
                  <a:pt x="4895" y="777"/>
                </a:lnTo>
                <a:lnTo>
                  <a:pt x="4895" y="777"/>
                </a:lnTo>
                <a:lnTo>
                  <a:pt x="4893" y="778"/>
                </a:lnTo>
                <a:lnTo>
                  <a:pt x="4895" y="778"/>
                </a:lnTo>
                <a:lnTo>
                  <a:pt x="4896" y="777"/>
                </a:lnTo>
                <a:lnTo>
                  <a:pt x="4896" y="778"/>
                </a:lnTo>
                <a:lnTo>
                  <a:pt x="4896" y="778"/>
                </a:lnTo>
                <a:lnTo>
                  <a:pt x="4936" y="750"/>
                </a:lnTo>
                <a:lnTo>
                  <a:pt x="4936" y="750"/>
                </a:lnTo>
                <a:lnTo>
                  <a:pt x="4949" y="743"/>
                </a:lnTo>
                <a:lnTo>
                  <a:pt x="4949" y="743"/>
                </a:lnTo>
                <a:lnTo>
                  <a:pt x="4946" y="746"/>
                </a:lnTo>
                <a:lnTo>
                  <a:pt x="4946" y="746"/>
                </a:lnTo>
                <a:lnTo>
                  <a:pt x="4985" y="718"/>
                </a:lnTo>
                <a:lnTo>
                  <a:pt x="5000" y="708"/>
                </a:lnTo>
                <a:lnTo>
                  <a:pt x="5007" y="704"/>
                </a:lnTo>
                <a:lnTo>
                  <a:pt x="5007" y="704"/>
                </a:lnTo>
                <a:lnTo>
                  <a:pt x="5019" y="696"/>
                </a:lnTo>
                <a:lnTo>
                  <a:pt x="5013" y="698"/>
                </a:lnTo>
                <a:lnTo>
                  <a:pt x="4995" y="711"/>
                </a:lnTo>
                <a:lnTo>
                  <a:pt x="4998" y="710"/>
                </a:lnTo>
                <a:lnTo>
                  <a:pt x="4967" y="731"/>
                </a:lnTo>
                <a:lnTo>
                  <a:pt x="4967" y="731"/>
                </a:lnTo>
                <a:lnTo>
                  <a:pt x="4971" y="728"/>
                </a:lnTo>
                <a:lnTo>
                  <a:pt x="4984" y="718"/>
                </a:lnTo>
                <a:lnTo>
                  <a:pt x="4998" y="708"/>
                </a:lnTo>
                <a:lnTo>
                  <a:pt x="5006" y="703"/>
                </a:lnTo>
                <a:lnTo>
                  <a:pt x="5006" y="703"/>
                </a:lnTo>
                <a:lnTo>
                  <a:pt x="5009" y="698"/>
                </a:lnTo>
                <a:lnTo>
                  <a:pt x="5014" y="694"/>
                </a:lnTo>
                <a:lnTo>
                  <a:pt x="5031" y="683"/>
                </a:lnTo>
                <a:lnTo>
                  <a:pt x="5052" y="669"/>
                </a:lnTo>
                <a:lnTo>
                  <a:pt x="5070" y="655"/>
                </a:lnTo>
                <a:lnTo>
                  <a:pt x="5046" y="676"/>
                </a:lnTo>
                <a:lnTo>
                  <a:pt x="5067" y="659"/>
                </a:lnTo>
                <a:lnTo>
                  <a:pt x="5067" y="659"/>
                </a:lnTo>
                <a:lnTo>
                  <a:pt x="5056" y="671"/>
                </a:lnTo>
                <a:lnTo>
                  <a:pt x="5038" y="685"/>
                </a:lnTo>
                <a:lnTo>
                  <a:pt x="5038" y="685"/>
                </a:lnTo>
                <a:lnTo>
                  <a:pt x="5087" y="648"/>
                </a:lnTo>
                <a:lnTo>
                  <a:pt x="5127" y="618"/>
                </a:lnTo>
                <a:lnTo>
                  <a:pt x="5127" y="618"/>
                </a:lnTo>
                <a:lnTo>
                  <a:pt x="5136" y="612"/>
                </a:lnTo>
                <a:lnTo>
                  <a:pt x="5137" y="612"/>
                </a:lnTo>
                <a:lnTo>
                  <a:pt x="5136" y="614"/>
                </a:lnTo>
                <a:lnTo>
                  <a:pt x="5136" y="614"/>
                </a:lnTo>
                <a:lnTo>
                  <a:pt x="5172" y="584"/>
                </a:lnTo>
                <a:lnTo>
                  <a:pt x="5204" y="558"/>
                </a:lnTo>
                <a:lnTo>
                  <a:pt x="5204" y="558"/>
                </a:lnTo>
                <a:lnTo>
                  <a:pt x="5211" y="552"/>
                </a:lnTo>
                <a:lnTo>
                  <a:pt x="5203" y="558"/>
                </a:lnTo>
                <a:lnTo>
                  <a:pt x="5193" y="566"/>
                </a:lnTo>
                <a:lnTo>
                  <a:pt x="5193" y="566"/>
                </a:lnTo>
                <a:lnTo>
                  <a:pt x="5196" y="562"/>
                </a:lnTo>
                <a:lnTo>
                  <a:pt x="5196" y="562"/>
                </a:lnTo>
                <a:lnTo>
                  <a:pt x="5211" y="551"/>
                </a:lnTo>
                <a:lnTo>
                  <a:pt x="5225" y="538"/>
                </a:lnTo>
                <a:lnTo>
                  <a:pt x="5225" y="538"/>
                </a:lnTo>
                <a:lnTo>
                  <a:pt x="5201" y="558"/>
                </a:lnTo>
                <a:lnTo>
                  <a:pt x="5170" y="583"/>
                </a:lnTo>
                <a:lnTo>
                  <a:pt x="5170" y="583"/>
                </a:lnTo>
                <a:lnTo>
                  <a:pt x="5182" y="572"/>
                </a:lnTo>
                <a:lnTo>
                  <a:pt x="5186" y="568"/>
                </a:lnTo>
                <a:lnTo>
                  <a:pt x="5162" y="587"/>
                </a:lnTo>
                <a:lnTo>
                  <a:pt x="5162" y="587"/>
                </a:lnTo>
                <a:lnTo>
                  <a:pt x="5168" y="583"/>
                </a:lnTo>
                <a:lnTo>
                  <a:pt x="5179" y="573"/>
                </a:lnTo>
                <a:lnTo>
                  <a:pt x="5201" y="554"/>
                </a:lnTo>
                <a:lnTo>
                  <a:pt x="5201" y="554"/>
                </a:lnTo>
                <a:lnTo>
                  <a:pt x="5193" y="563"/>
                </a:lnTo>
                <a:lnTo>
                  <a:pt x="5193" y="563"/>
                </a:lnTo>
                <a:lnTo>
                  <a:pt x="5260" y="506"/>
                </a:lnTo>
                <a:lnTo>
                  <a:pt x="5260" y="506"/>
                </a:lnTo>
                <a:lnTo>
                  <a:pt x="5262" y="505"/>
                </a:lnTo>
                <a:lnTo>
                  <a:pt x="5258" y="508"/>
                </a:lnTo>
                <a:lnTo>
                  <a:pt x="5247" y="519"/>
                </a:lnTo>
                <a:lnTo>
                  <a:pt x="5247" y="519"/>
                </a:lnTo>
                <a:lnTo>
                  <a:pt x="5258" y="509"/>
                </a:lnTo>
                <a:lnTo>
                  <a:pt x="5271" y="499"/>
                </a:lnTo>
                <a:lnTo>
                  <a:pt x="5271" y="499"/>
                </a:lnTo>
                <a:lnTo>
                  <a:pt x="5262" y="506"/>
                </a:lnTo>
                <a:lnTo>
                  <a:pt x="5251" y="516"/>
                </a:lnTo>
                <a:lnTo>
                  <a:pt x="5251" y="516"/>
                </a:lnTo>
                <a:lnTo>
                  <a:pt x="5310" y="464"/>
                </a:lnTo>
                <a:lnTo>
                  <a:pt x="5310" y="464"/>
                </a:lnTo>
                <a:lnTo>
                  <a:pt x="5286" y="487"/>
                </a:lnTo>
                <a:lnTo>
                  <a:pt x="5286" y="487"/>
                </a:lnTo>
                <a:lnTo>
                  <a:pt x="5310" y="464"/>
                </a:lnTo>
                <a:lnTo>
                  <a:pt x="5335" y="439"/>
                </a:lnTo>
                <a:lnTo>
                  <a:pt x="5335" y="439"/>
                </a:lnTo>
                <a:lnTo>
                  <a:pt x="5363" y="416"/>
                </a:lnTo>
                <a:lnTo>
                  <a:pt x="5371" y="409"/>
                </a:lnTo>
                <a:lnTo>
                  <a:pt x="5373" y="407"/>
                </a:lnTo>
                <a:lnTo>
                  <a:pt x="5371" y="409"/>
                </a:lnTo>
                <a:lnTo>
                  <a:pt x="5371" y="409"/>
                </a:lnTo>
                <a:lnTo>
                  <a:pt x="5375" y="403"/>
                </a:lnTo>
                <a:lnTo>
                  <a:pt x="5374" y="405"/>
                </a:lnTo>
                <a:lnTo>
                  <a:pt x="5374" y="405"/>
                </a:lnTo>
                <a:lnTo>
                  <a:pt x="5399" y="379"/>
                </a:lnTo>
                <a:lnTo>
                  <a:pt x="5416" y="363"/>
                </a:lnTo>
                <a:lnTo>
                  <a:pt x="5405" y="372"/>
                </a:lnTo>
                <a:lnTo>
                  <a:pt x="5405" y="372"/>
                </a:lnTo>
                <a:lnTo>
                  <a:pt x="5416" y="361"/>
                </a:lnTo>
                <a:lnTo>
                  <a:pt x="5419" y="359"/>
                </a:lnTo>
                <a:lnTo>
                  <a:pt x="5421" y="356"/>
                </a:lnTo>
                <a:lnTo>
                  <a:pt x="5431" y="346"/>
                </a:lnTo>
                <a:lnTo>
                  <a:pt x="5431" y="346"/>
                </a:lnTo>
                <a:lnTo>
                  <a:pt x="5430" y="347"/>
                </a:lnTo>
                <a:lnTo>
                  <a:pt x="5430" y="349"/>
                </a:lnTo>
                <a:lnTo>
                  <a:pt x="5435" y="346"/>
                </a:lnTo>
                <a:lnTo>
                  <a:pt x="5435" y="346"/>
                </a:lnTo>
                <a:lnTo>
                  <a:pt x="5445" y="335"/>
                </a:lnTo>
                <a:lnTo>
                  <a:pt x="5462" y="320"/>
                </a:lnTo>
                <a:lnTo>
                  <a:pt x="5462" y="320"/>
                </a:lnTo>
                <a:lnTo>
                  <a:pt x="5460" y="321"/>
                </a:lnTo>
                <a:lnTo>
                  <a:pt x="5462" y="320"/>
                </a:lnTo>
                <a:lnTo>
                  <a:pt x="5467" y="314"/>
                </a:lnTo>
                <a:lnTo>
                  <a:pt x="5470" y="310"/>
                </a:lnTo>
                <a:lnTo>
                  <a:pt x="5465" y="314"/>
                </a:lnTo>
                <a:lnTo>
                  <a:pt x="5465" y="314"/>
                </a:lnTo>
                <a:lnTo>
                  <a:pt x="5491" y="287"/>
                </a:lnTo>
                <a:lnTo>
                  <a:pt x="5512" y="267"/>
                </a:lnTo>
                <a:lnTo>
                  <a:pt x="5512" y="267"/>
                </a:lnTo>
                <a:lnTo>
                  <a:pt x="5511" y="268"/>
                </a:lnTo>
                <a:lnTo>
                  <a:pt x="5516" y="261"/>
                </a:lnTo>
                <a:lnTo>
                  <a:pt x="5522" y="254"/>
                </a:lnTo>
                <a:lnTo>
                  <a:pt x="5522" y="254"/>
                </a:lnTo>
                <a:lnTo>
                  <a:pt x="5520" y="255"/>
                </a:lnTo>
                <a:lnTo>
                  <a:pt x="5520" y="255"/>
                </a:lnTo>
                <a:lnTo>
                  <a:pt x="5545" y="230"/>
                </a:lnTo>
                <a:lnTo>
                  <a:pt x="5551" y="226"/>
                </a:lnTo>
                <a:lnTo>
                  <a:pt x="5552" y="225"/>
                </a:lnTo>
                <a:lnTo>
                  <a:pt x="5551" y="226"/>
                </a:lnTo>
                <a:lnTo>
                  <a:pt x="5551" y="226"/>
                </a:lnTo>
                <a:lnTo>
                  <a:pt x="5540" y="239"/>
                </a:lnTo>
                <a:lnTo>
                  <a:pt x="5534" y="246"/>
                </a:lnTo>
                <a:lnTo>
                  <a:pt x="5570" y="207"/>
                </a:lnTo>
                <a:lnTo>
                  <a:pt x="5570" y="207"/>
                </a:lnTo>
                <a:lnTo>
                  <a:pt x="5586" y="193"/>
                </a:lnTo>
                <a:lnTo>
                  <a:pt x="5594" y="184"/>
                </a:lnTo>
                <a:lnTo>
                  <a:pt x="5594" y="184"/>
                </a:lnTo>
                <a:lnTo>
                  <a:pt x="5618" y="161"/>
                </a:lnTo>
                <a:lnTo>
                  <a:pt x="5630" y="148"/>
                </a:lnTo>
                <a:lnTo>
                  <a:pt x="5639" y="138"/>
                </a:lnTo>
                <a:lnTo>
                  <a:pt x="5639" y="138"/>
                </a:lnTo>
                <a:lnTo>
                  <a:pt x="5622" y="155"/>
                </a:lnTo>
                <a:lnTo>
                  <a:pt x="5611" y="166"/>
                </a:lnTo>
                <a:lnTo>
                  <a:pt x="5616" y="161"/>
                </a:lnTo>
                <a:lnTo>
                  <a:pt x="5614" y="163"/>
                </a:lnTo>
                <a:lnTo>
                  <a:pt x="5628" y="145"/>
                </a:lnTo>
                <a:lnTo>
                  <a:pt x="5628" y="145"/>
                </a:lnTo>
                <a:lnTo>
                  <a:pt x="5621" y="152"/>
                </a:lnTo>
                <a:lnTo>
                  <a:pt x="5618" y="157"/>
                </a:lnTo>
                <a:lnTo>
                  <a:pt x="5615" y="161"/>
                </a:lnTo>
                <a:lnTo>
                  <a:pt x="5604" y="172"/>
                </a:lnTo>
                <a:lnTo>
                  <a:pt x="5604" y="172"/>
                </a:lnTo>
                <a:lnTo>
                  <a:pt x="5600" y="175"/>
                </a:lnTo>
                <a:lnTo>
                  <a:pt x="5603" y="173"/>
                </a:lnTo>
                <a:lnTo>
                  <a:pt x="5615" y="158"/>
                </a:lnTo>
                <a:lnTo>
                  <a:pt x="5628" y="144"/>
                </a:lnTo>
                <a:lnTo>
                  <a:pt x="5629" y="141"/>
                </a:lnTo>
                <a:lnTo>
                  <a:pt x="5625" y="145"/>
                </a:lnTo>
                <a:lnTo>
                  <a:pt x="5625" y="145"/>
                </a:lnTo>
                <a:lnTo>
                  <a:pt x="5611" y="161"/>
                </a:lnTo>
                <a:lnTo>
                  <a:pt x="5600" y="175"/>
                </a:lnTo>
                <a:lnTo>
                  <a:pt x="5603" y="170"/>
                </a:lnTo>
                <a:lnTo>
                  <a:pt x="5573" y="202"/>
                </a:lnTo>
                <a:lnTo>
                  <a:pt x="5573" y="202"/>
                </a:lnTo>
                <a:lnTo>
                  <a:pt x="5576" y="198"/>
                </a:lnTo>
                <a:lnTo>
                  <a:pt x="5580" y="194"/>
                </a:lnTo>
                <a:lnTo>
                  <a:pt x="5580" y="194"/>
                </a:lnTo>
                <a:lnTo>
                  <a:pt x="5540" y="235"/>
                </a:lnTo>
                <a:lnTo>
                  <a:pt x="5498" y="276"/>
                </a:lnTo>
                <a:lnTo>
                  <a:pt x="5498" y="276"/>
                </a:lnTo>
                <a:lnTo>
                  <a:pt x="5502" y="272"/>
                </a:lnTo>
                <a:lnTo>
                  <a:pt x="5501" y="275"/>
                </a:lnTo>
                <a:lnTo>
                  <a:pt x="5492" y="285"/>
                </a:lnTo>
                <a:lnTo>
                  <a:pt x="5492" y="285"/>
                </a:lnTo>
                <a:lnTo>
                  <a:pt x="5478" y="299"/>
                </a:lnTo>
                <a:lnTo>
                  <a:pt x="5466" y="310"/>
                </a:lnTo>
                <a:lnTo>
                  <a:pt x="5466" y="310"/>
                </a:lnTo>
                <a:lnTo>
                  <a:pt x="5476" y="300"/>
                </a:lnTo>
                <a:lnTo>
                  <a:pt x="5487" y="289"/>
                </a:lnTo>
                <a:lnTo>
                  <a:pt x="5485" y="289"/>
                </a:lnTo>
                <a:lnTo>
                  <a:pt x="5485" y="289"/>
                </a:lnTo>
                <a:lnTo>
                  <a:pt x="5508" y="264"/>
                </a:lnTo>
                <a:lnTo>
                  <a:pt x="5537" y="230"/>
                </a:lnTo>
                <a:lnTo>
                  <a:pt x="5537" y="230"/>
                </a:lnTo>
                <a:lnTo>
                  <a:pt x="5555" y="211"/>
                </a:lnTo>
                <a:lnTo>
                  <a:pt x="5590" y="176"/>
                </a:lnTo>
                <a:lnTo>
                  <a:pt x="5579" y="186"/>
                </a:lnTo>
                <a:lnTo>
                  <a:pt x="5579" y="186"/>
                </a:lnTo>
                <a:lnTo>
                  <a:pt x="5589" y="175"/>
                </a:lnTo>
                <a:lnTo>
                  <a:pt x="5593" y="172"/>
                </a:lnTo>
                <a:lnTo>
                  <a:pt x="5597" y="168"/>
                </a:lnTo>
                <a:lnTo>
                  <a:pt x="5611" y="152"/>
                </a:lnTo>
                <a:lnTo>
                  <a:pt x="5611" y="152"/>
                </a:lnTo>
                <a:lnTo>
                  <a:pt x="5632" y="134"/>
                </a:lnTo>
                <a:lnTo>
                  <a:pt x="5637" y="130"/>
                </a:lnTo>
                <a:lnTo>
                  <a:pt x="5632" y="137"/>
                </a:lnTo>
                <a:lnTo>
                  <a:pt x="5632" y="137"/>
                </a:lnTo>
                <a:lnTo>
                  <a:pt x="5655" y="112"/>
                </a:lnTo>
                <a:lnTo>
                  <a:pt x="5678" y="90"/>
                </a:lnTo>
                <a:lnTo>
                  <a:pt x="5678" y="90"/>
                </a:lnTo>
                <a:lnTo>
                  <a:pt x="5682" y="85"/>
                </a:lnTo>
                <a:lnTo>
                  <a:pt x="5681" y="88"/>
                </a:lnTo>
                <a:lnTo>
                  <a:pt x="5676" y="92"/>
                </a:lnTo>
                <a:lnTo>
                  <a:pt x="5675" y="95"/>
                </a:lnTo>
                <a:lnTo>
                  <a:pt x="5676" y="95"/>
                </a:lnTo>
                <a:lnTo>
                  <a:pt x="5676" y="95"/>
                </a:lnTo>
                <a:lnTo>
                  <a:pt x="5694" y="74"/>
                </a:lnTo>
                <a:lnTo>
                  <a:pt x="5699" y="70"/>
                </a:lnTo>
                <a:lnTo>
                  <a:pt x="5694" y="73"/>
                </a:lnTo>
                <a:lnTo>
                  <a:pt x="5720" y="46"/>
                </a:lnTo>
                <a:lnTo>
                  <a:pt x="5720" y="46"/>
                </a:lnTo>
                <a:lnTo>
                  <a:pt x="5708" y="59"/>
                </a:lnTo>
                <a:lnTo>
                  <a:pt x="5708" y="59"/>
                </a:lnTo>
                <a:lnTo>
                  <a:pt x="5727" y="39"/>
                </a:lnTo>
                <a:lnTo>
                  <a:pt x="5742" y="23"/>
                </a:lnTo>
                <a:lnTo>
                  <a:pt x="5742" y="23"/>
                </a:lnTo>
                <a:lnTo>
                  <a:pt x="5731" y="34"/>
                </a:lnTo>
                <a:lnTo>
                  <a:pt x="5731" y="34"/>
                </a:lnTo>
                <a:lnTo>
                  <a:pt x="5760" y="0"/>
                </a:lnTo>
                <a:lnTo>
                  <a:pt x="5760" y="0"/>
                </a:lnTo>
                <a:lnTo>
                  <a:pt x="5745" y="19"/>
                </a:lnTo>
                <a:lnTo>
                  <a:pt x="5728" y="35"/>
                </a:lnTo>
                <a:lnTo>
                  <a:pt x="5728" y="35"/>
                </a:lnTo>
                <a:lnTo>
                  <a:pt x="5731" y="31"/>
                </a:lnTo>
                <a:lnTo>
                  <a:pt x="5739" y="21"/>
                </a:lnTo>
                <a:lnTo>
                  <a:pt x="5739" y="21"/>
                </a:lnTo>
                <a:lnTo>
                  <a:pt x="5720" y="41"/>
                </a:lnTo>
                <a:lnTo>
                  <a:pt x="5707" y="55"/>
                </a:lnTo>
                <a:lnTo>
                  <a:pt x="5707" y="55"/>
                </a:lnTo>
                <a:lnTo>
                  <a:pt x="5720" y="41"/>
                </a:lnTo>
                <a:lnTo>
                  <a:pt x="5727" y="33"/>
                </a:lnTo>
                <a:lnTo>
                  <a:pt x="5727" y="33"/>
                </a:lnTo>
                <a:lnTo>
                  <a:pt x="5690" y="72"/>
                </a:lnTo>
                <a:lnTo>
                  <a:pt x="5690" y="72"/>
                </a:lnTo>
                <a:lnTo>
                  <a:pt x="5683" y="78"/>
                </a:lnTo>
                <a:lnTo>
                  <a:pt x="5672" y="91"/>
                </a:lnTo>
                <a:lnTo>
                  <a:pt x="5662" y="99"/>
                </a:lnTo>
                <a:lnTo>
                  <a:pt x="5661" y="101"/>
                </a:lnTo>
                <a:lnTo>
                  <a:pt x="5664" y="98"/>
                </a:lnTo>
                <a:lnTo>
                  <a:pt x="5664" y="98"/>
                </a:lnTo>
                <a:lnTo>
                  <a:pt x="5640" y="123"/>
                </a:lnTo>
                <a:lnTo>
                  <a:pt x="5640" y="123"/>
                </a:lnTo>
                <a:lnTo>
                  <a:pt x="5650" y="111"/>
                </a:lnTo>
                <a:lnTo>
                  <a:pt x="5667" y="92"/>
                </a:lnTo>
                <a:lnTo>
                  <a:pt x="5667" y="92"/>
                </a:lnTo>
                <a:lnTo>
                  <a:pt x="5683" y="74"/>
                </a:lnTo>
                <a:lnTo>
                  <a:pt x="5685" y="74"/>
                </a:lnTo>
                <a:lnTo>
                  <a:pt x="5682" y="76"/>
                </a:lnTo>
                <a:lnTo>
                  <a:pt x="5676" y="84"/>
                </a:lnTo>
                <a:lnTo>
                  <a:pt x="5675" y="85"/>
                </a:lnTo>
                <a:lnTo>
                  <a:pt x="5676" y="84"/>
                </a:lnTo>
                <a:lnTo>
                  <a:pt x="5706" y="53"/>
                </a:lnTo>
                <a:lnTo>
                  <a:pt x="5706" y="53"/>
                </a:lnTo>
                <a:lnTo>
                  <a:pt x="5708" y="51"/>
                </a:lnTo>
                <a:lnTo>
                  <a:pt x="5697" y="60"/>
                </a:lnTo>
                <a:lnTo>
                  <a:pt x="5697" y="60"/>
                </a:lnTo>
                <a:lnTo>
                  <a:pt x="5715" y="39"/>
                </a:lnTo>
                <a:lnTo>
                  <a:pt x="5740" y="14"/>
                </a:lnTo>
                <a:lnTo>
                  <a:pt x="5740" y="14"/>
                </a:lnTo>
                <a:lnTo>
                  <a:pt x="5736" y="17"/>
                </a:lnTo>
                <a:lnTo>
                  <a:pt x="5728" y="26"/>
                </a:lnTo>
                <a:lnTo>
                  <a:pt x="5728" y="26"/>
                </a:lnTo>
                <a:lnTo>
                  <a:pt x="5736" y="14"/>
                </a:lnTo>
                <a:lnTo>
                  <a:pt x="5738" y="14"/>
                </a:lnTo>
                <a:lnTo>
                  <a:pt x="5736" y="14"/>
                </a:lnTo>
                <a:lnTo>
                  <a:pt x="5725" y="27"/>
                </a:lnTo>
                <a:lnTo>
                  <a:pt x="5725" y="27"/>
                </a:lnTo>
                <a:lnTo>
                  <a:pt x="5727" y="26"/>
                </a:lnTo>
                <a:lnTo>
                  <a:pt x="5724" y="28"/>
                </a:lnTo>
                <a:lnTo>
                  <a:pt x="5722" y="31"/>
                </a:lnTo>
                <a:lnTo>
                  <a:pt x="5727" y="27"/>
                </a:lnTo>
                <a:lnTo>
                  <a:pt x="5727" y="27"/>
                </a:lnTo>
                <a:lnTo>
                  <a:pt x="5706" y="48"/>
                </a:lnTo>
                <a:lnTo>
                  <a:pt x="5699" y="55"/>
                </a:lnTo>
                <a:lnTo>
                  <a:pt x="5697" y="55"/>
                </a:lnTo>
                <a:lnTo>
                  <a:pt x="5700" y="53"/>
                </a:lnTo>
                <a:lnTo>
                  <a:pt x="5657" y="99"/>
                </a:lnTo>
                <a:lnTo>
                  <a:pt x="5657" y="99"/>
                </a:lnTo>
                <a:lnTo>
                  <a:pt x="5661" y="95"/>
                </a:lnTo>
                <a:lnTo>
                  <a:pt x="5669" y="85"/>
                </a:lnTo>
                <a:lnTo>
                  <a:pt x="5636" y="122"/>
                </a:lnTo>
                <a:lnTo>
                  <a:pt x="5646" y="112"/>
                </a:lnTo>
                <a:lnTo>
                  <a:pt x="5646" y="112"/>
                </a:lnTo>
                <a:lnTo>
                  <a:pt x="5614" y="147"/>
                </a:lnTo>
                <a:lnTo>
                  <a:pt x="5586" y="177"/>
                </a:lnTo>
                <a:lnTo>
                  <a:pt x="5586" y="177"/>
                </a:lnTo>
                <a:lnTo>
                  <a:pt x="5598" y="163"/>
                </a:lnTo>
                <a:lnTo>
                  <a:pt x="5618" y="141"/>
                </a:lnTo>
                <a:lnTo>
                  <a:pt x="5618" y="141"/>
                </a:lnTo>
                <a:lnTo>
                  <a:pt x="5611" y="148"/>
                </a:lnTo>
                <a:lnTo>
                  <a:pt x="5607" y="154"/>
                </a:lnTo>
                <a:lnTo>
                  <a:pt x="5589" y="173"/>
                </a:lnTo>
                <a:lnTo>
                  <a:pt x="5589" y="173"/>
                </a:lnTo>
                <a:lnTo>
                  <a:pt x="5586" y="175"/>
                </a:lnTo>
                <a:lnTo>
                  <a:pt x="5586" y="175"/>
                </a:lnTo>
                <a:lnTo>
                  <a:pt x="5570" y="193"/>
                </a:lnTo>
                <a:lnTo>
                  <a:pt x="5570" y="193"/>
                </a:lnTo>
                <a:lnTo>
                  <a:pt x="5568" y="194"/>
                </a:lnTo>
                <a:lnTo>
                  <a:pt x="5569" y="191"/>
                </a:lnTo>
                <a:lnTo>
                  <a:pt x="5569" y="191"/>
                </a:lnTo>
                <a:lnTo>
                  <a:pt x="5558" y="205"/>
                </a:lnTo>
                <a:lnTo>
                  <a:pt x="5555" y="208"/>
                </a:lnTo>
                <a:lnTo>
                  <a:pt x="5533" y="232"/>
                </a:lnTo>
                <a:lnTo>
                  <a:pt x="5533" y="232"/>
                </a:lnTo>
                <a:lnTo>
                  <a:pt x="5554" y="211"/>
                </a:lnTo>
                <a:lnTo>
                  <a:pt x="5572" y="191"/>
                </a:lnTo>
                <a:lnTo>
                  <a:pt x="5572" y="191"/>
                </a:lnTo>
                <a:lnTo>
                  <a:pt x="5575" y="190"/>
                </a:lnTo>
                <a:lnTo>
                  <a:pt x="5573" y="191"/>
                </a:lnTo>
                <a:lnTo>
                  <a:pt x="5565" y="200"/>
                </a:lnTo>
                <a:lnTo>
                  <a:pt x="5545" y="222"/>
                </a:lnTo>
                <a:lnTo>
                  <a:pt x="5545" y="222"/>
                </a:lnTo>
                <a:lnTo>
                  <a:pt x="5524" y="243"/>
                </a:lnTo>
                <a:lnTo>
                  <a:pt x="5499" y="267"/>
                </a:lnTo>
                <a:lnTo>
                  <a:pt x="5499" y="267"/>
                </a:lnTo>
                <a:lnTo>
                  <a:pt x="5509" y="257"/>
                </a:lnTo>
                <a:lnTo>
                  <a:pt x="5523" y="242"/>
                </a:lnTo>
                <a:lnTo>
                  <a:pt x="5523" y="242"/>
                </a:lnTo>
                <a:lnTo>
                  <a:pt x="5527" y="236"/>
                </a:lnTo>
                <a:lnTo>
                  <a:pt x="5524" y="240"/>
                </a:lnTo>
                <a:lnTo>
                  <a:pt x="5512" y="250"/>
                </a:lnTo>
                <a:lnTo>
                  <a:pt x="5512" y="250"/>
                </a:lnTo>
                <a:lnTo>
                  <a:pt x="5511" y="253"/>
                </a:lnTo>
                <a:lnTo>
                  <a:pt x="5511" y="253"/>
                </a:lnTo>
                <a:lnTo>
                  <a:pt x="5499" y="265"/>
                </a:lnTo>
                <a:lnTo>
                  <a:pt x="5501" y="264"/>
                </a:lnTo>
                <a:lnTo>
                  <a:pt x="5472" y="294"/>
                </a:lnTo>
                <a:lnTo>
                  <a:pt x="5472" y="294"/>
                </a:lnTo>
                <a:lnTo>
                  <a:pt x="5428" y="338"/>
                </a:lnTo>
                <a:lnTo>
                  <a:pt x="5409" y="357"/>
                </a:lnTo>
                <a:lnTo>
                  <a:pt x="5391" y="372"/>
                </a:lnTo>
                <a:lnTo>
                  <a:pt x="5396" y="370"/>
                </a:lnTo>
                <a:lnTo>
                  <a:pt x="5342" y="421"/>
                </a:lnTo>
                <a:lnTo>
                  <a:pt x="5342" y="421"/>
                </a:lnTo>
                <a:lnTo>
                  <a:pt x="5352" y="411"/>
                </a:lnTo>
                <a:lnTo>
                  <a:pt x="5368" y="396"/>
                </a:lnTo>
                <a:lnTo>
                  <a:pt x="5368" y="396"/>
                </a:lnTo>
                <a:lnTo>
                  <a:pt x="5288" y="471"/>
                </a:lnTo>
                <a:lnTo>
                  <a:pt x="5288" y="471"/>
                </a:lnTo>
                <a:lnTo>
                  <a:pt x="5322" y="444"/>
                </a:lnTo>
                <a:lnTo>
                  <a:pt x="5322" y="444"/>
                </a:lnTo>
                <a:lnTo>
                  <a:pt x="5310" y="456"/>
                </a:lnTo>
                <a:lnTo>
                  <a:pt x="5299" y="464"/>
                </a:lnTo>
                <a:lnTo>
                  <a:pt x="5286" y="474"/>
                </a:lnTo>
                <a:lnTo>
                  <a:pt x="5269" y="490"/>
                </a:lnTo>
                <a:lnTo>
                  <a:pt x="5269" y="490"/>
                </a:lnTo>
                <a:lnTo>
                  <a:pt x="5271" y="488"/>
                </a:lnTo>
                <a:lnTo>
                  <a:pt x="5272" y="487"/>
                </a:lnTo>
                <a:lnTo>
                  <a:pt x="5274" y="485"/>
                </a:lnTo>
                <a:lnTo>
                  <a:pt x="5269" y="487"/>
                </a:lnTo>
                <a:lnTo>
                  <a:pt x="5269" y="487"/>
                </a:lnTo>
                <a:lnTo>
                  <a:pt x="5250" y="506"/>
                </a:lnTo>
                <a:lnTo>
                  <a:pt x="5228" y="526"/>
                </a:lnTo>
                <a:lnTo>
                  <a:pt x="5228" y="526"/>
                </a:lnTo>
                <a:lnTo>
                  <a:pt x="5226" y="527"/>
                </a:lnTo>
                <a:lnTo>
                  <a:pt x="5230" y="522"/>
                </a:lnTo>
                <a:lnTo>
                  <a:pt x="5260" y="495"/>
                </a:lnTo>
                <a:lnTo>
                  <a:pt x="5260" y="495"/>
                </a:lnTo>
                <a:lnTo>
                  <a:pt x="5276" y="481"/>
                </a:lnTo>
                <a:lnTo>
                  <a:pt x="5292" y="466"/>
                </a:lnTo>
                <a:lnTo>
                  <a:pt x="5321" y="439"/>
                </a:lnTo>
                <a:lnTo>
                  <a:pt x="5310" y="449"/>
                </a:lnTo>
                <a:lnTo>
                  <a:pt x="5310" y="449"/>
                </a:lnTo>
                <a:lnTo>
                  <a:pt x="5360" y="400"/>
                </a:lnTo>
                <a:lnTo>
                  <a:pt x="5360" y="402"/>
                </a:lnTo>
                <a:lnTo>
                  <a:pt x="5368" y="392"/>
                </a:lnTo>
                <a:lnTo>
                  <a:pt x="5359" y="402"/>
                </a:lnTo>
                <a:lnTo>
                  <a:pt x="5359" y="402"/>
                </a:lnTo>
                <a:lnTo>
                  <a:pt x="5389" y="370"/>
                </a:lnTo>
                <a:lnTo>
                  <a:pt x="5389" y="370"/>
                </a:lnTo>
                <a:lnTo>
                  <a:pt x="5361" y="398"/>
                </a:lnTo>
                <a:lnTo>
                  <a:pt x="5346" y="414"/>
                </a:lnTo>
                <a:lnTo>
                  <a:pt x="5346" y="414"/>
                </a:lnTo>
                <a:lnTo>
                  <a:pt x="5314" y="442"/>
                </a:lnTo>
                <a:lnTo>
                  <a:pt x="5303" y="453"/>
                </a:lnTo>
                <a:lnTo>
                  <a:pt x="5290" y="464"/>
                </a:lnTo>
                <a:lnTo>
                  <a:pt x="5290" y="464"/>
                </a:lnTo>
                <a:lnTo>
                  <a:pt x="5282" y="470"/>
                </a:lnTo>
                <a:lnTo>
                  <a:pt x="5281" y="471"/>
                </a:lnTo>
                <a:lnTo>
                  <a:pt x="5285" y="467"/>
                </a:lnTo>
                <a:lnTo>
                  <a:pt x="5285" y="467"/>
                </a:lnTo>
                <a:lnTo>
                  <a:pt x="5303" y="450"/>
                </a:lnTo>
                <a:lnTo>
                  <a:pt x="5311" y="442"/>
                </a:lnTo>
                <a:lnTo>
                  <a:pt x="5311" y="442"/>
                </a:lnTo>
                <a:lnTo>
                  <a:pt x="5278" y="473"/>
                </a:lnTo>
                <a:lnTo>
                  <a:pt x="5278" y="473"/>
                </a:lnTo>
                <a:lnTo>
                  <a:pt x="5264" y="487"/>
                </a:lnTo>
                <a:lnTo>
                  <a:pt x="5240" y="510"/>
                </a:lnTo>
                <a:lnTo>
                  <a:pt x="5240" y="510"/>
                </a:lnTo>
                <a:lnTo>
                  <a:pt x="5211" y="537"/>
                </a:lnTo>
                <a:lnTo>
                  <a:pt x="5183" y="559"/>
                </a:lnTo>
                <a:lnTo>
                  <a:pt x="5183" y="559"/>
                </a:lnTo>
                <a:lnTo>
                  <a:pt x="5207" y="537"/>
                </a:lnTo>
                <a:lnTo>
                  <a:pt x="5214" y="531"/>
                </a:lnTo>
                <a:lnTo>
                  <a:pt x="5215" y="530"/>
                </a:lnTo>
                <a:lnTo>
                  <a:pt x="5214" y="530"/>
                </a:lnTo>
                <a:lnTo>
                  <a:pt x="5214" y="530"/>
                </a:lnTo>
                <a:lnTo>
                  <a:pt x="5204" y="540"/>
                </a:lnTo>
                <a:lnTo>
                  <a:pt x="5193" y="548"/>
                </a:lnTo>
                <a:lnTo>
                  <a:pt x="5184" y="555"/>
                </a:lnTo>
                <a:lnTo>
                  <a:pt x="5183" y="556"/>
                </a:lnTo>
                <a:lnTo>
                  <a:pt x="5183" y="556"/>
                </a:lnTo>
                <a:lnTo>
                  <a:pt x="5183" y="556"/>
                </a:lnTo>
                <a:lnTo>
                  <a:pt x="5145" y="587"/>
                </a:lnTo>
                <a:lnTo>
                  <a:pt x="5130" y="600"/>
                </a:lnTo>
                <a:lnTo>
                  <a:pt x="5122" y="605"/>
                </a:lnTo>
                <a:lnTo>
                  <a:pt x="5122" y="605"/>
                </a:lnTo>
                <a:lnTo>
                  <a:pt x="5152" y="580"/>
                </a:lnTo>
                <a:lnTo>
                  <a:pt x="5180" y="558"/>
                </a:lnTo>
                <a:lnTo>
                  <a:pt x="5180" y="558"/>
                </a:lnTo>
                <a:lnTo>
                  <a:pt x="5173" y="563"/>
                </a:lnTo>
                <a:lnTo>
                  <a:pt x="5172" y="563"/>
                </a:lnTo>
                <a:lnTo>
                  <a:pt x="5173" y="563"/>
                </a:lnTo>
                <a:lnTo>
                  <a:pt x="5198" y="541"/>
                </a:lnTo>
                <a:lnTo>
                  <a:pt x="5198" y="541"/>
                </a:lnTo>
                <a:lnTo>
                  <a:pt x="5180" y="556"/>
                </a:lnTo>
                <a:lnTo>
                  <a:pt x="5158" y="574"/>
                </a:lnTo>
                <a:lnTo>
                  <a:pt x="5158" y="574"/>
                </a:lnTo>
                <a:lnTo>
                  <a:pt x="5161" y="573"/>
                </a:lnTo>
                <a:lnTo>
                  <a:pt x="5140" y="590"/>
                </a:lnTo>
                <a:lnTo>
                  <a:pt x="5138" y="588"/>
                </a:lnTo>
                <a:lnTo>
                  <a:pt x="5138" y="588"/>
                </a:lnTo>
                <a:lnTo>
                  <a:pt x="5099" y="620"/>
                </a:lnTo>
                <a:lnTo>
                  <a:pt x="5048" y="659"/>
                </a:lnTo>
                <a:lnTo>
                  <a:pt x="5051" y="657"/>
                </a:lnTo>
                <a:lnTo>
                  <a:pt x="5051" y="657"/>
                </a:lnTo>
                <a:lnTo>
                  <a:pt x="5034" y="669"/>
                </a:lnTo>
                <a:lnTo>
                  <a:pt x="5021" y="679"/>
                </a:lnTo>
                <a:lnTo>
                  <a:pt x="5009" y="690"/>
                </a:lnTo>
                <a:lnTo>
                  <a:pt x="4991" y="704"/>
                </a:lnTo>
                <a:lnTo>
                  <a:pt x="4991" y="704"/>
                </a:lnTo>
                <a:lnTo>
                  <a:pt x="4996" y="698"/>
                </a:lnTo>
                <a:lnTo>
                  <a:pt x="4993" y="700"/>
                </a:lnTo>
                <a:lnTo>
                  <a:pt x="4993" y="700"/>
                </a:lnTo>
                <a:lnTo>
                  <a:pt x="4973" y="714"/>
                </a:lnTo>
                <a:lnTo>
                  <a:pt x="4953" y="726"/>
                </a:lnTo>
                <a:lnTo>
                  <a:pt x="4953" y="726"/>
                </a:lnTo>
                <a:lnTo>
                  <a:pt x="4959" y="724"/>
                </a:lnTo>
                <a:lnTo>
                  <a:pt x="4956" y="726"/>
                </a:lnTo>
                <a:lnTo>
                  <a:pt x="4952" y="729"/>
                </a:lnTo>
                <a:lnTo>
                  <a:pt x="4954" y="728"/>
                </a:lnTo>
                <a:lnTo>
                  <a:pt x="4954" y="728"/>
                </a:lnTo>
                <a:lnTo>
                  <a:pt x="4950" y="732"/>
                </a:lnTo>
                <a:lnTo>
                  <a:pt x="4938" y="740"/>
                </a:lnTo>
                <a:lnTo>
                  <a:pt x="4907" y="760"/>
                </a:lnTo>
                <a:lnTo>
                  <a:pt x="4907" y="760"/>
                </a:lnTo>
                <a:lnTo>
                  <a:pt x="4906" y="761"/>
                </a:lnTo>
                <a:lnTo>
                  <a:pt x="4906" y="760"/>
                </a:lnTo>
                <a:lnTo>
                  <a:pt x="4910" y="757"/>
                </a:lnTo>
                <a:lnTo>
                  <a:pt x="4925" y="747"/>
                </a:lnTo>
                <a:lnTo>
                  <a:pt x="4925" y="747"/>
                </a:lnTo>
                <a:lnTo>
                  <a:pt x="4938" y="738"/>
                </a:lnTo>
                <a:lnTo>
                  <a:pt x="4938" y="738"/>
                </a:lnTo>
                <a:lnTo>
                  <a:pt x="4932" y="740"/>
                </a:lnTo>
                <a:lnTo>
                  <a:pt x="4932" y="740"/>
                </a:lnTo>
                <a:lnTo>
                  <a:pt x="4917" y="751"/>
                </a:lnTo>
                <a:lnTo>
                  <a:pt x="4924" y="747"/>
                </a:lnTo>
                <a:lnTo>
                  <a:pt x="4924" y="747"/>
                </a:lnTo>
                <a:lnTo>
                  <a:pt x="4886" y="771"/>
                </a:lnTo>
                <a:lnTo>
                  <a:pt x="4854" y="789"/>
                </a:lnTo>
                <a:lnTo>
                  <a:pt x="4854" y="789"/>
                </a:lnTo>
                <a:lnTo>
                  <a:pt x="4825" y="809"/>
                </a:lnTo>
                <a:lnTo>
                  <a:pt x="4803" y="822"/>
                </a:lnTo>
                <a:lnTo>
                  <a:pt x="4803" y="822"/>
                </a:lnTo>
                <a:lnTo>
                  <a:pt x="4816" y="813"/>
                </a:lnTo>
                <a:lnTo>
                  <a:pt x="4833" y="803"/>
                </a:lnTo>
                <a:lnTo>
                  <a:pt x="4815" y="816"/>
                </a:lnTo>
                <a:lnTo>
                  <a:pt x="4815" y="816"/>
                </a:lnTo>
                <a:lnTo>
                  <a:pt x="4780" y="834"/>
                </a:lnTo>
                <a:lnTo>
                  <a:pt x="4751" y="849"/>
                </a:lnTo>
                <a:lnTo>
                  <a:pt x="4769" y="839"/>
                </a:lnTo>
                <a:lnTo>
                  <a:pt x="4769" y="839"/>
                </a:lnTo>
                <a:lnTo>
                  <a:pt x="4769" y="839"/>
                </a:lnTo>
                <a:lnTo>
                  <a:pt x="4786" y="829"/>
                </a:lnTo>
                <a:lnTo>
                  <a:pt x="4797" y="822"/>
                </a:lnTo>
                <a:lnTo>
                  <a:pt x="4797" y="822"/>
                </a:lnTo>
                <a:lnTo>
                  <a:pt x="4773" y="836"/>
                </a:lnTo>
                <a:lnTo>
                  <a:pt x="4745" y="852"/>
                </a:lnTo>
                <a:lnTo>
                  <a:pt x="4745" y="852"/>
                </a:lnTo>
                <a:lnTo>
                  <a:pt x="4745" y="852"/>
                </a:lnTo>
                <a:lnTo>
                  <a:pt x="4718" y="866"/>
                </a:lnTo>
                <a:lnTo>
                  <a:pt x="4694" y="877"/>
                </a:lnTo>
                <a:lnTo>
                  <a:pt x="4672" y="888"/>
                </a:lnTo>
                <a:lnTo>
                  <a:pt x="4652" y="898"/>
                </a:lnTo>
                <a:lnTo>
                  <a:pt x="4652" y="898"/>
                </a:lnTo>
                <a:lnTo>
                  <a:pt x="4666" y="892"/>
                </a:lnTo>
                <a:lnTo>
                  <a:pt x="4670" y="891"/>
                </a:lnTo>
                <a:lnTo>
                  <a:pt x="4670" y="889"/>
                </a:lnTo>
                <a:lnTo>
                  <a:pt x="4670" y="891"/>
                </a:lnTo>
                <a:lnTo>
                  <a:pt x="4670" y="891"/>
                </a:lnTo>
                <a:lnTo>
                  <a:pt x="4649" y="899"/>
                </a:lnTo>
                <a:lnTo>
                  <a:pt x="4637" y="905"/>
                </a:lnTo>
                <a:lnTo>
                  <a:pt x="4645" y="901"/>
                </a:lnTo>
                <a:lnTo>
                  <a:pt x="4599" y="920"/>
                </a:lnTo>
                <a:lnTo>
                  <a:pt x="4599" y="920"/>
                </a:lnTo>
                <a:lnTo>
                  <a:pt x="4595" y="924"/>
                </a:lnTo>
                <a:lnTo>
                  <a:pt x="4584" y="930"/>
                </a:lnTo>
                <a:lnTo>
                  <a:pt x="4584" y="930"/>
                </a:lnTo>
                <a:lnTo>
                  <a:pt x="4568" y="935"/>
                </a:lnTo>
                <a:lnTo>
                  <a:pt x="4573" y="933"/>
                </a:lnTo>
                <a:lnTo>
                  <a:pt x="4580" y="928"/>
                </a:lnTo>
                <a:lnTo>
                  <a:pt x="4571" y="931"/>
                </a:lnTo>
                <a:lnTo>
                  <a:pt x="4571" y="931"/>
                </a:lnTo>
                <a:lnTo>
                  <a:pt x="4534" y="948"/>
                </a:lnTo>
                <a:lnTo>
                  <a:pt x="4525" y="951"/>
                </a:lnTo>
                <a:lnTo>
                  <a:pt x="4525" y="951"/>
                </a:lnTo>
                <a:lnTo>
                  <a:pt x="4444" y="980"/>
                </a:lnTo>
                <a:lnTo>
                  <a:pt x="4405" y="994"/>
                </a:lnTo>
                <a:lnTo>
                  <a:pt x="4361" y="1008"/>
                </a:lnTo>
                <a:lnTo>
                  <a:pt x="4361" y="1008"/>
                </a:lnTo>
                <a:lnTo>
                  <a:pt x="4368" y="1005"/>
                </a:lnTo>
                <a:lnTo>
                  <a:pt x="4384" y="999"/>
                </a:lnTo>
                <a:lnTo>
                  <a:pt x="4419" y="987"/>
                </a:lnTo>
                <a:lnTo>
                  <a:pt x="4419" y="987"/>
                </a:lnTo>
                <a:lnTo>
                  <a:pt x="4386" y="998"/>
                </a:lnTo>
                <a:lnTo>
                  <a:pt x="4347" y="1009"/>
                </a:lnTo>
                <a:lnTo>
                  <a:pt x="4347" y="1009"/>
                </a:lnTo>
                <a:lnTo>
                  <a:pt x="4318" y="1019"/>
                </a:lnTo>
                <a:lnTo>
                  <a:pt x="4309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286" y="1027"/>
                </a:lnTo>
                <a:lnTo>
                  <a:pt x="4283" y="1027"/>
                </a:lnTo>
                <a:lnTo>
                  <a:pt x="4283" y="1027"/>
                </a:lnTo>
                <a:lnTo>
                  <a:pt x="4272" y="1031"/>
                </a:lnTo>
                <a:lnTo>
                  <a:pt x="4252" y="1037"/>
                </a:lnTo>
                <a:lnTo>
                  <a:pt x="4212" y="1047"/>
                </a:lnTo>
                <a:lnTo>
                  <a:pt x="4210" y="1047"/>
                </a:lnTo>
                <a:lnTo>
                  <a:pt x="4171" y="1057"/>
                </a:lnTo>
                <a:lnTo>
                  <a:pt x="4171" y="1057"/>
                </a:lnTo>
                <a:lnTo>
                  <a:pt x="4177" y="1057"/>
                </a:lnTo>
                <a:lnTo>
                  <a:pt x="4173" y="1058"/>
                </a:lnTo>
                <a:lnTo>
                  <a:pt x="4163" y="1059"/>
                </a:lnTo>
                <a:lnTo>
                  <a:pt x="4163" y="1059"/>
                </a:lnTo>
                <a:lnTo>
                  <a:pt x="4194" y="1054"/>
                </a:lnTo>
                <a:lnTo>
                  <a:pt x="4224" y="1045"/>
                </a:lnTo>
                <a:lnTo>
                  <a:pt x="4256" y="1037"/>
                </a:lnTo>
                <a:lnTo>
                  <a:pt x="4286" y="1030"/>
                </a:lnTo>
                <a:lnTo>
                  <a:pt x="4286" y="1030"/>
                </a:lnTo>
                <a:lnTo>
                  <a:pt x="4281" y="1031"/>
                </a:lnTo>
                <a:lnTo>
                  <a:pt x="4283" y="1031"/>
                </a:lnTo>
                <a:lnTo>
                  <a:pt x="4283" y="1033"/>
                </a:lnTo>
                <a:lnTo>
                  <a:pt x="4279" y="1034"/>
                </a:lnTo>
                <a:lnTo>
                  <a:pt x="4279" y="1034"/>
                </a:lnTo>
                <a:lnTo>
                  <a:pt x="4266" y="1037"/>
                </a:lnTo>
                <a:lnTo>
                  <a:pt x="4266" y="1037"/>
                </a:lnTo>
                <a:lnTo>
                  <a:pt x="4255" y="1040"/>
                </a:lnTo>
                <a:lnTo>
                  <a:pt x="4265" y="1038"/>
                </a:lnTo>
                <a:lnTo>
                  <a:pt x="4265" y="1038"/>
                </a:lnTo>
                <a:lnTo>
                  <a:pt x="4258" y="1041"/>
                </a:lnTo>
                <a:lnTo>
                  <a:pt x="4241" y="1045"/>
                </a:lnTo>
                <a:lnTo>
                  <a:pt x="4195" y="1057"/>
                </a:lnTo>
                <a:lnTo>
                  <a:pt x="4195" y="1057"/>
                </a:lnTo>
                <a:lnTo>
                  <a:pt x="4189" y="1058"/>
                </a:lnTo>
                <a:lnTo>
                  <a:pt x="4199" y="1054"/>
                </a:lnTo>
                <a:lnTo>
                  <a:pt x="4230" y="1047"/>
                </a:lnTo>
                <a:lnTo>
                  <a:pt x="4230" y="1047"/>
                </a:lnTo>
                <a:lnTo>
                  <a:pt x="4214" y="1051"/>
                </a:lnTo>
                <a:lnTo>
                  <a:pt x="4195" y="1055"/>
                </a:lnTo>
                <a:lnTo>
                  <a:pt x="4198" y="1052"/>
                </a:lnTo>
                <a:lnTo>
                  <a:pt x="4198" y="1052"/>
                </a:lnTo>
                <a:lnTo>
                  <a:pt x="4177" y="1058"/>
                </a:lnTo>
                <a:lnTo>
                  <a:pt x="4180" y="1058"/>
                </a:lnTo>
                <a:lnTo>
                  <a:pt x="4181" y="1059"/>
                </a:lnTo>
                <a:lnTo>
                  <a:pt x="4180" y="1059"/>
                </a:lnTo>
                <a:lnTo>
                  <a:pt x="4180" y="1059"/>
                </a:lnTo>
                <a:lnTo>
                  <a:pt x="4168" y="1062"/>
                </a:lnTo>
                <a:lnTo>
                  <a:pt x="4156" y="1065"/>
                </a:lnTo>
                <a:lnTo>
                  <a:pt x="4132" y="1069"/>
                </a:lnTo>
                <a:lnTo>
                  <a:pt x="4145" y="1066"/>
                </a:lnTo>
                <a:lnTo>
                  <a:pt x="4145" y="1066"/>
                </a:lnTo>
                <a:lnTo>
                  <a:pt x="4111" y="1075"/>
                </a:lnTo>
                <a:lnTo>
                  <a:pt x="4079" y="1080"/>
                </a:lnTo>
                <a:lnTo>
                  <a:pt x="4067" y="1083"/>
                </a:lnTo>
                <a:lnTo>
                  <a:pt x="4067" y="1083"/>
                </a:lnTo>
                <a:lnTo>
                  <a:pt x="4088" y="1079"/>
                </a:lnTo>
                <a:lnTo>
                  <a:pt x="4103" y="1075"/>
                </a:lnTo>
                <a:lnTo>
                  <a:pt x="4115" y="1072"/>
                </a:lnTo>
                <a:lnTo>
                  <a:pt x="4128" y="1069"/>
                </a:lnTo>
                <a:lnTo>
                  <a:pt x="4128" y="1069"/>
                </a:lnTo>
                <a:lnTo>
                  <a:pt x="4109" y="1072"/>
                </a:lnTo>
                <a:lnTo>
                  <a:pt x="4117" y="1069"/>
                </a:lnTo>
                <a:lnTo>
                  <a:pt x="4155" y="1059"/>
                </a:lnTo>
                <a:lnTo>
                  <a:pt x="4155" y="1059"/>
                </a:lnTo>
                <a:lnTo>
                  <a:pt x="4124" y="1066"/>
                </a:lnTo>
                <a:lnTo>
                  <a:pt x="4100" y="1070"/>
                </a:lnTo>
                <a:lnTo>
                  <a:pt x="4100" y="1070"/>
                </a:lnTo>
                <a:lnTo>
                  <a:pt x="4076" y="1076"/>
                </a:lnTo>
                <a:lnTo>
                  <a:pt x="4053" y="1080"/>
                </a:lnTo>
                <a:lnTo>
                  <a:pt x="4028" y="1084"/>
                </a:lnTo>
                <a:lnTo>
                  <a:pt x="4004" y="1090"/>
                </a:lnTo>
                <a:lnTo>
                  <a:pt x="4004" y="1090"/>
                </a:lnTo>
                <a:lnTo>
                  <a:pt x="3998" y="1090"/>
                </a:lnTo>
                <a:lnTo>
                  <a:pt x="4003" y="1090"/>
                </a:lnTo>
                <a:lnTo>
                  <a:pt x="4007" y="1089"/>
                </a:lnTo>
                <a:lnTo>
                  <a:pt x="4001" y="1090"/>
                </a:lnTo>
                <a:lnTo>
                  <a:pt x="3898" y="1107"/>
                </a:lnTo>
                <a:lnTo>
                  <a:pt x="3898" y="1107"/>
                </a:lnTo>
                <a:lnTo>
                  <a:pt x="3884" y="1108"/>
                </a:lnTo>
                <a:lnTo>
                  <a:pt x="3879" y="1108"/>
                </a:lnTo>
                <a:lnTo>
                  <a:pt x="3774" y="1123"/>
                </a:lnTo>
                <a:lnTo>
                  <a:pt x="3774" y="1123"/>
                </a:lnTo>
                <a:lnTo>
                  <a:pt x="3724" y="1130"/>
                </a:lnTo>
                <a:lnTo>
                  <a:pt x="3663" y="1137"/>
                </a:lnTo>
                <a:lnTo>
                  <a:pt x="3676" y="1135"/>
                </a:lnTo>
                <a:lnTo>
                  <a:pt x="3676" y="1135"/>
                </a:lnTo>
                <a:lnTo>
                  <a:pt x="3649" y="1137"/>
                </a:lnTo>
                <a:lnTo>
                  <a:pt x="3629" y="1140"/>
                </a:lnTo>
                <a:lnTo>
                  <a:pt x="3629" y="1140"/>
                </a:lnTo>
                <a:lnTo>
                  <a:pt x="3605" y="1142"/>
                </a:lnTo>
                <a:lnTo>
                  <a:pt x="3573" y="1146"/>
                </a:lnTo>
                <a:lnTo>
                  <a:pt x="3540" y="1149"/>
                </a:lnTo>
                <a:lnTo>
                  <a:pt x="3512" y="1151"/>
                </a:lnTo>
                <a:lnTo>
                  <a:pt x="3512" y="1151"/>
                </a:lnTo>
                <a:lnTo>
                  <a:pt x="3470" y="1155"/>
                </a:lnTo>
                <a:lnTo>
                  <a:pt x="3435" y="1161"/>
                </a:lnTo>
                <a:lnTo>
                  <a:pt x="3435" y="1161"/>
                </a:lnTo>
                <a:lnTo>
                  <a:pt x="3438" y="1160"/>
                </a:lnTo>
                <a:lnTo>
                  <a:pt x="3427" y="1160"/>
                </a:lnTo>
                <a:lnTo>
                  <a:pt x="3427" y="1160"/>
                </a:lnTo>
                <a:lnTo>
                  <a:pt x="3102" y="1194"/>
                </a:lnTo>
                <a:lnTo>
                  <a:pt x="3102" y="1194"/>
                </a:lnTo>
                <a:lnTo>
                  <a:pt x="3112" y="1193"/>
                </a:lnTo>
                <a:lnTo>
                  <a:pt x="3112" y="1193"/>
                </a:lnTo>
                <a:lnTo>
                  <a:pt x="2998" y="1206"/>
                </a:lnTo>
                <a:lnTo>
                  <a:pt x="2895" y="1215"/>
                </a:lnTo>
                <a:lnTo>
                  <a:pt x="2895" y="1215"/>
                </a:lnTo>
                <a:lnTo>
                  <a:pt x="2867" y="1220"/>
                </a:lnTo>
                <a:lnTo>
                  <a:pt x="2857" y="1221"/>
                </a:lnTo>
                <a:lnTo>
                  <a:pt x="2856" y="1221"/>
                </a:lnTo>
                <a:lnTo>
                  <a:pt x="2857" y="1221"/>
                </a:lnTo>
                <a:lnTo>
                  <a:pt x="2857" y="1221"/>
                </a:lnTo>
                <a:lnTo>
                  <a:pt x="2871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44" y="1224"/>
                </a:lnTo>
                <a:lnTo>
                  <a:pt x="2833" y="1225"/>
                </a:lnTo>
                <a:lnTo>
                  <a:pt x="2826" y="1225"/>
                </a:lnTo>
                <a:lnTo>
                  <a:pt x="2807" y="1227"/>
                </a:lnTo>
                <a:lnTo>
                  <a:pt x="2807" y="1227"/>
                </a:lnTo>
                <a:lnTo>
                  <a:pt x="2804" y="1227"/>
                </a:lnTo>
                <a:lnTo>
                  <a:pt x="2805" y="1227"/>
                </a:lnTo>
                <a:lnTo>
                  <a:pt x="2815" y="1225"/>
                </a:lnTo>
                <a:lnTo>
                  <a:pt x="2826" y="1224"/>
                </a:lnTo>
                <a:lnTo>
                  <a:pt x="2831" y="1222"/>
                </a:lnTo>
                <a:lnTo>
                  <a:pt x="2776" y="1228"/>
                </a:lnTo>
                <a:lnTo>
                  <a:pt x="2776" y="1228"/>
                </a:lnTo>
                <a:lnTo>
                  <a:pt x="2730" y="1234"/>
                </a:lnTo>
                <a:lnTo>
                  <a:pt x="2687" y="1236"/>
                </a:lnTo>
                <a:lnTo>
                  <a:pt x="2687" y="1236"/>
                </a:lnTo>
                <a:lnTo>
                  <a:pt x="2695" y="1235"/>
                </a:lnTo>
                <a:lnTo>
                  <a:pt x="2711" y="1234"/>
                </a:lnTo>
                <a:lnTo>
                  <a:pt x="2711" y="1234"/>
                </a:lnTo>
                <a:lnTo>
                  <a:pt x="2706" y="1235"/>
                </a:lnTo>
                <a:lnTo>
                  <a:pt x="2706" y="1235"/>
                </a:lnTo>
                <a:lnTo>
                  <a:pt x="2741" y="1231"/>
                </a:lnTo>
                <a:lnTo>
                  <a:pt x="2772" y="1227"/>
                </a:lnTo>
                <a:lnTo>
                  <a:pt x="2772" y="1227"/>
                </a:lnTo>
                <a:lnTo>
                  <a:pt x="2655" y="1239"/>
                </a:lnTo>
                <a:lnTo>
                  <a:pt x="2655" y="1239"/>
                </a:lnTo>
                <a:lnTo>
                  <a:pt x="2656" y="1239"/>
                </a:lnTo>
                <a:lnTo>
                  <a:pt x="2654" y="1239"/>
                </a:lnTo>
                <a:lnTo>
                  <a:pt x="2644" y="1240"/>
                </a:lnTo>
                <a:lnTo>
                  <a:pt x="2620" y="1243"/>
                </a:lnTo>
                <a:lnTo>
                  <a:pt x="2619" y="1243"/>
                </a:lnTo>
                <a:lnTo>
                  <a:pt x="2619" y="1243"/>
                </a:lnTo>
                <a:lnTo>
                  <a:pt x="2592" y="1247"/>
                </a:lnTo>
                <a:lnTo>
                  <a:pt x="2584" y="1246"/>
                </a:lnTo>
                <a:lnTo>
                  <a:pt x="2584" y="1246"/>
                </a:lnTo>
                <a:lnTo>
                  <a:pt x="2578" y="1247"/>
                </a:lnTo>
                <a:lnTo>
                  <a:pt x="2574" y="1249"/>
                </a:lnTo>
                <a:lnTo>
                  <a:pt x="2574" y="1249"/>
                </a:lnTo>
                <a:lnTo>
                  <a:pt x="2520" y="1254"/>
                </a:lnTo>
                <a:lnTo>
                  <a:pt x="2492" y="1256"/>
                </a:lnTo>
                <a:lnTo>
                  <a:pt x="2478" y="1257"/>
                </a:lnTo>
                <a:lnTo>
                  <a:pt x="2478" y="1257"/>
                </a:lnTo>
                <a:lnTo>
                  <a:pt x="2421" y="1263"/>
                </a:lnTo>
                <a:lnTo>
                  <a:pt x="2421" y="1263"/>
                </a:lnTo>
                <a:lnTo>
                  <a:pt x="2431" y="1261"/>
                </a:lnTo>
                <a:lnTo>
                  <a:pt x="2431" y="1261"/>
                </a:lnTo>
                <a:lnTo>
                  <a:pt x="2344" y="1270"/>
                </a:lnTo>
                <a:lnTo>
                  <a:pt x="2261" y="1277"/>
                </a:lnTo>
                <a:lnTo>
                  <a:pt x="2261" y="1277"/>
                </a:lnTo>
                <a:lnTo>
                  <a:pt x="2159" y="1288"/>
                </a:lnTo>
                <a:lnTo>
                  <a:pt x="2159" y="1288"/>
                </a:lnTo>
                <a:lnTo>
                  <a:pt x="2182" y="1286"/>
                </a:lnTo>
                <a:lnTo>
                  <a:pt x="2188" y="1286"/>
                </a:lnTo>
                <a:lnTo>
                  <a:pt x="2182" y="1288"/>
                </a:lnTo>
                <a:lnTo>
                  <a:pt x="2182" y="1288"/>
                </a:lnTo>
                <a:lnTo>
                  <a:pt x="2136" y="1292"/>
                </a:lnTo>
                <a:lnTo>
                  <a:pt x="2136" y="1292"/>
                </a:lnTo>
                <a:lnTo>
                  <a:pt x="2121" y="1293"/>
                </a:lnTo>
                <a:lnTo>
                  <a:pt x="2116" y="1293"/>
                </a:lnTo>
                <a:lnTo>
                  <a:pt x="2128" y="1292"/>
                </a:lnTo>
                <a:lnTo>
                  <a:pt x="2128" y="1292"/>
                </a:lnTo>
                <a:lnTo>
                  <a:pt x="2113" y="1292"/>
                </a:lnTo>
                <a:lnTo>
                  <a:pt x="2088" y="1295"/>
                </a:lnTo>
                <a:lnTo>
                  <a:pt x="2064" y="1298"/>
                </a:lnTo>
                <a:lnTo>
                  <a:pt x="2054" y="1298"/>
                </a:lnTo>
                <a:lnTo>
                  <a:pt x="2054" y="1298"/>
                </a:lnTo>
                <a:lnTo>
                  <a:pt x="2021" y="1300"/>
                </a:lnTo>
                <a:lnTo>
                  <a:pt x="1980" y="1306"/>
                </a:lnTo>
                <a:lnTo>
                  <a:pt x="1980" y="1306"/>
                </a:lnTo>
                <a:lnTo>
                  <a:pt x="1992" y="1305"/>
                </a:lnTo>
                <a:lnTo>
                  <a:pt x="2005" y="1302"/>
                </a:lnTo>
                <a:lnTo>
                  <a:pt x="1983" y="1305"/>
                </a:lnTo>
                <a:lnTo>
                  <a:pt x="1983" y="1305"/>
                </a:lnTo>
                <a:lnTo>
                  <a:pt x="1983" y="1305"/>
                </a:lnTo>
                <a:lnTo>
                  <a:pt x="1940" y="1309"/>
                </a:lnTo>
                <a:lnTo>
                  <a:pt x="1909" y="1313"/>
                </a:lnTo>
                <a:lnTo>
                  <a:pt x="1909" y="1313"/>
                </a:lnTo>
                <a:lnTo>
                  <a:pt x="1893" y="1314"/>
                </a:lnTo>
                <a:lnTo>
                  <a:pt x="1912" y="1312"/>
                </a:lnTo>
                <a:lnTo>
                  <a:pt x="1912" y="1312"/>
                </a:lnTo>
                <a:lnTo>
                  <a:pt x="1841" y="1320"/>
                </a:lnTo>
                <a:lnTo>
                  <a:pt x="1838" y="1320"/>
                </a:lnTo>
                <a:lnTo>
                  <a:pt x="1820" y="1321"/>
                </a:lnTo>
                <a:lnTo>
                  <a:pt x="1820" y="1321"/>
                </a:lnTo>
                <a:lnTo>
                  <a:pt x="1823" y="1321"/>
                </a:lnTo>
                <a:lnTo>
                  <a:pt x="1823" y="1321"/>
                </a:lnTo>
                <a:lnTo>
                  <a:pt x="1785" y="1325"/>
                </a:lnTo>
                <a:lnTo>
                  <a:pt x="1750" y="1330"/>
                </a:lnTo>
                <a:lnTo>
                  <a:pt x="1750" y="1330"/>
                </a:lnTo>
                <a:lnTo>
                  <a:pt x="1732" y="1330"/>
                </a:lnTo>
                <a:lnTo>
                  <a:pt x="1711" y="1332"/>
                </a:lnTo>
                <a:lnTo>
                  <a:pt x="1714" y="1330"/>
                </a:lnTo>
                <a:lnTo>
                  <a:pt x="1714" y="1330"/>
                </a:lnTo>
                <a:lnTo>
                  <a:pt x="1742" y="1328"/>
                </a:lnTo>
                <a:lnTo>
                  <a:pt x="1771" y="1325"/>
                </a:lnTo>
                <a:lnTo>
                  <a:pt x="1771" y="1325"/>
                </a:lnTo>
                <a:lnTo>
                  <a:pt x="1739" y="1327"/>
                </a:lnTo>
                <a:lnTo>
                  <a:pt x="1693" y="1331"/>
                </a:lnTo>
                <a:lnTo>
                  <a:pt x="1594" y="1341"/>
                </a:lnTo>
                <a:lnTo>
                  <a:pt x="1594" y="1341"/>
                </a:lnTo>
                <a:lnTo>
                  <a:pt x="1512" y="1348"/>
                </a:lnTo>
                <a:lnTo>
                  <a:pt x="1474" y="1352"/>
                </a:lnTo>
                <a:lnTo>
                  <a:pt x="1451" y="1355"/>
                </a:lnTo>
                <a:lnTo>
                  <a:pt x="1455" y="1353"/>
                </a:lnTo>
                <a:lnTo>
                  <a:pt x="1376" y="1359"/>
                </a:lnTo>
                <a:lnTo>
                  <a:pt x="1376" y="1359"/>
                </a:lnTo>
                <a:lnTo>
                  <a:pt x="1275" y="1369"/>
                </a:lnTo>
                <a:lnTo>
                  <a:pt x="1187" y="1377"/>
                </a:lnTo>
                <a:lnTo>
                  <a:pt x="1173" y="1377"/>
                </a:lnTo>
                <a:lnTo>
                  <a:pt x="1173" y="1377"/>
                </a:lnTo>
                <a:lnTo>
                  <a:pt x="1122" y="1383"/>
                </a:lnTo>
                <a:lnTo>
                  <a:pt x="1059" y="1388"/>
                </a:lnTo>
                <a:lnTo>
                  <a:pt x="998" y="1394"/>
                </a:lnTo>
                <a:lnTo>
                  <a:pt x="957" y="1399"/>
                </a:lnTo>
                <a:lnTo>
                  <a:pt x="957" y="1399"/>
                </a:lnTo>
                <a:lnTo>
                  <a:pt x="946" y="1399"/>
                </a:lnTo>
                <a:lnTo>
                  <a:pt x="950" y="1399"/>
                </a:lnTo>
                <a:lnTo>
                  <a:pt x="970" y="1397"/>
                </a:lnTo>
                <a:lnTo>
                  <a:pt x="970" y="1397"/>
                </a:lnTo>
                <a:lnTo>
                  <a:pt x="928" y="1401"/>
                </a:lnTo>
                <a:lnTo>
                  <a:pt x="907" y="1402"/>
                </a:lnTo>
                <a:lnTo>
                  <a:pt x="889" y="1403"/>
                </a:lnTo>
                <a:lnTo>
                  <a:pt x="889" y="1403"/>
                </a:lnTo>
                <a:lnTo>
                  <a:pt x="903" y="1402"/>
                </a:lnTo>
                <a:lnTo>
                  <a:pt x="909" y="1401"/>
                </a:lnTo>
                <a:lnTo>
                  <a:pt x="906" y="1401"/>
                </a:lnTo>
                <a:lnTo>
                  <a:pt x="906" y="1401"/>
                </a:lnTo>
                <a:lnTo>
                  <a:pt x="886" y="1403"/>
                </a:lnTo>
                <a:lnTo>
                  <a:pt x="864" y="1405"/>
                </a:lnTo>
                <a:lnTo>
                  <a:pt x="864" y="1405"/>
                </a:lnTo>
                <a:lnTo>
                  <a:pt x="865" y="1405"/>
                </a:lnTo>
                <a:lnTo>
                  <a:pt x="863" y="1405"/>
                </a:lnTo>
                <a:lnTo>
                  <a:pt x="850" y="1408"/>
                </a:lnTo>
                <a:lnTo>
                  <a:pt x="808" y="1410"/>
                </a:lnTo>
                <a:lnTo>
                  <a:pt x="808" y="1410"/>
                </a:lnTo>
                <a:lnTo>
                  <a:pt x="815" y="1410"/>
                </a:lnTo>
                <a:lnTo>
                  <a:pt x="815" y="1410"/>
                </a:lnTo>
                <a:lnTo>
                  <a:pt x="808" y="1412"/>
                </a:lnTo>
                <a:lnTo>
                  <a:pt x="789" y="1413"/>
                </a:lnTo>
                <a:lnTo>
                  <a:pt x="789" y="1413"/>
                </a:lnTo>
                <a:lnTo>
                  <a:pt x="793" y="1413"/>
                </a:lnTo>
                <a:lnTo>
                  <a:pt x="793" y="1413"/>
                </a:lnTo>
                <a:lnTo>
                  <a:pt x="571" y="1430"/>
                </a:lnTo>
                <a:lnTo>
                  <a:pt x="457" y="1438"/>
                </a:lnTo>
                <a:lnTo>
                  <a:pt x="346" y="1445"/>
                </a:lnTo>
                <a:lnTo>
                  <a:pt x="372" y="1442"/>
                </a:lnTo>
                <a:lnTo>
                  <a:pt x="372" y="1442"/>
                </a:lnTo>
                <a:lnTo>
                  <a:pt x="334" y="1445"/>
                </a:lnTo>
                <a:lnTo>
                  <a:pt x="302" y="1447"/>
                </a:lnTo>
                <a:lnTo>
                  <a:pt x="305" y="1447"/>
                </a:lnTo>
                <a:lnTo>
                  <a:pt x="305" y="1447"/>
                </a:lnTo>
                <a:lnTo>
                  <a:pt x="282" y="1448"/>
                </a:lnTo>
                <a:lnTo>
                  <a:pt x="265" y="1449"/>
                </a:lnTo>
                <a:lnTo>
                  <a:pt x="249" y="1451"/>
                </a:lnTo>
                <a:lnTo>
                  <a:pt x="230" y="1451"/>
                </a:lnTo>
                <a:lnTo>
                  <a:pt x="237" y="1451"/>
                </a:lnTo>
                <a:lnTo>
                  <a:pt x="237" y="1451"/>
                </a:lnTo>
                <a:lnTo>
                  <a:pt x="176" y="1452"/>
                </a:lnTo>
                <a:lnTo>
                  <a:pt x="114" y="1455"/>
                </a:lnTo>
                <a:lnTo>
                  <a:pt x="114" y="1455"/>
                </a:lnTo>
                <a:lnTo>
                  <a:pt x="82" y="1455"/>
                </a:lnTo>
                <a:lnTo>
                  <a:pt x="57" y="1454"/>
                </a:lnTo>
                <a:lnTo>
                  <a:pt x="57" y="1454"/>
                </a:lnTo>
                <a:lnTo>
                  <a:pt x="25" y="1455"/>
                </a:lnTo>
                <a:lnTo>
                  <a:pt x="35" y="1455"/>
                </a:lnTo>
                <a:lnTo>
                  <a:pt x="35" y="1455"/>
                </a:lnTo>
                <a:lnTo>
                  <a:pt x="38" y="1455"/>
                </a:lnTo>
                <a:lnTo>
                  <a:pt x="36" y="1456"/>
                </a:lnTo>
                <a:lnTo>
                  <a:pt x="26" y="1456"/>
                </a:lnTo>
                <a:lnTo>
                  <a:pt x="26" y="1456"/>
                </a:lnTo>
                <a:lnTo>
                  <a:pt x="11" y="1455"/>
                </a:lnTo>
                <a:lnTo>
                  <a:pt x="11" y="1455"/>
                </a:lnTo>
                <a:lnTo>
                  <a:pt x="4" y="1455"/>
                </a:lnTo>
                <a:lnTo>
                  <a:pt x="4" y="1455"/>
                </a:lnTo>
                <a:lnTo>
                  <a:pt x="3" y="1454"/>
                </a:lnTo>
                <a:lnTo>
                  <a:pt x="0" y="1452"/>
                </a:lnTo>
                <a:lnTo>
                  <a:pt x="0" y="1452"/>
                </a:lnTo>
                <a:lnTo>
                  <a:pt x="1" y="1454"/>
                </a:lnTo>
                <a:lnTo>
                  <a:pt x="3" y="1455"/>
                </a:lnTo>
                <a:lnTo>
                  <a:pt x="3" y="1455"/>
                </a:lnTo>
                <a:lnTo>
                  <a:pt x="4" y="1455"/>
                </a:lnTo>
                <a:lnTo>
                  <a:pt x="4" y="1455"/>
                </a:lnTo>
                <a:lnTo>
                  <a:pt x="10" y="1458"/>
                </a:lnTo>
                <a:lnTo>
                  <a:pt x="10" y="1458"/>
                </a:lnTo>
                <a:lnTo>
                  <a:pt x="21" y="1459"/>
                </a:lnTo>
                <a:lnTo>
                  <a:pt x="45" y="1461"/>
                </a:lnTo>
                <a:lnTo>
                  <a:pt x="45" y="1461"/>
                </a:lnTo>
                <a:lnTo>
                  <a:pt x="64" y="1461"/>
                </a:lnTo>
                <a:lnTo>
                  <a:pt x="77" y="1462"/>
                </a:lnTo>
                <a:lnTo>
                  <a:pt x="91" y="1462"/>
                </a:lnTo>
                <a:lnTo>
                  <a:pt x="111" y="1462"/>
                </a:lnTo>
                <a:lnTo>
                  <a:pt x="111" y="1462"/>
                </a:lnTo>
                <a:lnTo>
                  <a:pt x="128" y="1461"/>
                </a:lnTo>
                <a:lnTo>
                  <a:pt x="148" y="1461"/>
                </a:lnTo>
                <a:lnTo>
                  <a:pt x="170" y="1461"/>
                </a:lnTo>
                <a:lnTo>
                  <a:pt x="194" y="1458"/>
                </a:lnTo>
                <a:lnTo>
                  <a:pt x="194" y="1458"/>
                </a:lnTo>
                <a:lnTo>
                  <a:pt x="191" y="1459"/>
                </a:lnTo>
                <a:lnTo>
                  <a:pt x="192" y="1459"/>
                </a:lnTo>
                <a:lnTo>
                  <a:pt x="203" y="1459"/>
                </a:lnTo>
                <a:lnTo>
                  <a:pt x="212" y="1459"/>
                </a:lnTo>
                <a:lnTo>
                  <a:pt x="203" y="1459"/>
                </a:lnTo>
                <a:lnTo>
                  <a:pt x="203" y="1459"/>
                </a:lnTo>
                <a:lnTo>
                  <a:pt x="247" y="1458"/>
                </a:lnTo>
                <a:lnTo>
                  <a:pt x="298" y="1455"/>
                </a:lnTo>
                <a:lnTo>
                  <a:pt x="298" y="1455"/>
                </a:lnTo>
                <a:lnTo>
                  <a:pt x="288" y="1456"/>
                </a:lnTo>
                <a:lnTo>
                  <a:pt x="288" y="1456"/>
                </a:lnTo>
                <a:lnTo>
                  <a:pt x="318" y="1455"/>
                </a:lnTo>
                <a:lnTo>
                  <a:pt x="339" y="1454"/>
                </a:lnTo>
                <a:lnTo>
                  <a:pt x="339" y="1452"/>
                </a:lnTo>
                <a:lnTo>
                  <a:pt x="339" y="1452"/>
                </a:lnTo>
                <a:lnTo>
                  <a:pt x="361" y="1452"/>
                </a:lnTo>
                <a:lnTo>
                  <a:pt x="361" y="1452"/>
                </a:lnTo>
                <a:lnTo>
                  <a:pt x="347" y="1452"/>
                </a:lnTo>
                <a:lnTo>
                  <a:pt x="344" y="1452"/>
                </a:lnTo>
                <a:lnTo>
                  <a:pt x="346" y="1451"/>
                </a:lnTo>
                <a:lnTo>
                  <a:pt x="346" y="1451"/>
                </a:lnTo>
                <a:lnTo>
                  <a:pt x="382" y="1448"/>
                </a:lnTo>
                <a:lnTo>
                  <a:pt x="382" y="1448"/>
                </a:lnTo>
                <a:lnTo>
                  <a:pt x="367" y="1451"/>
                </a:lnTo>
                <a:lnTo>
                  <a:pt x="367" y="1451"/>
                </a:lnTo>
                <a:lnTo>
                  <a:pt x="397" y="1449"/>
                </a:lnTo>
                <a:lnTo>
                  <a:pt x="397" y="1449"/>
                </a:lnTo>
                <a:lnTo>
                  <a:pt x="365" y="1452"/>
                </a:lnTo>
                <a:lnTo>
                  <a:pt x="365" y="1452"/>
                </a:lnTo>
                <a:lnTo>
                  <a:pt x="382" y="1452"/>
                </a:lnTo>
                <a:lnTo>
                  <a:pt x="380" y="1452"/>
                </a:lnTo>
                <a:lnTo>
                  <a:pt x="386" y="1452"/>
                </a:lnTo>
                <a:lnTo>
                  <a:pt x="386" y="1452"/>
                </a:lnTo>
                <a:lnTo>
                  <a:pt x="385" y="1452"/>
                </a:lnTo>
                <a:lnTo>
                  <a:pt x="386" y="1452"/>
                </a:lnTo>
                <a:lnTo>
                  <a:pt x="389" y="1451"/>
                </a:lnTo>
                <a:lnTo>
                  <a:pt x="403" y="1451"/>
                </a:lnTo>
                <a:lnTo>
                  <a:pt x="438" y="1448"/>
                </a:lnTo>
                <a:lnTo>
                  <a:pt x="438" y="1448"/>
                </a:lnTo>
                <a:lnTo>
                  <a:pt x="431" y="1449"/>
                </a:lnTo>
                <a:lnTo>
                  <a:pt x="419" y="1449"/>
                </a:lnTo>
                <a:lnTo>
                  <a:pt x="419" y="1449"/>
                </a:lnTo>
                <a:lnTo>
                  <a:pt x="445" y="1449"/>
                </a:lnTo>
                <a:lnTo>
                  <a:pt x="468" y="1447"/>
                </a:lnTo>
                <a:lnTo>
                  <a:pt x="525" y="1442"/>
                </a:lnTo>
                <a:lnTo>
                  <a:pt x="525" y="1442"/>
                </a:lnTo>
                <a:lnTo>
                  <a:pt x="516" y="1444"/>
                </a:lnTo>
                <a:lnTo>
                  <a:pt x="516" y="1444"/>
                </a:lnTo>
                <a:lnTo>
                  <a:pt x="546" y="1442"/>
                </a:lnTo>
                <a:lnTo>
                  <a:pt x="570" y="1440"/>
                </a:lnTo>
                <a:lnTo>
                  <a:pt x="570" y="1440"/>
                </a:lnTo>
                <a:lnTo>
                  <a:pt x="581" y="1440"/>
                </a:lnTo>
                <a:lnTo>
                  <a:pt x="585" y="1440"/>
                </a:lnTo>
                <a:lnTo>
                  <a:pt x="609" y="1438"/>
                </a:lnTo>
                <a:lnTo>
                  <a:pt x="609" y="1438"/>
                </a:lnTo>
                <a:lnTo>
                  <a:pt x="608" y="1438"/>
                </a:lnTo>
                <a:lnTo>
                  <a:pt x="610" y="1438"/>
                </a:lnTo>
                <a:lnTo>
                  <a:pt x="624" y="1437"/>
                </a:lnTo>
                <a:lnTo>
                  <a:pt x="641" y="1436"/>
                </a:lnTo>
                <a:lnTo>
                  <a:pt x="649" y="1434"/>
                </a:lnTo>
                <a:lnTo>
                  <a:pt x="676" y="1434"/>
                </a:lnTo>
                <a:lnTo>
                  <a:pt x="676" y="1434"/>
                </a:lnTo>
                <a:lnTo>
                  <a:pt x="686" y="1433"/>
                </a:lnTo>
                <a:lnTo>
                  <a:pt x="687" y="1431"/>
                </a:lnTo>
                <a:lnTo>
                  <a:pt x="693" y="1430"/>
                </a:lnTo>
                <a:lnTo>
                  <a:pt x="715" y="1427"/>
                </a:lnTo>
                <a:lnTo>
                  <a:pt x="715" y="1427"/>
                </a:lnTo>
                <a:lnTo>
                  <a:pt x="732" y="1427"/>
                </a:lnTo>
                <a:lnTo>
                  <a:pt x="733" y="1427"/>
                </a:lnTo>
                <a:lnTo>
                  <a:pt x="732" y="1429"/>
                </a:lnTo>
                <a:lnTo>
                  <a:pt x="727" y="1430"/>
                </a:lnTo>
                <a:lnTo>
                  <a:pt x="736" y="1430"/>
                </a:lnTo>
                <a:lnTo>
                  <a:pt x="746" y="1429"/>
                </a:lnTo>
                <a:lnTo>
                  <a:pt x="765" y="1427"/>
                </a:lnTo>
                <a:lnTo>
                  <a:pt x="762" y="1427"/>
                </a:lnTo>
                <a:lnTo>
                  <a:pt x="762" y="1427"/>
                </a:lnTo>
                <a:lnTo>
                  <a:pt x="797" y="1426"/>
                </a:lnTo>
                <a:lnTo>
                  <a:pt x="797" y="1426"/>
                </a:lnTo>
                <a:lnTo>
                  <a:pt x="780" y="1427"/>
                </a:lnTo>
                <a:lnTo>
                  <a:pt x="780" y="1427"/>
                </a:lnTo>
                <a:lnTo>
                  <a:pt x="831" y="1424"/>
                </a:lnTo>
                <a:lnTo>
                  <a:pt x="858" y="1422"/>
                </a:lnTo>
                <a:lnTo>
                  <a:pt x="881" y="1419"/>
                </a:lnTo>
                <a:lnTo>
                  <a:pt x="881" y="1419"/>
                </a:lnTo>
                <a:lnTo>
                  <a:pt x="903" y="1417"/>
                </a:lnTo>
                <a:lnTo>
                  <a:pt x="914" y="1417"/>
                </a:lnTo>
                <a:lnTo>
                  <a:pt x="914" y="1417"/>
                </a:lnTo>
                <a:lnTo>
                  <a:pt x="946" y="1415"/>
                </a:lnTo>
                <a:lnTo>
                  <a:pt x="984" y="1412"/>
                </a:lnTo>
                <a:lnTo>
                  <a:pt x="984" y="1412"/>
                </a:lnTo>
                <a:lnTo>
                  <a:pt x="991" y="1412"/>
                </a:lnTo>
                <a:lnTo>
                  <a:pt x="1009" y="1410"/>
                </a:lnTo>
                <a:lnTo>
                  <a:pt x="1009" y="1410"/>
                </a:lnTo>
                <a:lnTo>
                  <a:pt x="1001" y="1410"/>
                </a:lnTo>
                <a:lnTo>
                  <a:pt x="1013" y="1409"/>
                </a:lnTo>
                <a:lnTo>
                  <a:pt x="1013" y="1409"/>
                </a:lnTo>
                <a:lnTo>
                  <a:pt x="1047" y="1406"/>
                </a:lnTo>
                <a:lnTo>
                  <a:pt x="1075" y="1405"/>
                </a:lnTo>
                <a:lnTo>
                  <a:pt x="1075" y="1405"/>
                </a:lnTo>
                <a:lnTo>
                  <a:pt x="1090" y="1402"/>
                </a:lnTo>
                <a:lnTo>
                  <a:pt x="1091" y="1402"/>
                </a:lnTo>
                <a:lnTo>
                  <a:pt x="1093" y="1401"/>
                </a:lnTo>
                <a:lnTo>
                  <a:pt x="1093" y="1401"/>
                </a:lnTo>
                <a:lnTo>
                  <a:pt x="1127" y="1399"/>
                </a:lnTo>
                <a:lnTo>
                  <a:pt x="1141" y="1398"/>
                </a:lnTo>
                <a:lnTo>
                  <a:pt x="1146" y="1398"/>
                </a:lnTo>
                <a:lnTo>
                  <a:pt x="1144" y="1398"/>
                </a:lnTo>
                <a:lnTo>
                  <a:pt x="1144" y="1398"/>
                </a:lnTo>
                <a:lnTo>
                  <a:pt x="1121" y="1401"/>
                </a:lnTo>
                <a:lnTo>
                  <a:pt x="1112" y="1401"/>
                </a:lnTo>
                <a:lnTo>
                  <a:pt x="1109" y="1402"/>
                </a:lnTo>
                <a:lnTo>
                  <a:pt x="1111" y="1402"/>
                </a:lnTo>
                <a:lnTo>
                  <a:pt x="1111" y="1402"/>
                </a:lnTo>
                <a:lnTo>
                  <a:pt x="1126" y="1401"/>
                </a:lnTo>
                <a:lnTo>
                  <a:pt x="1140" y="1399"/>
                </a:lnTo>
                <a:lnTo>
                  <a:pt x="1140" y="1399"/>
                </a:lnTo>
                <a:lnTo>
                  <a:pt x="1146" y="1399"/>
                </a:lnTo>
                <a:lnTo>
                  <a:pt x="1148" y="1399"/>
                </a:lnTo>
                <a:lnTo>
                  <a:pt x="1148" y="1399"/>
                </a:lnTo>
                <a:lnTo>
                  <a:pt x="1192" y="1397"/>
                </a:lnTo>
                <a:lnTo>
                  <a:pt x="1192" y="1397"/>
                </a:lnTo>
                <a:lnTo>
                  <a:pt x="1183" y="1397"/>
                </a:lnTo>
                <a:lnTo>
                  <a:pt x="1189" y="1395"/>
                </a:lnTo>
                <a:lnTo>
                  <a:pt x="1196" y="1394"/>
                </a:lnTo>
                <a:lnTo>
                  <a:pt x="1193" y="1394"/>
                </a:lnTo>
                <a:lnTo>
                  <a:pt x="1169" y="1398"/>
                </a:lnTo>
                <a:lnTo>
                  <a:pt x="1169" y="1398"/>
                </a:lnTo>
                <a:lnTo>
                  <a:pt x="1154" y="1398"/>
                </a:lnTo>
                <a:lnTo>
                  <a:pt x="1155" y="1398"/>
                </a:lnTo>
                <a:lnTo>
                  <a:pt x="1151" y="1398"/>
                </a:lnTo>
                <a:lnTo>
                  <a:pt x="1151" y="1398"/>
                </a:lnTo>
                <a:lnTo>
                  <a:pt x="1197" y="1392"/>
                </a:lnTo>
                <a:lnTo>
                  <a:pt x="1240" y="1388"/>
                </a:lnTo>
                <a:lnTo>
                  <a:pt x="1271" y="1385"/>
                </a:lnTo>
                <a:lnTo>
                  <a:pt x="1271" y="1385"/>
                </a:lnTo>
                <a:lnTo>
                  <a:pt x="1260" y="1387"/>
                </a:lnTo>
                <a:lnTo>
                  <a:pt x="1267" y="1388"/>
                </a:lnTo>
                <a:lnTo>
                  <a:pt x="1267" y="1388"/>
                </a:lnTo>
                <a:lnTo>
                  <a:pt x="1304" y="1384"/>
                </a:lnTo>
                <a:lnTo>
                  <a:pt x="1338" y="1383"/>
                </a:lnTo>
                <a:lnTo>
                  <a:pt x="1338" y="1383"/>
                </a:lnTo>
                <a:lnTo>
                  <a:pt x="1327" y="1383"/>
                </a:lnTo>
                <a:lnTo>
                  <a:pt x="1335" y="1381"/>
                </a:lnTo>
                <a:lnTo>
                  <a:pt x="1335" y="1381"/>
                </a:lnTo>
                <a:lnTo>
                  <a:pt x="1364" y="1378"/>
                </a:lnTo>
                <a:lnTo>
                  <a:pt x="1366" y="1378"/>
                </a:lnTo>
                <a:lnTo>
                  <a:pt x="1374" y="1378"/>
                </a:lnTo>
                <a:lnTo>
                  <a:pt x="1374" y="1378"/>
                </a:lnTo>
                <a:lnTo>
                  <a:pt x="1466" y="1371"/>
                </a:lnTo>
                <a:lnTo>
                  <a:pt x="1548" y="1364"/>
                </a:lnTo>
                <a:lnTo>
                  <a:pt x="1520" y="1366"/>
                </a:lnTo>
                <a:lnTo>
                  <a:pt x="1512" y="1367"/>
                </a:lnTo>
                <a:lnTo>
                  <a:pt x="1512" y="1367"/>
                </a:lnTo>
                <a:lnTo>
                  <a:pt x="1504" y="1367"/>
                </a:lnTo>
                <a:lnTo>
                  <a:pt x="1507" y="1366"/>
                </a:lnTo>
                <a:lnTo>
                  <a:pt x="1527" y="1363"/>
                </a:lnTo>
                <a:lnTo>
                  <a:pt x="1527" y="1363"/>
                </a:lnTo>
                <a:lnTo>
                  <a:pt x="1546" y="1362"/>
                </a:lnTo>
                <a:lnTo>
                  <a:pt x="1554" y="1360"/>
                </a:lnTo>
                <a:lnTo>
                  <a:pt x="1551" y="1362"/>
                </a:lnTo>
                <a:lnTo>
                  <a:pt x="1586" y="1358"/>
                </a:lnTo>
                <a:lnTo>
                  <a:pt x="1586" y="1358"/>
                </a:lnTo>
                <a:lnTo>
                  <a:pt x="1572" y="1359"/>
                </a:lnTo>
                <a:lnTo>
                  <a:pt x="1569" y="1359"/>
                </a:lnTo>
                <a:lnTo>
                  <a:pt x="1575" y="1358"/>
                </a:lnTo>
                <a:lnTo>
                  <a:pt x="1575" y="1358"/>
                </a:lnTo>
                <a:lnTo>
                  <a:pt x="1600" y="1356"/>
                </a:lnTo>
                <a:lnTo>
                  <a:pt x="1605" y="1356"/>
                </a:lnTo>
                <a:lnTo>
                  <a:pt x="1599" y="1358"/>
                </a:lnTo>
                <a:lnTo>
                  <a:pt x="1599" y="1358"/>
                </a:lnTo>
                <a:lnTo>
                  <a:pt x="1626" y="1355"/>
                </a:lnTo>
                <a:lnTo>
                  <a:pt x="1636" y="1352"/>
                </a:lnTo>
                <a:lnTo>
                  <a:pt x="1636" y="1352"/>
                </a:lnTo>
                <a:lnTo>
                  <a:pt x="1647" y="1352"/>
                </a:lnTo>
                <a:lnTo>
                  <a:pt x="1645" y="1352"/>
                </a:lnTo>
                <a:lnTo>
                  <a:pt x="1621" y="1356"/>
                </a:lnTo>
                <a:lnTo>
                  <a:pt x="1621" y="1356"/>
                </a:lnTo>
                <a:lnTo>
                  <a:pt x="1638" y="1355"/>
                </a:lnTo>
                <a:lnTo>
                  <a:pt x="1633" y="1356"/>
                </a:lnTo>
                <a:lnTo>
                  <a:pt x="1665" y="1353"/>
                </a:lnTo>
                <a:lnTo>
                  <a:pt x="1665" y="1353"/>
                </a:lnTo>
                <a:lnTo>
                  <a:pt x="1651" y="1356"/>
                </a:lnTo>
                <a:lnTo>
                  <a:pt x="1651" y="1356"/>
                </a:lnTo>
                <a:lnTo>
                  <a:pt x="1679" y="1353"/>
                </a:lnTo>
                <a:lnTo>
                  <a:pt x="1706" y="1351"/>
                </a:lnTo>
                <a:lnTo>
                  <a:pt x="1714" y="1349"/>
                </a:lnTo>
                <a:lnTo>
                  <a:pt x="1714" y="1349"/>
                </a:lnTo>
                <a:lnTo>
                  <a:pt x="1820" y="1341"/>
                </a:lnTo>
                <a:lnTo>
                  <a:pt x="1812" y="1341"/>
                </a:lnTo>
                <a:lnTo>
                  <a:pt x="1812" y="1341"/>
                </a:lnTo>
                <a:lnTo>
                  <a:pt x="1834" y="1338"/>
                </a:lnTo>
                <a:lnTo>
                  <a:pt x="1849" y="1337"/>
                </a:lnTo>
                <a:lnTo>
                  <a:pt x="1866" y="1335"/>
                </a:lnTo>
                <a:lnTo>
                  <a:pt x="1897" y="1332"/>
                </a:lnTo>
                <a:lnTo>
                  <a:pt x="1897" y="1332"/>
                </a:lnTo>
                <a:lnTo>
                  <a:pt x="1934" y="1328"/>
                </a:lnTo>
                <a:lnTo>
                  <a:pt x="1943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62" y="1325"/>
                </a:lnTo>
                <a:lnTo>
                  <a:pt x="1975" y="1324"/>
                </a:lnTo>
                <a:lnTo>
                  <a:pt x="1975" y="1324"/>
                </a:lnTo>
                <a:lnTo>
                  <a:pt x="2004" y="1321"/>
                </a:lnTo>
                <a:lnTo>
                  <a:pt x="2040" y="1317"/>
                </a:lnTo>
                <a:lnTo>
                  <a:pt x="2000" y="1321"/>
                </a:lnTo>
                <a:lnTo>
                  <a:pt x="2000" y="1321"/>
                </a:lnTo>
                <a:lnTo>
                  <a:pt x="2028" y="1320"/>
                </a:lnTo>
                <a:lnTo>
                  <a:pt x="2071" y="1316"/>
                </a:lnTo>
                <a:lnTo>
                  <a:pt x="2169" y="1303"/>
                </a:lnTo>
                <a:lnTo>
                  <a:pt x="2169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85" y="1299"/>
                </a:lnTo>
                <a:lnTo>
                  <a:pt x="2185" y="1299"/>
                </a:lnTo>
                <a:lnTo>
                  <a:pt x="2205" y="1298"/>
                </a:lnTo>
                <a:lnTo>
                  <a:pt x="2240" y="1295"/>
                </a:lnTo>
                <a:lnTo>
                  <a:pt x="2240" y="1295"/>
                </a:lnTo>
                <a:lnTo>
                  <a:pt x="2238" y="1295"/>
                </a:lnTo>
                <a:lnTo>
                  <a:pt x="2241" y="1295"/>
                </a:lnTo>
                <a:lnTo>
                  <a:pt x="2251" y="1295"/>
                </a:lnTo>
                <a:lnTo>
                  <a:pt x="2256" y="1295"/>
                </a:lnTo>
                <a:lnTo>
                  <a:pt x="2241" y="1296"/>
                </a:lnTo>
                <a:lnTo>
                  <a:pt x="2241" y="1296"/>
                </a:lnTo>
                <a:lnTo>
                  <a:pt x="2227" y="1298"/>
                </a:lnTo>
                <a:lnTo>
                  <a:pt x="2210" y="1299"/>
                </a:lnTo>
                <a:lnTo>
                  <a:pt x="2210" y="1299"/>
                </a:lnTo>
                <a:lnTo>
                  <a:pt x="2269" y="1295"/>
                </a:lnTo>
                <a:lnTo>
                  <a:pt x="2269" y="1295"/>
                </a:lnTo>
                <a:lnTo>
                  <a:pt x="2241" y="1299"/>
                </a:lnTo>
                <a:lnTo>
                  <a:pt x="2241" y="1299"/>
                </a:lnTo>
                <a:lnTo>
                  <a:pt x="2245" y="1298"/>
                </a:lnTo>
                <a:lnTo>
                  <a:pt x="2242" y="12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8" name="Freeform 80"/>
          <p:cNvSpPr>
            <a:spLocks/>
          </p:cNvSpPr>
          <p:nvPr userDrawn="1"/>
        </p:nvSpPr>
        <p:spPr bwMode="auto">
          <a:xfrm>
            <a:off x="-6670675" y="4348163"/>
            <a:ext cx="13284200" cy="1938338"/>
          </a:xfrm>
          <a:custGeom>
            <a:avLst/>
            <a:gdLst>
              <a:gd name="T0" fmla="*/ 3398 w 8368"/>
              <a:gd name="T1" fmla="*/ 972 h 1221"/>
              <a:gd name="T2" fmla="*/ 3597 w 8368"/>
              <a:gd name="T3" fmla="*/ 954 h 1221"/>
              <a:gd name="T4" fmla="*/ 3673 w 8368"/>
              <a:gd name="T5" fmla="*/ 942 h 1221"/>
              <a:gd name="T6" fmla="*/ 3777 w 8368"/>
              <a:gd name="T7" fmla="*/ 934 h 1221"/>
              <a:gd name="T8" fmla="*/ 4168 w 8368"/>
              <a:gd name="T9" fmla="*/ 894 h 1221"/>
              <a:gd name="T10" fmla="*/ 4427 w 8368"/>
              <a:gd name="T11" fmla="*/ 864 h 1221"/>
              <a:gd name="T12" fmla="*/ 4571 w 8368"/>
              <a:gd name="T13" fmla="*/ 848 h 1221"/>
              <a:gd name="T14" fmla="*/ 4753 w 8368"/>
              <a:gd name="T15" fmla="*/ 826 h 1221"/>
              <a:gd name="T16" fmla="*/ 4890 w 8368"/>
              <a:gd name="T17" fmla="*/ 816 h 1221"/>
              <a:gd name="T18" fmla="*/ 5064 w 8368"/>
              <a:gd name="T19" fmla="*/ 796 h 1221"/>
              <a:gd name="T20" fmla="*/ 5403 w 8368"/>
              <a:gd name="T21" fmla="*/ 760 h 1221"/>
              <a:gd name="T22" fmla="*/ 5587 w 8368"/>
              <a:gd name="T23" fmla="*/ 736 h 1221"/>
              <a:gd name="T24" fmla="*/ 5788 w 8368"/>
              <a:gd name="T25" fmla="*/ 708 h 1221"/>
              <a:gd name="T26" fmla="*/ 5954 w 8368"/>
              <a:gd name="T27" fmla="*/ 688 h 1221"/>
              <a:gd name="T28" fmla="*/ 6153 w 8368"/>
              <a:gd name="T29" fmla="*/ 651 h 1221"/>
              <a:gd name="T30" fmla="*/ 6505 w 8368"/>
              <a:gd name="T31" fmla="*/ 583 h 1221"/>
              <a:gd name="T32" fmla="*/ 6750 w 8368"/>
              <a:gd name="T33" fmla="*/ 529 h 1221"/>
              <a:gd name="T34" fmla="*/ 6862 w 8368"/>
              <a:gd name="T35" fmla="*/ 497 h 1221"/>
              <a:gd name="T36" fmla="*/ 7031 w 8368"/>
              <a:gd name="T37" fmla="*/ 445 h 1221"/>
              <a:gd name="T38" fmla="*/ 7211 w 8368"/>
              <a:gd name="T39" fmla="*/ 397 h 1221"/>
              <a:gd name="T40" fmla="*/ 7279 w 8368"/>
              <a:gd name="T41" fmla="*/ 371 h 1221"/>
              <a:gd name="T42" fmla="*/ 7572 w 8368"/>
              <a:gd name="T43" fmla="*/ 281 h 1221"/>
              <a:gd name="T44" fmla="*/ 7799 w 8368"/>
              <a:gd name="T45" fmla="*/ 204 h 1221"/>
              <a:gd name="T46" fmla="*/ 8003 w 8368"/>
              <a:gd name="T47" fmla="*/ 132 h 1221"/>
              <a:gd name="T48" fmla="*/ 8109 w 8368"/>
              <a:gd name="T49" fmla="*/ 90 h 1221"/>
              <a:gd name="T50" fmla="*/ 7947 w 8368"/>
              <a:gd name="T51" fmla="*/ 140 h 1221"/>
              <a:gd name="T52" fmla="*/ 8240 w 8368"/>
              <a:gd name="T53" fmla="*/ 48 h 1221"/>
              <a:gd name="T54" fmla="*/ 8306 w 8368"/>
              <a:gd name="T55" fmla="*/ 16 h 1221"/>
              <a:gd name="T56" fmla="*/ 8254 w 8368"/>
              <a:gd name="T57" fmla="*/ 32 h 1221"/>
              <a:gd name="T58" fmla="*/ 8202 w 8368"/>
              <a:gd name="T59" fmla="*/ 44 h 1221"/>
              <a:gd name="T60" fmla="*/ 7941 w 8368"/>
              <a:gd name="T61" fmla="*/ 138 h 1221"/>
              <a:gd name="T62" fmla="*/ 7829 w 8368"/>
              <a:gd name="T63" fmla="*/ 178 h 1221"/>
              <a:gd name="T64" fmla="*/ 7462 w 8368"/>
              <a:gd name="T65" fmla="*/ 303 h 1221"/>
              <a:gd name="T66" fmla="*/ 7500 w 8368"/>
              <a:gd name="T67" fmla="*/ 287 h 1221"/>
              <a:gd name="T68" fmla="*/ 7313 w 8368"/>
              <a:gd name="T69" fmla="*/ 347 h 1221"/>
              <a:gd name="T70" fmla="*/ 7093 w 8368"/>
              <a:gd name="T71" fmla="*/ 409 h 1221"/>
              <a:gd name="T72" fmla="*/ 6886 w 8368"/>
              <a:gd name="T73" fmla="*/ 471 h 1221"/>
              <a:gd name="T74" fmla="*/ 6686 w 8368"/>
              <a:gd name="T75" fmla="*/ 519 h 1221"/>
              <a:gd name="T76" fmla="*/ 6363 w 8368"/>
              <a:gd name="T77" fmla="*/ 593 h 1221"/>
              <a:gd name="T78" fmla="*/ 5934 w 8368"/>
              <a:gd name="T79" fmla="*/ 663 h 1221"/>
              <a:gd name="T80" fmla="*/ 5890 w 8368"/>
              <a:gd name="T81" fmla="*/ 677 h 1221"/>
              <a:gd name="T82" fmla="*/ 5734 w 8368"/>
              <a:gd name="T83" fmla="*/ 700 h 1221"/>
              <a:gd name="T84" fmla="*/ 5533 w 8368"/>
              <a:gd name="T85" fmla="*/ 718 h 1221"/>
              <a:gd name="T86" fmla="*/ 4753 w 8368"/>
              <a:gd name="T87" fmla="*/ 804 h 1221"/>
              <a:gd name="T88" fmla="*/ 3877 w 8368"/>
              <a:gd name="T89" fmla="*/ 898 h 1221"/>
              <a:gd name="T90" fmla="*/ 3621 w 8368"/>
              <a:gd name="T91" fmla="*/ 922 h 1221"/>
              <a:gd name="T92" fmla="*/ 3017 w 8368"/>
              <a:gd name="T93" fmla="*/ 984 h 1221"/>
              <a:gd name="T94" fmla="*/ 2644 w 8368"/>
              <a:gd name="T95" fmla="*/ 1018 h 1221"/>
              <a:gd name="T96" fmla="*/ 2005 w 8368"/>
              <a:gd name="T97" fmla="*/ 1078 h 1221"/>
              <a:gd name="T98" fmla="*/ 1253 w 8368"/>
              <a:gd name="T99" fmla="*/ 1141 h 1221"/>
              <a:gd name="T100" fmla="*/ 421 w 8368"/>
              <a:gd name="T101" fmla="*/ 1201 h 1221"/>
              <a:gd name="T102" fmla="*/ 4 w 8368"/>
              <a:gd name="T103" fmla="*/ 1207 h 1221"/>
              <a:gd name="T104" fmla="*/ 281 w 8368"/>
              <a:gd name="T105" fmla="*/ 1217 h 1221"/>
              <a:gd name="T106" fmla="*/ 547 w 8368"/>
              <a:gd name="T107" fmla="*/ 1205 h 1221"/>
              <a:gd name="T108" fmla="*/ 788 w 8368"/>
              <a:gd name="T109" fmla="*/ 1195 h 1221"/>
              <a:gd name="T110" fmla="*/ 1055 w 8368"/>
              <a:gd name="T111" fmla="*/ 1177 h 1221"/>
              <a:gd name="T112" fmla="*/ 1486 w 8368"/>
              <a:gd name="T113" fmla="*/ 1147 h 1221"/>
              <a:gd name="T114" fmla="*/ 1644 w 8368"/>
              <a:gd name="T115" fmla="*/ 1135 h 1221"/>
              <a:gd name="T116" fmla="*/ 1901 w 8368"/>
              <a:gd name="T117" fmla="*/ 1112 h 1221"/>
              <a:gd name="T118" fmla="*/ 2247 w 8368"/>
              <a:gd name="T119" fmla="*/ 1078 h 1221"/>
              <a:gd name="T120" fmla="*/ 2624 w 8368"/>
              <a:gd name="T121" fmla="*/ 1048 h 1221"/>
              <a:gd name="T122" fmla="*/ 3095 w 8368"/>
              <a:gd name="T123" fmla="*/ 996 h 1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68" h="1221">
                <a:moveTo>
                  <a:pt x="3101" y="1000"/>
                </a:moveTo>
                <a:lnTo>
                  <a:pt x="3101" y="1000"/>
                </a:lnTo>
                <a:lnTo>
                  <a:pt x="3075" y="1002"/>
                </a:lnTo>
                <a:lnTo>
                  <a:pt x="3083" y="1002"/>
                </a:lnTo>
                <a:lnTo>
                  <a:pt x="3099" y="1002"/>
                </a:lnTo>
                <a:lnTo>
                  <a:pt x="3105" y="1002"/>
                </a:lnTo>
                <a:lnTo>
                  <a:pt x="3105" y="1002"/>
                </a:lnTo>
                <a:lnTo>
                  <a:pt x="3135" y="1000"/>
                </a:lnTo>
                <a:lnTo>
                  <a:pt x="3145" y="998"/>
                </a:lnTo>
                <a:lnTo>
                  <a:pt x="3141" y="998"/>
                </a:lnTo>
                <a:lnTo>
                  <a:pt x="3141" y="998"/>
                </a:lnTo>
                <a:lnTo>
                  <a:pt x="3172" y="996"/>
                </a:lnTo>
                <a:lnTo>
                  <a:pt x="3210" y="992"/>
                </a:lnTo>
                <a:lnTo>
                  <a:pt x="3248" y="988"/>
                </a:lnTo>
                <a:lnTo>
                  <a:pt x="3280" y="986"/>
                </a:lnTo>
                <a:lnTo>
                  <a:pt x="3280" y="986"/>
                </a:lnTo>
                <a:lnTo>
                  <a:pt x="3274" y="986"/>
                </a:lnTo>
                <a:lnTo>
                  <a:pt x="3284" y="984"/>
                </a:lnTo>
                <a:lnTo>
                  <a:pt x="3284" y="984"/>
                </a:lnTo>
                <a:lnTo>
                  <a:pt x="3318" y="980"/>
                </a:lnTo>
                <a:lnTo>
                  <a:pt x="3334" y="980"/>
                </a:lnTo>
                <a:lnTo>
                  <a:pt x="3334" y="980"/>
                </a:lnTo>
                <a:lnTo>
                  <a:pt x="3398" y="972"/>
                </a:lnTo>
                <a:lnTo>
                  <a:pt x="3398" y="972"/>
                </a:lnTo>
                <a:lnTo>
                  <a:pt x="3404" y="972"/>
                </a:lnTo>
                <a:lnTo>
                  <a:pt x="3398" y="970"/>
                </a:lnTo>
                <a:lnTo>
                  <a:pt x="3392" y="970"/>
                </a:lnTo>
                <a:lnTo>
                  <a:pt x="3404" y="968"/>
                </a:lnTo>
                <a:lnTo>
                  <a:pt x="3404" y="968"/>
                </a:lnTo>
                <a:lnTo>
                  <a:pt x="3444" y="964"/>
                </a:lnTo>
                <a:lnTo>
                  <a:pt x="3488" y="960"/>
                </a:lnTo>
                <a:lnTo>
                  <a:pt x="3488" y="960"/>
                </a:lnTo>
                <a:lnTo>
                  <a:pt x="3496" y="958"/>
                </a:lnTo>
                <a:lnTo>
                  <a:pt x="3482" y="960"/>
                </a:lnTo>
                <a:lnTo>
                  <a:pt x="3442" y="966"/>
                </a:lnTo>
                <a:lnTo>
                  <a:pt x="3536" y="956"/>
                </a:lnTo>
                <a:lnTo>
                  <a:pt x="3536" y="956"/>
                </a:lnTo>
                <a:lnTo>
                  <a:pt x="3544" y="954"/>
                </a:lnTo>
                <a:lnTo>
                  <a:pt x="3536" y="956"/>
                </a:lnTo>
                <a:lnTo>
                  <a:pt x="3496" y="960"/>
                </a:lnTo>
                <a:lnTo>
                  <a:pt x="3496" y="960"/>
                </a:lnTo>
                <a:lnTo>
                  <a:pt x="3554" y="956"/>
                </a:lnTo>
                <a:lnTo>
                  <a:pt x="3593" y="950"/>
                </a:lnTo>
                <a:lnTo>
                  <a:pt x="3593" y="950"/>
                </a:lnTo>
                <a:lnTo>
                  <a:pt x="3651" y="944"/>
                </a:lnTo>
                <a:lnTo>
                  <a:pt x="3651" y="944"/>
                </a:lnTo>
                <a:lnTo>
                  <a:pt x="3629" y="948"/>
                </a:lnTo>
                <a:lnTo>
                  <a:pt x="3597" y="954"/>
                </a:lnTo>
                <a:lnTo>
                  <a:pt x="3597" y="954"/>
                </a:lnTo>
                <a:lnTo>
                  <a:pt x="3575" y="956"/>
                </a:lnTo>
                <a:lnTo>
                  <a:pt x="3579" y="954"/>
                </a:lnTo>
                <a:lnTo>
                  <a:pt x="3585" y="952"/>
                </a:lnTo>
                <a:lnTo>
                  <a:pt x="3569" y="954"/>
                </a:lnTo>
                <a:lnTo>
                  <a:pt x="3564" y="956"/>
                </a:lnTo>
                <a:lnTo>
                  <a:pt x="3564" y="956"/>
                </a:lnTo>
                <a:lnTo>
                  <a:pt x="3534" y="958"/>
                </a:lnTo>
                <a:lnTo>
                  <a:pt x="3504" y="962"/>
                </a:lnTo>
                <a:lnTo>
                  <a:pt x="3504" y="962"/>
                </a:lnTo>
                <a:lnTo>
                  <a:pt x="3500" y="962"/>
                </a:lnTo>
                <a:lnTo>
                  <a:pt x="3502" y="962"/>
                </a:lnTo>
                <a:lnTo>
                  <a:pt x="3514" y="960"/>
                </a:lnTo>
                <a:lnTo>
                  <a:pt x="3514" y="960"/>
                </a:lnTo>
                <a:lnTo>
                  <a:pt x="3460" y="966"/>
                </a:lnTo>
                <a:lnTo>
                  <a:pt x="3412" y="972"/>
                </a:lnTo>
                <a:lnTo>
                  <a:pt x="3412" y="972"/>
                </a:lnTo>
                <a:lnTo>
                  <a:pt x="3504" y="964"/>
                </a:lnTo>
                <a:lnTo>
                  <a:pt x="3573" y="956"/>
                </a:lnTo>
                <a:lnTo>
                  <a:pt x="3681" y="944"/>
                </a:lnTo>
                <a:lnTo>
                  <a:pt x="3681" y="944"/>
                </a:lnTo>
                <a:lnTo>
                  <a:pt x="3665" y="944"/>
                </a:lnTo>
                <a:lnTo>
                  <a:pt x="3661" y="944"/>
                </a:lnTo>
                <a:lnTo>
                  <a:pt x="3673" y="942"/>
                </a:lnTo>
                <a:lnTo>
                  <a:pt x="3673" y="942"/>
                </a:lnTo>
                <a:lnTo>
                  <a:pt x="3705" y="940"/>
                </a:lnTo>
                <a:lnTo>
                  <a:pt x="3759" y="936"/>
                </a:lnTo>
                <a:lnTo>
                  <a:pt x="3759" y="936"/>
                </a:lnTo>
                <a:lnTo>
                  <a:pt x="3759" y="936"/>
                </a:lnTo>
                <a:lnTo>
                  <a:pt x="3763" y="934"/>
                </a:lnTo>
                <a:lnTo>
                  <a:pt x="3785" y="932"/>
                </a:lnTo>
                <a:lnTo>
                  <a:pt x="3805" y="930"/>
                </a:lnTo>
                <a:lnTo>
                  <a:pt x="3809" y="928"/>
                </a:lnTo>
                <a:lnTo>
                  <a:pt x="3805" y="928"/>
                </a:lnTo>
                <a:lnTo>
                  <a:pt x="3805" y="928"/>
                </a:lnTo>
                <a:lnTo>
                  <a:pt x="3783" y="930"/>
                </a:lnTo>
                <a:lnTo>
                  <a:pt x="3773" y="930"/>
                </a:lnTo>
                <a:lnTo>
                  <a:pt x="3773" y="930"/>
                </a:lnTo>
                <a:lnTo>
                  <a:pt x="3791" y="928"/>
                </a:lnTo>
                <a:lnTo>
                  <a:pt x="3793" y="928"/>
                </a:lnTo>
                <a:lnTo>
                  <a:pt x="3793" y="928"/>
                </a:lnTo>
                <a:lnTo>
                  <a:pt x="3801" y="926"/>
                </a:lnTo>
                <a:lnTo>
                  <a:pt x="3801" y="926"/>
                </a:lnTo>
                <a:lnTo>
                  <a:pt x="3835" y="924"/>
                </a:lnTo>
                <a:lnTo>
                  <a:pt x="3871" y="922"/>
                </a:lnTo>
                <a:lnTo>
                  <a:pt x="3871" y="922"/>
                </a:lnTo>
                <a:lnTo>
                  <a:pt x="3777" y="934"/>
                </a:lnTo>
                <a:lnTo>
                  <a:pt x="3777" y="934"/>
                </a:lnTo>
                <a:lnTo>
                  <a:pt x="3833" y="930"/>
                </a:lnTo>
                <a:lnTo>
                  <a:pt x="3833" y="930"/>
                </a:lnTo>
                <a:lnTo>
                  <a:pt x="3825" y="930"/>
                </a:lnTo>
                <a:lnTo>
                  <a:pt x="3831" y="928"/>
                </a:lnTo>
                <a:lnTo>
                  <a:pt x="3835" y="928"/>
                </a:lnTo>
                <a:lnTo>
                  <a:pt x="3831" y="928"/>
                </a:lnTo>
                <a:lnTo>
                  <a:pt x="3831" y="928"/>
                </a:lnTo>
                <a:lnTo>
                  <a:pt x="4028" y="904"/>
                </a:lnTo>
                <a:lnTo>
                  <a:pt x="4028" y="904"/>
                </a:lnTo>
                <a:lnTo>
                  <a:pt x="4004" y="908"/>
                </a:lnTo>
                <a:lnTo>
                  <a:pt x="3967" y="912"/>
                </a:lnTo>
                <a:lnTo>
                  <a:pt x="3935" y="918"/>
                </a:lnTo>
                <a:lnTo>
                  <a:pt x="3927" y="918"/>
                </a:lnTo>
                <a:lnTo>
                  <a:pt x="3931" y="920"/>
                </a:lnTo>
                <a:lnTo>
                  <a:pt x="3931" y="920"/>
                </a:lnTo>
                <a:lnTo>
                  <a:pt x="3963" y="914"/>
                </a:lnTo>
                <a:lnTo>
                  <a:pt x="3994" y="912"/>
                </a:lnTo>
                <a:lnTo>
                  <a:pt x="3994" y="912"/>
                </a:lnTo>
                <a:lnTo>
                  <a:pt x="4050" y="906"/>
                </a:lnTo>
                <a:lnTo>
                  <a:pt x="4122" y="898"/>
                </a:lnTo>
                <a:lnTo>
                  <a:pt x="4102" y="900"/>
                </a:lnTo>
                <a:lnTo>
                  <a:pt x="4102" y="900"/>
                </a:lnTo>
                <a:lnTo>
                  <a:pt x="4174" y="892"/>
                </a:lnTo>
                <a:lnTo>
                  <a:pt x="4168" y="894"/>
                </a:lnTo>
                <a:lnTo>
                  <a:pt x="4188" y="890"/>
                </a:lnTo>
                <a:lnTo>
                  <a:pt x="4188" y="890"/>
                </a:lnTo>
                <a:lnTo>
                  <a:pt x="4192" y="890"/>
                </a:lnTo>
                <a:lnTo>
                  <a:pt x="4192" y="890"/>
                </a:lnTo>
                <a:lnTo>
                  <a:pt x="4316" y="878"/>
                </a:lnTo>
                <a:lnTo>
                  <a:pt x="4316" y="878"/>
                </a:lnTo>
                <a:lnTo>
                  <a:pt x="4292" y="880"/>
                </a:lnTo>
                <a:lnTo>
                  <a:pt x="4252" y="884"/>
                </a:lnTo>
                <a:lnTo>
                  <a:pt x="4252" y="884"/>
                </a:lnTo>
                <a:lnTo>
                  <a:pt x="4230" y="886"/>
                </a:lnTo>
                <a:lnTo>
                  <a:pt x="4222" y="886"/>
                </a:lnTo>
                <a:lnTo>
                  <a:pt x="4226" y="884"/>
                </a:lnTo>
                <a:lnTo>
                  <a:pt x="4226" y="884"/>
                </a:lnTo>
                <a:lnTo>
                  <a:pt x="4378" y="868"/>
                </a:lnTo>
                <a:lnTo>
                  <a:pt x="4358" y="868"/>
                </a:lnTo>
                <a:lnTo>
                  <a:pt x="4358" y="868"/>
                </a:lnTo>
                <a:lnTo>
                  <a:pt x="4392" y="864"/>
                </a:lnTo>
                <a:lnTo>
                  <a:pt x="4435" y="860"/>
                </a:lnTo>
                <a:lnTo>
                  <a:pt x="4435" y="860"/>
                </a:lnTo>
                <a:lnTo>
                  <a:pt x="4451" y="860"/>
                </a:lnTo>
                <a:lnTo>
                  <a:pt x="4439" y="862"/>
                </a:lnTo>
                <a:lnTo>
                  <a:pt x="4423" y="864"/>
                </a:lnTo>
                <a:lnTo>
                  <a:pt x="4427" y="864"/>
                </a:lnTo>
                <a:lnTo>
                  <a:pt x="4427" y="864"/>
                </a:lnTo>
                <a:lnTo>
                  <a:pt x="4390" y="868"/>
                </a:lnTo>
                <a:lnTo>
                  <a:pt x="4364" y="872"/>
                </a:lnTo>
                <a:lnTo>
                  <a:pt x="4398" y="870"/>
                </a:lnTo>
                <a:lnTo>
                  <a:pt x="4398" y="870"/>
                </a:lnTo>
                <a:lnTo>
                  <a:pt x="4441" y="866"/>
                </a:lnTo>
                <a:lnTo>
                  <a:pt x="4477" y="862"/>
                </a:lnTo>
                <a:lnTo>
                  <a:pt x="4455" y="864"/>
                </a:lnTo>
                <a:lnTo>
                  <a:pt x="4455" y="864"/>
                </a:lnTo>
                <a:lnTo>
                  <a:pt x="4471" y="862"/>
                </a:lnTo>
                <a:lnTo>
                  <a:pt x="4489" y="860"/>
                </a:lnTo>
                <a:lnTo>
                  <a:pt x="4475" y="860"/>
                </a:lnTo>
                <a:lnTo>
                  <a:pt x="4475" y="860"/>
                </a:lnTo>
                <a:lnTo>
                  <a:pt x="4435" y="864"/>
                </a:lnTo>
                <a:lnTo>
                  <a:pt x="4400" y="868"/>
                </a:lnTo>
                <a:lnTo>
                  <a:pt x="4400" y="868"/>
                </a:lnTo>
                <a:lnTo>
                  <a:pt x="4451" y="860"/>
                </a:lnTo>
                <a:lnTo>
                  <a:pt x="4507" y="854"/>
                </a:lnTo>
                <a:lnTo>
                  <a:pt x="4507" y="854"/>
                </a:lnTo>
                <a:lnTo>
                  <a:pt x="4501" y="856"/>
                </a:lnTo>
                <a:lnTo>
                  <a:pt x="4489" y="856"/>
                </a:lnTo>
                <a:lnTo>
                  <a:pt x="4489" y="856"/>
                </a:lnTo>
                <a:lnTo>
                  <a:pt x="4525" y="852"/>
                </a:lnTo>
                <a:lnTo>
                  <a:pt x="4571" y="848"/>
                </a:lnTo>
                <a:lnTo>
                  <a:pt x="4571" y="848"/>
                </a:lnTo>
                <a:lnTo>
                  <a:pt x="4539" y="852"/>
                </a:lnTo>
                <a:lnTo>
                  <a:pt x="4533" y="854"/>
                </a:lnTo>
                <a:lnTo>
                  <a:pt x="4543" y="854"/>
                </a:lnTo>
                <a:lnTo>
                  <a:pt x="4563" y="850"/>
                </a:lnTo>
                <a:lnTo>
                  <a:pt x="4563" y="850"/>
                </a:lnTo>
                <a:lnTo>
                  <a:pt x="4579" y="848"/>
                </a:lnTo>
                <a:lnTo>
                  <a:pt x="4579" y="848"/>
                </a:lnTo>
                <a:lnTo>
                  <a:pt x="4589" y="848"/>
                </a:lnTo>
                <a:lnTo>
                  <a:pt x="4589" y="846"/>
                </a:lnTo>
                <a:lnTo>
                  <a:pt x="4611" y="844"/>
                </a:lnTo>
                <a:lnTo>
                  <a:pt x="4611" y="844"/>
                </a:lnTo>
                <a:lnTo>
                  <a:pt x="4621" y="844"/>
                </a:lnTo>
                <a:lnTo>
                  <a:pt x="4625" y="844"/>
                </a:lnTo>
                <a:lnTo>
                  <a:pt x="4623" y="844"/>
                </a:lnTo>
                <a:lnTo>
                  <a:pt x="4623" y="844"/>
                </a:lnTo>
                <a:lnTo>
                  <a:pt x="4655" y="840"/>
                </a:lnTo>
                <a:lnTo>
                  <a:pt x="4683" y="836"/>
                </a:lnTo>
                <a:lnTo>
                  <a:pt x="4683" y="836"/>
                </a:lnTo>
                <a:lnTo>
                  <a:pt x="4663" y="838"/>
                </a:lnTo>
                <a:lnTo>
                  <a:pt x="4657" y="838"/>
                </a:lnTo>
                <a:lnTo>
                  <a:pt x="4663" y="836"/>
                </a:lnTo>
                <a:lnTo>
                  <a:pt x="4683" y="834"/>
                </a:lnTo>
                <a:lnTo>
                  <a:pt x="4683" y="834"/>
                </a:lnTo>
                <a:lnTo>
                  <a:pt x="4753" y="826"/>
                </a:lnTo>
                <a:lnTo>
                  <a:pt x="4809" y="822"/>
                </a:lnTo>
                <a:lnTo>
                  <a:pt x="4832" y="818"/>
                </a:lnTo>
                <a:lnTo>
                  <a:pt x="4832" y="818"/>
                </a:lnTo>
                <a:lnTo>
                  <a:pt x="4830" y="818"/>
                </a:lnTo>
                <a:lnTo>
                  <a:pt x="4832" y="818"/>
                </a:lnTo>
                <a:lnTo>
                  <a:pt x="4846" y="818"/>
                </a:lnTo>
                <a:lnTo>
                  <a:pt x="4882" y="814"/>
                </a:lnTo>
                <a:lnTo>
                  <a:pt x="4882" y="814"/>
                </a:lnTo>
                <a:lnTo>
                  <a:pt x="4872" y="814"/>
                </a:lnTo>
                <a:lnTo>
                  <a:pt x="4846" y="818"/>
                </a:lnTo>
                <a:lnTo>
                  <a:pt x="4817" y="822"/>
                </a:lnTo>
                <a:lnTo>
                  <a:pt x="4803" y="824"/>
                </a:lnTo>
                <a:lnTo>
                  <a:pt x="4803" y="824"/>
                </a:lnTo>
                <a:lnTo>
                  <a:pt x="4825" y="822"/>
                </a:lnTo>
                <a:lnTo>
                  <a:pt x="4811" y="826"/>
                </a:lnTo>
                <a:lnTo>
                  <a:pt x="4811" y="826"/>
                </a:lnTo>
                <a:lnTo>
                  <a:pt x="4830" y="822"/>
                </a:lnTo>
                <a:lnTo>
                  <a:pt x="4836" y="822"/>
                </a:lnTo>
                <a:lnTo>
                  <a:pt x="4836" y="820"/>
                </a:lnTo>
                <a:lnTo>
                  <a:pt x="4842" y="818"/>
                </a:lnTo>
                <a:lnTo>
                  <a:pt x="4842" y="818"/>
                </a:lnTo>
                <a:lnTo>
                  <a:pt x="4872" y="816"/>
                </a:lnTo>
                <a:lnTo>
                  <a:pt x="4888" y="816"/>
                </a:lnTo>
                <a:lnTo>
                  <a:pt x="4890" y="816"/>
                </a:lnTo>
                <a:lnTo>
                  <a:pt x="4884" y="816"/>
                </a:lnTo>
                <a:lnTo>
                  <a:pt x="4884" y="816"/>
                </a:lnTo>
                <a:lnTo>
                  <a:pt x="4918" y="812"/>
                </a:lnTo>
                <a:lnTo>
                  <a:pt x="4946" y="808"/>
                </a:lnTo>
                <a:lnTo>
                  <a:pt x="4946" y="808"/>
                </a:lnTo>
                <a:lnTo>
                  <a:pt x="4940" y="810"/>
                </a:lnTo>
                <a:lnTo>
                  <a:pt x="4940" y="810"/>
                </a:lnTo>
                <a:lnTo>
                  <a:pt x="4940" y="812"/>
                </a:lnTo>
                <a:lnTo>
                  <a:pt x="4940" y="812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6"/>
                </a:lnTo>
                <a:lnTo>
                  <a:pt x="4962" y="808"/>
                </a:lnTo>
                <a:lnTo>
                  <a:pt x="4962" y="808"/>
                </a:lnTo>
                <a:lnTo>
                  <a:pt x="4998" y="804"/>
                </a:lnTo>
                <a:lnTo>
                  <a:pt x="5026" y="800"/>
                </a:lnTo>
                <a:lnTo>
                  <a:pt x="5026" y="800"/>
                </a:lnTo>
                <a:lnTo>
                  <a:pt x="5060" y="798"/>
                </a:lnTo>
                <a:lnTo>
                  <a:pt x="5114" y="792"/>
                </a:lnTo>
                <a:lnTo>
                  <a:pt x="5114" y="792"/>
                </a:lnTo>
                <a:lnTo>
                  <a:pt x="5104" y="792"/>
                </a:lnTo>
                <a:lnTo>
                  <a:pt x="5086" y="794"/>
                </a:lnTo>
                <a:lnTo>
                  <a:pt x="5064" y="796"/>
                </a:lnTo>
                <a:lnTo>
                  <a:pt x="5050" y="796"/>
                </a:lnTo>
                <a:lnTo>
                  <a:pt x="5050" y="796"/>
                </a:lnTo>
                <a:lnTo>
                  <a:pt x="5138" y="786"/>
                </a:lnTo>
                <a:lnTo>
                  <a:pt x="5242" y="774"/>
                </a:lnTo>
                <a:lnTo>
                  <a:pt x="5242" y="774"/>
                </a:lnTo>
                <a:lnTo>
                  <a:pt x="5267" y="772"/>
                </a:lnTo>
                <a:lnTo>
                  <a:pt x="5269" y="772"/>
                </a:lnTo>
                <a:lnTo>
                  <a:pt x="5265" y="774"/>
                </a:lnTo>
                <a:lnTo>
                  <a:pt x="5257" y="776"/>
                </a:lnTo>
                <a:lnTo>
                  <a:pt x="5253" y="776"/>
                </a:lnTo>
                <a:lnTo>
                  <a:pt x="5255" y="776"/>
                </a:lnTo>
                <a:lnTo>
                  <a:pt x="5255" y="776"/>
                </a:lnTo>
                <a:lnTo>
                  <a:pt x="5148" y="788"/>
                </a:lnTo>
                <a:lnTo>
                  <a:pt x="5148" y="788"/>
                </a:lnTo>
                <a:lnTo>
                  <a:pt x="5234" y="778"/>
                </a:lnTo>
                <a:lnTo>
                  <a:pt x="5309" y="770"/>
                </a:lnTo>
                <a:lnTo>
                  <a:pt x="5309" y="770"/>
                </a:lnTo>
                <a:lnTo>
                  <a:pt x="5341" y="766"/>
                </a:lnTo>
                <a:lnTo>
                  <a:pt x="5365" y="766"/>
                </a:lnTo>
                <a:lnTo>
                  <a:pt x="5391" y="764"/>
                </a:lnTo>
                <a:lnTo>
                  <a:pt x="5429" y="758"/>
                </a:lnTo>
                <a:lnTo>
                  <a:pt x="5429" y="758"/>
                </a:lnTo>
                <a:lnTo>
                  <a:pt x="5419" y="758"/>
                </a:lnTo>
                <a:lnTo>
                  <a:pt x="5403" y="760"/>
                </a:lnTo>
                <a:lnTo>
                  <a:pt x="5403" y="760"/>
                </a:lnTo>
                <a:lnTo>
                  <a:pt x="5457" y="754"/>
                </a:lnTo>
                <a:lnTo>
                  <a:pt x="5457" y="754"/>
                </a:lnTo>
                <a:lnTo>
                  <a:pt x="5459" y="754"/>
                </a:lnTo>
                <a:lnTo>
                  <a:pt x="5457" y="754"/>
                </a:lnTo>
                <a:lnTo>
                  <a:pt x="5449" y="754"/>
                </a:lnTo>
                <a:lnTo>
                  <a:pt x="5445" y="754"/>
                </a:lnTo>
                <a:lnTo>
                  <a:pt x="5453" y="752"/>
                </a:lnTo>
                <a:lnTo>
                  <a:pt x="5453" y="752"/>
                </a:lnTo>
                <a:lnTo>
                  <a:pt x="5471" y="750"/>
                </a:lnTo>
                <a:lnTo>
                  <a:pt x="5479" y="750"/>
                </a:lnTo>
                <a:lnTo>
                  <a:pt x="5475" y="752"/>
                </a:lnTo>
                <a:lnTo>
                  <a:pt x="5475" y="752"/>
                </a:lnTo>
                <a:lnTo>
                  <a:pt x="5509" y="748"/>
                </a:lnTo>
                <a:lnTo>
                  <a:pt x="5525" y="746"/>
                </a:lnTo>
                <a:lnTo>
                  <a:pt x="5541" y="744"/>
                </a:lnTo>
                <a:lnTo>
                  <a:pt x="5569" y="740"/>
                </a:lnTo>
                <a:lnTo>
                  <a:pt x="5569" y="740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53" y="742"/>
                </a:lnTo>
                <a:lnTo>
                  <a:pt x="5587" y="736"/>
                </a:lnTo>
                <a:lnTo>
                  <a:pt x="5587" y="736"/>
                </a:lnTo>
                <a:lnTo>
                  <a:pt x="5599" y="734"/>
                </a:lnTo>
                <a:lnTo>
                  <a:pt x="5625" y="732"/>
                </a:lnTo>
                <a:lnTo>
                  <a:pt x="5625" y="732"/>
                </a:lnTo>
                <a:lnTo>
                  <a:pt x="5625" y="732"/>
                </a:lnTo>
                <a:lnTo>
                  <a:pt x="5623" y="732"/>
                </a:lnTo>
                <a:lnTo>
                  <a:pt x="5607" y="734"/>
                </a:lnTo>
                <a:lnTo>
                  <a:pt x="5575" y="738"/>
                </a:lnTo>
                <a:lnTo>
                  <a:pt x="5621" y="734"/>
                </a:lnTo>
                <a:lnTo>
                  <a:pt x="5611" y="734"/>
                </a:lnTo>
                <a:lnTo>
                  <a:pt x="5661" y="728"/>
                </a:lnTo>
                <a:lnTo>
                  <a:pt x="5661" y="728"/>
                </a:lnTo>
                <a:lnTo>
                  <a:pt x="5643" y="730"/>
                </a:lnTo>
                <a:lnTo>
                  <a:pt x="5641" y="728"/>
                </a:lnTo>
                <a:lnTo>
                  <a:pt x="5659" y="726"/>
                </a:lnTo>
                <a:lnTo>
                  <a:pt x="5659" y="726"/>
                </a:lnTo>
                <a:lnTo>
                  <a:pt x="5706" y="720"/>
                </a:lnTo>
                <a:lnTo>
                  <a:pt x="5722" y="718"/>
                </a:lnTo>
                <a:lnTo>
                  <a:pt x="5726" y="720"/>
                </a:lnTo>
                <a:lnTo>
                  <a:pt x="5726" y="720"/>
                </a:lnTo>
                <a:lnTo>
                  <a:pt x="5754" y="714"/>
                </a:lnTo>
                <a:lnTo>
                  <a:pt x="5802" y="708"/>
                </a:lnTo>
                <a:lnTo>
                  <a:pt x="5802" y="708"/>
                </a:lnTo>
                <a:lnTo>
                  <a:pt x="5788" y="708"/>
                </a:lnTo>
                <a:lnTo>
                  <a:pt x="5788" y="708"/>
                </a:lnTo>
                <a:lnTo>
                  <a:pt x="5808" y="704"/>
                </a:lnTo>
                <a:lnTo>
                  <a:pt x="5858" y="700"/>
                </a:lnTo>
                <a:lnTo>
                  <a:pt x="5858" y="700"/>
                </a:lnTo>
                <a:lnTo>
                  <a:pt x="5836" y="702"/>
                </a:lnTo>
                <a:lnTo>
                  <a:pt x="5842" y="702"/>
                </a:lnTo>
                <a:lnTo>
                  <a:pt x="5854" y="702"/>
                </a:lnTo>
                <a:lnTo>
                  <a:pt x="5858" y="702"/>
                </a:lnTo>
                <a:lnTo>
                  <a:pt x="5856" y="702"/>
                </a:lnTo>
                <a:lnTo>
                  <a:pt x="5856" y="702"/>
                </a:lnTo>
                <a:lnTo>
                  <a:pt x="5824" y="708"/>
                </a:lnTo>
                <a:lnTo>
                  <a:pt x="5782" y="712"/>
                </a:lnTo>
                <a:lnTo>
                  <a:pt x="5782" y="712"/>
                </a:lnTo>
                <a:lnTo>
                  <a:pt x="5818" y="708"/>
                </a:lnTo>
                <a:lnTo>
                  <a:pt x="5846" y="704"/>
                </a:lnTo>
                <a:lnTo>
                  <a:pt x="5874" y="700"/>
                </a:lnTo>
                <a:lnTo>
                  <a:pt x="5904" y="696"/>
                </a:lnTo>
                <a:lnTo>
                  <a:pt x="5904" y="696"/>
                </a:lnTo>
                <a:lnTo>
                  <a:pt x="5900" y="696"/>
                </a:lnTo>
                <a:lnTo>
                  <a:pt x="5880" y="700"/>
                </a:lnTo>
                <a:lnTo>
                  <a:pt x="5880" y="700"/>
                </a:lnTo>
                <a:lnTo>
                  <a:pt x="5908" y="696"/>
                </a:lnTo>
                <a:lnTo>
                  <a:pt x="5954" y="688"/>
                </a:lnTo>
                <a:lnTo>
                  <a:pt x="5954" y="688"/>
                </a:lnTo>
                <a:lnTo>
                  <a:pt x="5942" y="690"/>
                </a:lnTo>
                <a:lnTo>
                  <a:pt x="5944" y="688"/>
                </a:lnTo>
                <a:lnTo>
                  <a:pt x="5960" y="686"/>
                </a:lnTo>
                <a:lnTo>
                  <a:pt x="6002" y="680"/>
                </a:lnTo>
                <a:lnTo>
                  <a:pt x="6002" y="680"/>
                </a:lnTo>
                <a:lnTo>
                  <a:pt x="6024" y="677"/>
                </a:lnTo>
                <a:lnTo>
                  <a:pt x="6032" y="675"/>
                </a:lnTo>
                <a:lnTo>
                  <a:pt x="6038" y="673"/>
                </a:lnTo>
                <a:lnTo>
                  <a:pt x="6058" y="669"/>
                </a:lnTo>
                <a:lnTo>
                  <a:pt x="6030" y="671"/>
                </a:lnTo>
                <a:lnTo>
                  <a:pt x="6030" y="671"/>
                </a:lnTo>
                <a:lnTo>
                  <a:pt x="6060" y="667"/>
                </a:lnTo>
                <a:lnTo>
                  <a:pt x="6078" y="663"/>
                </a:lnTo>
                <a:lnTo>
                  <a:pt x="6086" y="661"/>
                </a:lnTo>
                <a:lnTo>
                  <a:pt x="6086" y="661"/>
                </a:lnTo>
                <a:lnTo>
                  <a:pt x="6054" y="667"/>
                </a:lnTo>
                <a:lnTo>
                  <a:pt x="6022" y="673"/>
                </a:lnTo>
                <a:lnTo>
                  <a:pt x="6022" y="673"/>
                </a:lnTo>
                <a:lnTo>
                  <a:pt x="6020" y="671"/>
                </a:lnTo>
                <a:lnTo>
                  <a:pt x="6022" y="671"/>
                </a:lnTo>
                <a:lnTo>
                  <a:pt x="6036" y="669"/>
                </a:lnTo>
                <a:lnTo>
                  <a:pt x="6068" y="663"/>
                </a:lnTo>
                <a:lnTo>
                  <a:pt x="6068" y="663"/>
                </a:lnTo>
                <a:lnTo>
                  <a:pt x="6153" y="651"/>
                </a:lnTo>
                <a:lnTo>
                  <a:pt x="6153" y="651"/>
                </a:lnTo>
                <a:lnTo>
                  <a:pt x="6143" y="655"/>
                </a:lnTo>
                <a:lnTo>
                  <a:pt x="6121" y="659"/>
                </a:lnTo>
                <a:lnTo>
                  <a:pt x="6101" y="665"/>
                </a:lnTo>
                <a:lnTo>
                  <a:pt x="6097" y="667"/>
                </a:lnTo>
                <a:lnTo>
                  <a:pt x="6095" y="667"/>
                </a:lnTo>
                <a:lnTo>
                  <a:pt x="6097" y="667"/>
                </a:lnTo>
                <a:lnTo>
                  <a:pt x="6097" y="667"/>
                </a:lnTo>
                <a:lnTo>
                  <a:pt x="6259" y="639"/>
                </a:lnTo>
                <a:lnTo>
                  <a:pt x="6259" y="639"/>
                </a:lnTo>
                <a:lnTo>
                  <a:pt x="6295" y="631"/>
                </a:lnTo>
                <a:lnTo>
                  <a:pt x="6297" y="629"/>
                </a:lnTo>
                <a:lnTo>
                  <a:pt x="6297" y="629"/>
                </a:lnTo>
                <a:lnTo>
                  <a:pt x="6293" y="629"/>
                </a:lnTo>
                <a:lnTo>
                  <a:pt x="6293" y="629"/>
                </a:lnTo>
                <a:lnTo>
                  <a:pt x="6335" y="621"/>
                </a:lnTo>
                <a:lnTo>
                  <a:pt x="6313" y="627"/>
                </a:lnTo>
                <a:lnTo>
                  <a:pt x="6463" y="595"/>
                </a:lnTo>
                <a:lnTo>
                  <a:pt x="6463" y="595"/>
                </a:lnTo>
                <a:lnTo>
                  <a:pt x="6485" y="589"/>
                </a:lnTo>
                <a:lnTo>
                  <a:pt x="6475" y="589"/>
                </a:lnTo>
                <a:lnTo>
                  <a:pt x="6512" y="581"/>
                </a:lnTo>
                <a:lnTo>
                  <a:pt x="6505" y="583"/>
                </a:lnTo>
                <a:lnTo>
                  <a:pt x="6505" y="583"/>
                </a:lnTo>
                <a:lnTo>
                  <a:pt x="6532" y="575"/>
                </a:lnTo>
                <a:lnTo>
                  <a:pt x="6572" y="567"/>
                </a:lnTo>
                <a:lnTo>
                  <a:pt x="6572" y="567"/>
                </a:lnTo>
                <a:lnTo>
                  <a:pt x="6558" y="571"/>
                </a:lnTo>
                <a:lnTo>
                  <a:pt x="6558" y="571"/>
                </a:lnTo>
                <a:lnTo>
                  <a:pt x="6630" y="555"/>
                </a:lnTo>
                <a:lnTo>
                  <a:pt x="6630" y="555"/>
                </a:lnTo>
                <a:lnTo>
                  <a:pt x="6620" y="559"/>
                </a:lnTo>
                <a:lnTo>
                  <a:pt x="6590" y="565"/>
                </a:lnTo>
                <a:lnTo>
                  <a:pt x="6590" y="565"/>
                </a:lnTo>
                <a:lnTo>
                  <a:pt x="6586" y="567"/>
                </a:lnTo>
                <a:lnTo>
                  <a:pt x="6542" y="577"/>
                </a:lnTo>
                <a:lnTo>
                  <a:pt x="6542" y="577"/>
                </a:lnTo>
                <a:lnTo>
                  <a:pt x="6602" y="563"/>
                </a:lnTo>
                <a:lnTo>
                  <a:pt x="6618" y="561"/>
                </a:lnTo>
                <a:lnTo>
                  <a:pt x="6622" y="561"/>
                </a:lnTo>
                <a:lnTo>
                  <a:pt x="6622" y="561"/>
                </a:lnTo>
                <a:lnTo>
                  <a:pt x="6638" y="557"/>
                </a:lnTo>
                <a:lnTo>
                  <a:pt x="6628" y="559"/>
                </a:lnTo>
                <a:lnTo>
                  <a:pt x="6620" y="561"/>
                </a:lnTo>
                <a:lnTo>
                  <a:pt x="6640" y="555"/>
                </a:lnTo>
                <a:lnTo>
                  <a:pt x="6640" y="555"/>
                </a:lnTo>
                <a:lnTo>
                  <a:pt x="6698" y="543"/>
                </a:lnTo>
                <a:lnTo>
                  <a:pt x="6750" y="529"/>
                </a:lnTo>
                <a:lnTo>
                  <a:pt x="6796" y="519"/>
                </a:lnTo>
                <a:lnTo>
                  <a:pt x="6834" y="511"/>
                </a:lnTo>
                <a:lnTo>
                  <a:pt x="6834" y="511"/>
                </a:lnTo>
                <a:lnTo>
                  <a:pt x="6969" y="471"/>
                </a:lnTo>
                <a:lnTo>
                  <a:pt x="6969" y="471"/>
                </a:lnTo>
                <a:lnTo>
                  <a:pt x="6987" y="465"/>
                </a:lnTo>
                <a:lnTo>
                  <a:pt x="6999" y="461"/>
                </a:lnTo>
                <a:lnTo>
                  <a:pt x="7001" y="461"/>
                </a:lnTo>
                <a:lnTo>
                  <a:pt x="7001" y="459"/>
                </a:lnTo>
                <a:lnTo>
                  <a:pt x="7001" y="459"/>
                </a:lnTo>
                <a:lnTo>
                  <a:pt x="6963" y="471"/>
                </a:lnTo>
                <a:lnTo>
                  <a:pt x="6924" y="481"/>
                </a:lnTo>
                <a:lnTo>
                  <a:pt x="6890" y="491"/>
                </a:lnTo>
                <a:lnTo>
                  <a:pt x="6856" y="499"/>
                </a:lnTo>
                <a:lnTo>
                  <a:pt x="6856" y="499"/>
                </a:lnTo>
                <a:lnTo>
                  <a:pt x="6838" y="505"/>
                </a:lnTo>
                <a:lnTo>
                  <a:pt x="6830" y="509"/>
                </a:lnTo>
                <a:lnTo>
                  <a:pt x="6830" y="509"/>
                </a:lnTo>
                <a:lnTo>
                  <a:pt x="6786" y="519"/>
                </a:lnTo>
                <a:lnTo>
                  <a:pt x="6786" y="519"/>
                </a:lnTo>
                <a:lnTo>
                  <a:pt x="6810" y="513"/>
                </a:lnTo>
                <a:lnTo>
                  <a:pt x="6818" y="509"/>
                </a:lnTo>
                <a:lnTo>
                  <a:pt x="6830" y="505"/>
                </a:lnTo>
                <a:lnTo>
                  <a:pt x="6862" y="497"/>
                </a:lnTo>
                <a:lnTo>
                  <a:pt x="6862" y="497"/>
                </a:lnTo>
                <a:lnTo>
                  <a:pt x="6826" y="505"/>
                </a:lnTo>
                <a:lnTo>
                  <a:pt x="6778" y="517"/>
                </a:lnTo>
                <a:lnTo>
                  <a:pt x="6778" y="517"/>
                </a:lnTo>
                <a:lnTo>
                  <a:pt x="6782" y="515"/>
                </a:lnTo>
                <a:lnTo>
                  <a:pt x="6780" y="515"/>
                </a:lnTo>
                <a:lnTo>
                  <a:pt x="6764" y="519"/>
                </a:lnTo>
                <a:lnTo>
                  <a:pt x="6834" y="497"/>
                </a:lnTo>
                <a:lnTo>
                  <a:pt x="6834" y="497"/>
                </a:lnTo>
                <a:lnTo>
                  <a:pt x="6832" y="499"/>
                </a:lnTo>
                <a:lnTo>
                  <a:pt x="6834" y="499"/>
                </a:lnTo>
                <a:lnTo>
                  <a:pt x="6836" y="499"/>
                </a:lnTo>
                <a:lnTo>
                  <a:pt x="6834" y="499"/>
                </a:lnTo>
                <a:lnTo>
                  <a:pt x="6900" y="479"/>
                </a:lnTo>
                <a:lnTo>
                  <a:pt x="6900" y="479"/>
                </a:lnTo>
                <a:lnTo>
                  <a:pt x="6920" y="475"/>
                </a:lnTo>
                <a:lnTo>
                  <a:pt x="6920" y="475"/>
                </a:lnTo>
                <a:lnTo>
                  <a:pt x="6916" y="477"/>
                </a:lnTo>
                <a:lnTo>
                  <a:pt x="6916" y="477"/>
                </a:lnTo>
                <a:lnTo>
                  <a:pt x="6979" y="461"/>
                </a:lnTo>
                <a:lnTo>
                  <a:pt x="7003" y="453"/>
                </a:lnTo>
                <a:lnTo>
                  <a:pt x="7015" y="451"/>
                </a:lnTo>
                <a:lnTo>
                  <a:pt x="7015" y="451"/>
                </a:lnTo>
                <a:lnTo>
                  <a:pt x="7031" y="445"/>
                </a:lnTo>
                <a:lnTo>
                  <a:pt x="7023" y="447"/>
                </a:lnTo>
                <a:lnTo>
                  <a:pt x="6995" y="455"/>
                </a:lnTo>
                <a:lnTo>
                  <a:pt x="6999" y="453"/>
                </a:lnTo>
                <a:lnTo>
                  <a:pt x="6949" y="467"/>
                </a:lnTo>
                <a:lnTo>
                  <a:pt x="6949" y="467"/>
                </a:lnTo>
                <a:lnTo>
                  <a:pt x="6955" y="465"/>
                </a:lnTo>
                <a:lnTo>
                  <a:pt x="6977" y="459"/>
                </a:lnTo>
                <a:lnTo>
                  <a:pt x="6999" y="453"/>
                </a:lnTo>
                <a:lnTo>
                  <a:pt x="7013" y="447"/>
                </a:lnTo>
                <a:lnTo>
                  <a:pt x="7013" y="447"/>
                </a:lnTo>
                <a:lnTo>
                  <a:pt x="7019" y="445"/>
                </a:lnTo>
                <a:lnTo>
                  <a:pt x="7027" y="441"/>
                </a:lnTo>
                <a:lnTo>
                  <a:pt x="7055" y="435"/>
                </a:lnTo>
                <a:lnTo>
                  <a:pt x="7087" y="425"/>
                </a:lnTo>
                <a:lnTo>
                  <a:pt x="7117" y="417"/>
                </a:lnTo>
                <a:lnTo>
                  <a:pt x="7079" y="433"/>
                </a:lnTo>
                <a:lnTo>
                  <a:pt x="7113" y="421"/>
                </a:lnTo>
                <a:lnTo>
                  <a:pt x="7113" y="421"/>
                </a:lnTo>
                <a:lnTo>
                  <a:pt x="7093" y="429"/>
                </a:lnTo>
                <a:lnTo>
                  <a:pt x="7063" y="441"/>
                </a:lnTo>
                <a:lnTo>
                  <a:pt x="7063" y="441"/>
                </a:lnTo>
                <a:lnTo>
                  <a:pt x="7143" y="417"/>
                </a:lnTo>
                <a:lnTo>
                  <a:pt x="7211" y="397"/>
                </a:lnTo>
                <a:lnTo>
                  <a:pt x="7211" y="397"/>
                </a:lnTo>
                <a:lnTo>
                  <a:pt x="7223" y="395"/>
                </a:lnTo>
                <a:lnTo>
                  <a:pt x="7225" y="395"/>
                </a:lnTo>
                <a:lnTo>
                  <a:pt x="7223" y="395"/>
                </a:lnTo>
                <a:lnTo>
                  <a:pt x="7223" y="395"/>
                </a:lnTo>
                <a:lnTo>
                  <a:pt x="7255" y="385"/>
                </a:lnTo>
                <a:lnTo>
                  <a:pt x="7283" y="377"/>
                </a:lnTo>
                <a:lnTo>
                  <a:pt x="7339" y="359"/>
                </a:lnTo>
                <a:lnTo>
                  <a:pt x="7339" y="359"/>
                </a:lnTo>
                <a:lnTo>
                  <a:pt x="7352" y="355"/>
                </a:lnTo>
                <a:lnTo>
                  <a:pt x="7337" y="359"/>
                </a:lnTo>
                <a:lnTo>
                  <a:pt x="7321" y="363"/>
                </a:lnTo>
                <a:lnTo>
                  <a:pt x="7319" y="363"/>
                </a:lnTo>
                <a:lnTo>
                  <a:pt x="7327" y="361"/>
                </a:lnTo>
                <a:lnTo>
                  <a:pt x="7327" y="361"/>
                </a:lnTo>
                <a:lnTo>
                  <a:pt x="7352" y="353"/>
                </a:lnTo>
                <a:lnTo>
                  <a:pt x="7376" y="345"/>
                </a:lnTo>
                <a:lnTo>
                  <a:pt x="7376" y="345"/>
                </a:lnTo>
                <a:lnTo>
                  <a:pt x="7283" y="373"/>
                </a:lnTo>
                <a:lnTo>
                  <a:pt x="7283" y="373"/>
                </a:lnTo>
                <a:lnTo>
                  <a:pt x="7303" y="367"/>
                </a:lnTo>
                <a:lnTo>
                  <a:pt x="7311" y="363"/>
                </a:lnTo>
                <a:lnTo>
                  <a:pt x="7271" y="375"/>
                </a:lnTo>
                <a:lnTo>
                  <a:pt x="7271" y="375"/>
                </a:lnTo>
                <a:lnTo>
                  <a:pt x="7279" y="371"/>
                </a:lnTo>
                <a:lnTo>
                  <a:pt x="7299" y="365"/>
                </a:lnTo>
                <a:lnTo>
                  <a:pt x="7339" y="353"/>
                </a:lnTo>
                <a:lnTo>
                  <a:pt x="7339" y="353"/>
                </a:lnTo>
                <a:lnTo>
                  <a:pt x="7323" y="361"/>
                </a:lnTo>
                <a:lnTo>
                  <a:pt x="7323" y="361"/>
                </a:lnTo>
                <a:lnTo>
                  <a:pt x="7382" y="341"/>
                </a:lnTo>
                <a:lnTo>
                  <a:pt x="7438" y="323"/>
                </a:lnTo>
                <a:lnTo>
                  <a:pt x="7438" y="323"/>
                </a:lnTo>
                <a:lnTo>
                  <a:pt x="7444" y="323"/>
                </a:lnTo>
                <a:lnTo>
                  <a:pt x="7436" y="325"/>
                </a:lnTo>
                <a:lnTo>
                  <a:pt x="7416" y="333"/>
                </a:lnTo>
                <a:lnTo>
                  <a:pt x="7416" y="333"/>
                </a:lnTo>
                <a:lnTo>
                  <a:pt x="7436" y="327"/>
                </a:lnTo>
                <a:lnTo>
                  <a:pt x="7456" y="321"/>
                </a:lnTo>
                <a:lnTo>
                  <a:pt x="7456" y="321"/>
                </a:lnTo>
                <a:lnTo>
                  <a:pt x="7442" y="325"/>
                </a:lnTo>
                <a:lnTo>
                  <a:pt x="7424" y="331"/>
                </a:lnTo>
                <a:lnTo>
                  <a:pt x="7524" y="299"/>
                </a:lnTo>
                <a:lnTo>
                  <a:pt x="7524" y="299"/>
                </a:lnTo>
                <a:lnTo>
                  <a:pt x="7484" y="313"/>
                </a:lnTo>
                <a:lnTo>
                  <a:pt x="7484" y="313"/>
                </a:lnTo>
                <a:lnTo>
                  <a:pt x="7526" y="299"/>
                </a:lnTo>
                <a:lnTo>
                  <a:pt x="7572" y="281"/>
                </a:lnTo>
                <a:lnTo>
                  <a:pt x="7572" y="281"/>
                </a:lnTo>
                <a:lnTo>
                  <a:pt x="7620" y="267"/>
                </a:lnTo>
                <a:lnTo>
                  <a:pt x="7634" y="263"/>
                </a:lnTo>
                <a:lnTo>
                  <a:pt x="7636" y="261"/>
                </a:lnTo>
                <a:lnTo>
                  <a:pt x="7634" y="263"/>
                </a:lnTo>
                <a:lnTo>
                  <a:pt x="7634" y="263"/>
                </a:lnTo>
                <a:lnTo>
                  <a:pt x="7642" y="259"/>
                </a:lnTo>
                <a:lnTo>
                  <a:pt x="7638" y="259"/>
                </a:lnTo>
                <a:lnTo>
                  <a:pt x="7638" y="259"/>
                </a:lnTo>
                <a:lnTo>
                  <a:pt x="7686" y="243"/>
                </a:lnTo>
                <a:lnTo>
                  <a:pt x="7718" y="231"/>
                </a:lnTo>
                <a:lnTo>
                  <a:pt x="7696" y="237"/>
                </a:lnTo>
                <a:lnTo>
                  <a:pt x="7696" y="237"/>
                </a:lnTo>
                <a:lnTo>
                  <a:pt x="7718" y="229"/>
                </a:lnTo>
                <a:lnTo>
                  <a:pt x="7722" y="227"/>
                </a:lnTo>
                <a:lnTo>
                  <a:pt x="7728" y="224"/>
                </a:lnTo>
                <a:lnTo>
                  <a:pt x="7746" y="218"/>
                </a:lnTo>
                <a:lnTo>
                  <a:pt x="7746" y="218"/>
                </a:lnTo>
                <a:lnTo>
                  <a:pt x="7742" y="220"/>
                </a:lnTo>
                <a:lnTo>
                  <a:pt x="7742" y="220"/>
                </a:lnTo>
                <a:lnTo>
                  <a:pt x="7750" y="220"/>
                </a:lnTo>
                <a:lnTo>
                  <a:pt x="7750" y="220"/>
                </a:lnTo>
                <a:lnTo>
                  <a:pt x="7771" y="214"/>
                </a:lnTo>
                <a:lnTo>
                  <a:pt x="7799" y="204"/>
                </a:lnTo>
                <a:lnTo>
                  <a:pt x="7799" y="204"/>
                </a:lnTo>
                <a:lnTo>
                  <a:pt x="7797" y="204"/>
                </a:lnTo>
                <a:lnTo>
                  <a:pt x="7799" y="204"/>
                </a:lnTo>
                <a:lnTo>
                  <a:pt x="7809" y="200"/>
                </a:lnTo>
                <a:lnTo>
                  <a:pt x="7817" y="196"/>
                </a:lnTo>
                <a:lnTo>
                  <a:pt x="7807" y="198"/>
                </a:lnTo>
                <a:lnTo>
                  <a:pt x="7807" y="198"/>
                </a:lnTo>
                <a:lnTo>
                  <a:pt x="7855" y="182"/>
                </a:lnTo>
                <a:lnTo>
                  <a:pt x="7895" y="168"/>
                </a:lnTo>
                <a:lnTo>
                  <a:pt x="7895" y="168"/>
                </a:lnTo>
                <a:lnTo>
                  <a:pt x="7891" y="168"/>
                </a:lnTo>
                <a:lnTo>
                  <a:pt x="7903" y="164"/>
                </a:lnTo>
                <a:lnTo>
                  <a:pt x="7913" y="160"/>
                </a:lnTo>
                <a:lnTo>
                  <a:pt x="7915" y="158"/>
                </a:lnTo>
                <a:lnTo>
                  <a:pt x="7911" y="160"/>
                </a:lnTo>
                <a:lnTo>
                  <a:pt x="7911" y="160"/>
                </a:lnTo>
                <a:lnTo>
                  <a:pt x="7957" y="144"/>
                </a:lnTo>
                <a:lnTo>
                  <a:pt x="7969" y="142"/>
                </a:lnTo>
                <a:lnTo>
                  <a:pt x="7969" y="142"/>
                </a:lnTo>
                <a:lnTo>
                  <a:pt x="7967" y="144"/>
                </a:lnTo>
                <a:lnTo>
                  <a:pt x="7967" y="144"/>
                </a:lnTo>
                <a:lnTo>
                  <a:pt x="7945" y="150"/>
                </a:lnTo>
                <a:lnTo>
                  <a:pt x="7935" y="156"/>
                </a:lnTo>
                <a:lnTo>
                  <a:pt x="8003" y="132"/>
                </a:lnTo>
                <a:lnTo>
                  <a:pt x="8003" y="132"/>
                </a:lnTo>
                <a:lnTo>
                  <a:pt x="8031" y="122"/>
                </a:lnTo>
                <a:lnTo>
                  <a:pt x="8047" y="118"/>
                </a:lnTo>
                <a:lnTo>
                  <a:pt x="8047" y="118"/>
                </a:lnTo>
                <a:lnTo>
                  <a:pt x="8091" y="104"/>
                </a:lnTo>
                <a:lnTo>
                  <a:pt x="8113" y="96"/>
                </a:lnTo>
                <a:lnTo>
                  <a:pt x="8129" y="90"/>
                </a:lnTo>
                <a:lnTo>
                  <a:pt x="8129" y="90"/>
                </a:lnTo>
                <a:lnTo>
                  <a:pt x="8099" y="100"/>
                </a:lnTo>
                <a:lnTo>
                  <a:pt x="8079" y="106"/>
                </a:lnTo>
                <a:lnTo>
                  <a:pt x="8089" y="102"/>
                </a:lnTo>
                <a:lnTo>
                  <a:pt x="8083" y="104"/>
                </a:lnTo>
                <a:lnTo>
                  <a:pt x="8113" y="92"/>
                </a:lnTo>
                <a:lnTo>
                  <a:pt x="8113" y="92"/>
                </a:lnTo>
                <a:lnTo>
                  <a:pt x="8099" y="96"/>
                </a:lnTo>
                <a:lnTo>
                  <a:pt x="8095" y="98"/>
                </a:lnTo>
                <a:lnTo>
                  <a:pt x="8087" y="102"/>
                </a:lnTo>
                <a:lnTo>
                  <a:pt x="8067" y="110"/>
                </a:lnTo>
                <a:lnTo>
                  <a:pt x="8067" y="110"/>
                </a:lnTo>
                <a:lnTo>
                  <a:pt x="8059" y="110"/>
                </a:lnTo>
                <a:lnTo>
                  <a:pt x="8063" y="108"/>
                </a:lnTo>
                <a:lnTo>
                  <a:pt x="8089" y="98"/>
                </a:lnTo>
                <a:lnTo>
                  <a:pt x="8113" y="90"/>
                </a:lnTo>
                <a:lnTo>
                  <a:pt x="8117" y="88"/>
                </a:lnTo>
                <a:lnTo>
                  <a:pt x="8109" y="90"/>
                </a:lnTo>
                <a:lnTo>
                  <a:pt x="8109" y="90"/>
                </a:lnTo>
                <a:lnTo>
                  <a:pt x="8081" y="100"/>
                </a:lnTo>
                <a:lnTo>
                  <a:pt x="8059" y="108"/>
                </a:lnTo>
                <a:lnTo>
                  <a:pt x="8067" y="106"/>
                </a:lnTo>
                <a:lnTo>
                  <a:pt x="8009" y="128"/>
                </a:lnTo>
                <a:lnTo>
                  <a:pt x="8009" y="128"/>
                </a:lnTo>
                <a:lnTo>
                  <a:pt x="8015" y="124"/>
                </a:lnTo>
                <a:lnTo>
                  <a:pt x="8023" y="120"/>
                </a:lnTo>
                <a:lnTo>
                  <a:pt x="8023" y="120"/>
                </a:lnTo>
                <a:lnTo>
                  <a:pt x="7871" y="172"/>
                </a:lnTo>
                <a:lnTo>
                  <a:pt x="7871" y="172"/>
                </a:lnTo>
                <a:lnTo>
                  <a:pt x="7879" y="170"/>
                </a:lnTo>
                <a:lnTo>
                  <a:pt x="7875" y="172"/>
                </a:lnTo>
                <a:lnTo>
                  <a:pt x="7859" y="180"/>
                </a:lnTo>
                <a:lnTo>
                  <a:pt x="7859" y="180"/>
                </a:lnTo>
                <a:lnTo>
                  <a:pt x="7833" y="188"/>
                </a:lnTo>
                <a:lnTo>
                  <a:pt x="7811" y="194"/>
                </a:lnTo>
                <a:lnTo>
                  <a:pt x="7811" y="194"/>
                </a:lnTo>
                <a:lnTo>
                  <a:pt x="7829" y="188"/>
                </a:lnTo>
                <a:lnTo>
                  <a:pt x="7849" y="180"/>
                </a:lnTo>
                <a:lnTo>
                  <a:pt x="7847" y="178"/>
                </a:lnTo>
                <a:lnTo>
                  <a:pt x="7847" y="178"/>
                </a:lnTo>
                <a:lnTo>
                  <a:pt x="7891" y="162"/>
                </a:lnTo>
                <a:lnTo>
                  <a:pt x="7947" y="140"/>
                </a:lnTo>
                <a:lnTo>
                  <a:pt x="7947" y="140"/>
                </a:lnTo>
                <a:lnTo>
                  <a:pt x="7983" y="126"/>
                </a:lnTo>
                <a:lnTo>
                  <a:pt x="8045" y="104"/>
                </a:lnTo>
                <a:lnTo>
                  <a:pt x="8025" y="110"/>
                </a:lnTo>
                <a:lnTo>
                  <a:pt x="8025" y="110"/>
                </a:lnTo>
                <a:lnTo>
                  <a:pt x="8045" y="102"/>
                </a:lnTo>
                <a:lnTo>
                  <a:pt x="8053" y="102"/>
                </a:lnTo>
                <a:lnTo>
                  <a:pt x="8061" y="98"/>
                </a:lnTo>
                <a:lnTo>
                  <a:pt x="8087" y="88"/>
                </a:lnTo>
                <a:lnTo>
                  <a:pt x="8087" y="88"/>
                </a:lnTo>
                <a:lnTo>
                  <a:pt x="8125" y="80"/>
                </a:lnTo>
                <a:lnTo>
                  <a:pt x="8133" y="80"/>
                </a:lnTo>
                <a:lnTo>
                  <a:pt x="8123" y="84"/>
                </a:lnTo>
                <a:lnTo>
                  <a:pt x="8123" y="84"/>
                </a:lnTo>
                <a:lnTo>
                  <a:pt x="8167" y="68"/>
                </a:lnTo>
                <a:lnTo>
                  <a:pt x="8210" y="54"/>
                </a:lnTo>
                <a:lnTo>
                  <a:pt x="8210" y="54"/>
                </a:lnTo>
                <a:lnTo>
                  <a:pt x="8218" y="52"/>
                </a:lnTo>
                <a:lnTo>
                  <a:pt x="8214" y="56"/>
                </a:lnTo>
                <a:lnTo>
                  <a:pt x="8206" y="58"/>
                </a:lnTo>
                <a:lnTo>
                  <a:pt x="8204" y="60"/>
                </a:lnTo>
                <a:lnTo>
                  <a:pt x="8204" y="60"/>
                </a:lnTo>
                <a:lnTo>
                  <a:pt x="8204" y="60"/>
                </a:lnTo>
                <a:lnTo>
                  <a:pt x="8240" y="48"/>
                </a:lnTo>
                <a:lnTo>
                  <a:pt x="8248" y="44"/>
                </a:lnTo>
                <a:lnTo>
                  <a:pt x="8242" y="46"/>
                </a:lnTo>
                <a:lnTo>
                  <a:pt x="8290" y="30"/>
                </a:lnTo>
                <a:lnTo>
                  <a:pt x="8290" y="30"/>
                </a:lnTo>
                <a:lnTo>
                  <a:pt x="8268" y="38"/>
                </a:lnTo>
                <a:lnTo>
                  <a:pt x="8268" y="38"/>
                </a:lnTo>
                <a:lnTo>
                  <a:pt x="8332" y="14"/>
                </a:lnTo>
                <a:lnTo>
                  <a:pt x="8332" y="14"/>
                </a:lnTo>
                <a:lnTo>
                  <a:pt x="8310" y="22"/>
                </a:lnTo>
                <a:lnTo>
                  <a:pt x="8310" y="22"/>
                </a:lnTo>
                <a:lnTo>
                  <a:pt x="8368" y="0"/>
                </a:lnTo>
                <a:lnTo>
                  <a:pt x="8368" y="0"/>
                </a:lnTo>
                <a:lnTo>
                  <a:pt x="8338" y="10"/>
                </a:lnTo>
                <a:lnTo>
                  <a:pt x="8306" y="22"/>
                </a:lnTo>
                <a:lnTo>
                  <a:pt x="8306" y="22"/>
                </a:lnTo>
                <a:lnTo>
                  <a:pt x="8312" y="18"/>
                </a:lnTo>
                <a:lnTo>
                  <a:pt x="8330" y="12"/>
                </a:lnTo>
                <a:lnTo>
                  <a:pt x="8330" y="12"/>
                </a:lnTo>
                <a:lnTo>
                  <a:pt x="8292" y="24"/>
                </a:lnTo>
                <a:lnTo>
                  <a:pt x="8268" y="30"/>
                </a:lnTo>
                <a:lnTo>
                  <a:pt x="8268" y="30"/>
                </a:lnTo>
                <a:lnTo>
                  <a:pt x="8294" y="22"/>
                </a:lnTo>
                <a:lnTo>
                  <a:pt x="8306" y="16"/>
                </a:lnTo>
                <a:lnTo>
                  <a:pt x="8306" y="16"/>
                </a:lnTo>
                <a:lnTo>
                  <a:pt x="8238" y="40"/>
                </a:lnTo>
                <a:lnTo>
                  <a:pt x="8238" y="40"/>
                </a:lnTo>
                <a:lnTo>
                  <a:pt x="8224" y="44"/>
                </a:lnTo>
                <a:lnTo>
                  <a:pt x="8202" y="52"/>
                </a:lnTo>
                <a:lnTo>
                  <a:pt x="8183" y="58"/>
                </a:lnTo>
                <a:lnTo>
                  <a:pt x="8181" y="58"/>
                </a:lnTo>
                <a:lnTo>
                  <a:pt x="8187" y="56"/>
                </a:lnTo>
                <a:lnTo>
                  <a:pt x="8187" y="56"/>
                </a:lnTo>
                <a:lnTo>
                  <a:pt x="8141" y="72"/>
                </a:lnTo>
                <a:lnTo>
                  <a:pt x="8141" y="72"/>
                </a:lnTo>
                <a:lnTo>
                  <a:pt x="8161" y="64"/>
                </a:lnTo>
                <a:lnTo>
                  <a:pt x="8194" y="52"/>
                </a:lnTo>
                <a:lnTo>
                  <a:pt x="8194" y="52"/>
                </a:lnTo>
                <a:lnTo>
                  <a:pt x="8226" y="40"/>
                </a:lnTo>
                <a:lnTo>
                  <a:pt x="8228" y="40"/>
                </a:lnTo>
                <a:lnTo>
                  <a:pt x="8224" y="42"/>
                </a:lnTo>
                <a:lnTo>
                  <a:pt x="8212" y="46"/>
                </a:lnTo>
                <a:lnTo>
                  <a:pt x="8208" y="48"/>
                </a:lnTo>
                <a:lnTo>
                  <a:pt x="8212" y="48"/>
                </a:lnTo>
                <a:lnTo>
                  <a:pt x="8268" y="28"/>
                </a:lnTo>
                <a:lnTo>
                  <a:pt x="8268" y="28"/>
                </a:lnTo>
                <a:lnTo>
                  <a:pt x="8272" y="26"/>
                </a:lnTo>
                <a:lnTo>
                  <a:pt x="8254" y="32"/>
                </a:lnTo>
                <a:lnTo>
                  <a:pt x="8254" y="32"/>
                </a:lnTo>
                <a:lnTo>
                  <a:pt x="8290" y="18"/>
                </a:lnTo>
                <a:lnTo>
                  <a:pt x="8334" y="2"/>
                </a:lnTo>
                <a:lnTo>
                  <a:pt x="8334" y="2"/>
                </a:lnTo>
                <a:lnTo>
                  <a:pt x="8328" y="4"/>
                </a:lnTo>
                <a:lnTo>
                  <a:pt x="8314" y="10"/>
                </a:lnTo>
                <a:lnTo>
                  <a:pt x="8314" y="10"/>
                </a:lnTo>
                <a:lnTo>
                  <a:pt x="8330" y="2"/>
                </a:lnTo>
                <a:lnTo>
                  <a:pt x="8332" y="0"/>
                </a:lnTo>
                <a:lnTo>
                  <a:pt x="8330" y="2"/>
                </a:lnTo>
                <a:lnTo>
                  <a:pt x="8308" y="8"/>
                </a:lnTo>
                <a:lnTo>
                  <a:pt x="8308" y="8"/>
                </a:lnTo>
                <a:lnTo>
                  <a:pt x="8310" y="8"/>
                </a:lnTo>
                <a:lnTo>
                  <a:pt x="8306" y="10"/>
                </a:lnTo>
                <a:lnTo>
                  <a:pt x="8302" y="12"/>
                </a:lnTo>
                <a:lnTo>
                  <a:pt x="8310" y="10"/>
                </a:lnTo>
                <a:lnTo>
                  <a:pt x="8310" y="10"/>
                </a:lnTo>
                <a:lnTo>
                  <a:pt x="8272" y="22"/>
                </a:lnTo>
                <a:lnTo>
                  <a:pt x="8258" y="26"/>
                </a:lnTo>
                <a:lnTo>
                  <a:pt x="8256" y="26"/>
                </a:lnTo>
                <a:lnTo>
                  <a:pt x="8260" y="24"/>
                </a:lnTo>
                <a:lnTo>
                  <a:pt x="8177" y="54"/>
                </a:lnTo>
                <a:lnTo>
                  <a:pt x="8177" y="54"/>
                </a:lnTo>
                <a:lnTo>
                  <a:pt x="8183" y="50"/>
                </a:lnTo>
                <a:lnTo>
                  <a:pt x="8202" y="44"/>
                </a:lnTo>
                <a:lnTo>
                  <a:pt x="8137" y="66"/>
                </a:lnTo>
                <a:lnTo>
                  <a:pt x="8157" y="62"/>
                </a:lnTo>
                <a:lnTo>
                  <a:pt x="8157" y="62"/>
                </a:lnTo>
                <a:lnTo>
                  <a:pt x="8095" y="84"/>
                </a:lnTo>
                <a:lnTo>
                  <a:pt x="8041" y="104"/>
                </a:lnTo>
                <a:lnTo>
                  <a:pt x="8041" y="104"/>
                </a:lnTo>
                <a:lnTo>
                  <a:pt x="8065" y="94"/>
                </a:lnTo>
                <a:lnTo>
                  <a:pt x="8103" y="80"/>
                </a:lnTo>
                <a:lnTo>
                  <a:pt x="8103" y="80"/>
                </a:lnTo>
                <a:lnTo>
                  <a:pt x="8089" y="84"/>
                </a:lnTo>
                <a:lnTo>
                  <a:pt x="8081" y="88"/>
                </a:lnTo>
                <a:lnTo>
                  <a:pt x="8047" y="100"/>
                </a:lnTo>
                <a:lnTo>
                  <a:pt x="8047" y="100"/>
                </a:lnTo>
                <a:lnTo>
                  <a:pt x="8041" y="100"/>
                </a:lnTo>
                <a:lnTo>
                  <a:pt x="8043" y="100"/>
                </a:lnTo>
                <a:lnTo>
                  <a:pt x="8011" y="112"/>
                </a:lnTo>
                <a:lnTo>
                  <a:pt x="8011" y="112"/>
                </a:lnTo>
                <a:lnTo>
                  <a:pt x="8007" y="114"/>
                </a:lnTo>
                <a:lnTo>
                  <a:pt x="8011" y="112"/>
                </a:lnTo>
                <a:lnTo>
                  <a:pt x="8011" y="112"/>
                </a:lnTo>
                <a:lnTo>
                  <a:pt x="7989" y="120"/>
                </a:lnTo>
                <a:lnTo>
                  <a:pt x="7983" y="124"/>
                </a:lnTo>
                <a:lnTo>
                  <a:pt x="7941" y="138"/>
                </a:lnTo>
                <a:lnTo>
                  <a:pt x="7941" y="138"/>
                </a:lnTo>
                <a:lnTo>
                  <a:pt x="7981" y="126"/>
                </a:lnTo>
                <a:lnTo>
                  <a:pt x="8015" y="112"/>
                </a:lnTo>
                <a:lnTo>
                  <a:pt x="8015" y="112"/>
                </a:lnTo>
                <a:lnTo>
                  <a:pt x="8019" y="112"/>
                </a:lnTo>
                <a:lnTo>
                  <a:pt x="8017" y="112"/>
                </a:lnTo>
                <a:lnTo>
                  <a:pt x="8001" y="120"/>
                </a:lnTo>
                <a:lnTo>
                  <a:pt x="7963" y="134"/>
                </a:lnTo>
                <a:lnTo>
                  <a:pt x="7963" y="134"/>
                </a:lnTo>
                <a:lnTo>
                  <a:pt x="7923" y="146"/>
                </a:lnTo>
                <a:lnTo>
                  <a:pt x="7879" y="160"/>
                </a:lnTo>
                <a:lnTo>
                  <a:pt x="7879" y="160"/>
                </a:lnTo>
                <a:lnTo>
                  <a:pt x="7895" y="154"/>
                </a:lnTo>
                <a:lnTo>
                  <a:pt x="7923" y="144"/>
                </a:lnTo>
                <a:lnTo>
                  <a:pt x="7923" y="144"/>
                </a:lnTo>
                <a:lnTo>
                  <a:pt x="7933" y="140"/>
                </a:lnTo>
                <a:lnTo>
                  <a:pt x="7925" y="142"/>
                </a:lnTo>
                <a:lnTo>
                  <a:pt x="7905" y="148"/>
                </a:lnTo>
                <a:lnTo>
                  <a:pt x="7905" y="148"/>
                </a:lnTo>
                <a:lnTo>
                  <a:pt x="7901" y="150"/>
                </a:lnTo>
                <a:lnTo>
                  <a:pt x="7901" y="150"/>
                </a:lnTo>
                <a:lnTo>
                  <a:pt x="7881" y="158"/>
                </a:lnTo>
                <a:lnTo>
                  <a:pt x="7881" y="158"/>
                </a:lnTo>
                <a:lnTo>
                  <a:pt x="7829" y="178"/>
                </a:lnTo>
                <a:lnTo>
                  <a:pt x="7829" y="178"/>
                </a:lnTo>
                <a:lnTo>
                  <a:pt x="7748" y="206"/>
                </a:lnTo>
                <a:lnTo>
                  <a:pt x="7710" y="218"/>
                </a:lnTo>
                <a:lnTo>
                  <a:pt x="7680" y="229"/>
                </a:lnTo>
                <a:lnTo>
                  <a:pt x="7688" y="229"/>
                </a:lnTo>
                <a:lnTo>
                  <a:pt x="7590" y="263"/>
                </a:lnTo>
                <a:lnTo>
                  <a:pt x="7590" y="263"/>
                </a:lnTo>
                <a:lnTo>
                  <a:pt x="7606" y="255"/>
                </a:lnTo>
                <a:lnTo>
                  <a:pt x="7638" y="245"/>
                </a:lnTo>
                <a:lnTo>
                  <a:pt x="7638" y="245"/>
                </a:lnTo>
                <a:lnTo>
                  <a:pt x="7558" y="271"/>
                </a:lnTo>
                <a:lnTo>
                  <a:pt x="7494" y="295"/>
                </a:lnTo>
                <a:lnTo>
                  <a:pt x="7494" y="295"/>
                </a:lnTo>
                <a:lnTo>
                  <a:pt x="7552" y="277"/>
                </a:lnTo>
                <a:lnTo>
                  <a:pt x="7552" y="277"/>
                </a:lnTo>
                <a:lnTo>
                  <a:pt x="7530" y="287"/>
                </a:lnTo>
                <a:lnTo>
                  <a:pt x="7510" y="291"/>
                </a:lnTo>
                <a:lnTo>
                  <a:pt x="7490" y="297"/>
                </a:lnTo>
                <a:lnTo>
                  <a:pt x="7460" y="307"/>
                </a:lnTo>
                <a:lnTo>
                  <a:pt x="7460" y="307"/>
                </a:lnTo>
                <a:lnTo>
                  <a:pt x="7462" y="307"/>
                </a:lnTo>
                <a:lnTo>
                  <a:pt x="7466" y="305"/>
                </a:lnTo>
                <a:lnTo>
                  <a:pt x="7468" y="303"/>
                </a:lnTo>
                <a:lnTo>
                  <a:pt x="7462" y="303"/>
                </a:lnTo>
                <a:lnTo>
                  <a:pt x="7462" y="303"/>
                </a:lnTo>
                <a:lnTo>
                  <a:pt x="7388" y="331"/>
                </a:lnTo>
                <a:lnTo>
                  <a:pt x="7388" y="331"/>
                </a:lnTo>
                <a:lnTo>
                  <a:pt x="7384" y="331"/>
                </a:lnTo>
                <a:lnTo>
                  <a:pt x="7394" y="327"/>
                </a:lnTo>
                <a:lnTo>
                  <a:pt x="7444" y="309"/>
                </a:lnTo>
                <a:lnTo>
                  <a:pt x="7444" y="309"/>
                </a:lnTo>
                <a:lnTo>
                  <a:pt x="7502" y="289"/>
                </a:lnTo>
                <a:lnTo>
                  <a:pt x="7554" y="273"/>
                </a:lnTo>
                <a:lnTo>
                  <a:pt x="7534" y="277"/>
                </a:lnTo>
                <a:lnTo>
                  <a:pt x="7534" y="277"/>
                </a:lnTo>
                <a:lnTo>
                  <a:pt x="7624" y="247"/>
                </a:lnTo>
                <a:lnTo>
                  <a:pt x="7624" y="247"/>
                </a:lnTo>
                <a:lnTo>
                  <a:pt x="7638" y="239"/>
                </a:lnTo>
                <a:lnTo>
                  <a:pt x="7622" y="245"/>
                </a:lnTo>
                <a:lnTo>
                  <a:pt x="7622" y="245"/>
                </a:lnTo>
                <a:lnTo>
                  <a:pt x="7678" y="222"/>
                </a:lnTo>
                <a:lnTo>
                  <a:pt x="7678" y="222"/>
                </a:lnTo>
                <a:lnTo>
                  <a:pt x="7648" y="235"/>
                </a:lnTo>
                <a:lnTo>
                  <a:pt x="7628" y="243"/>
                </a:lnTo>
                <a:lnTo>
                  <a:pt x="7598" y="255"/>
                </a:lnTo>
                <a:lnTo>
                  <a:pt x="7598" y="255"/>
                </a:lnTo>
                <a:lnTo>
                  <a:pt x="7544" y="273"/>
                </a:lnTo>
                <a:lnTo>
                  <a:pt x="7522" y="279"/>
                </a:lnTo>
                <a:lnTo>
                  <a:pt x="7500" y="287"/>
                </a:lnTo>
                <a:lnTo>
                  <a:pt x="7500" y="287"/>
                </a:lnTo>
                <a:lnTo>
                  <a:pt x="7488" y="289"/>
                </a:lnTo>
                <a:lnTo>
                  <a:pt x="7484" y="291"/>
                </a:lnTo>
                <a:lnTo>
                  <a:pt x="7492" y="287"/>
                </a:lnTo>
                <a:lnTo>
                  <a:pt x="7492" y="287"/>
                </a:lnTo>
                <a:lnTo>
                  <a:pt x="7524" y="275"/>
                </a:lnTo>
                <a:lnTo>
                  <a:pt x="7538" y="271"/>
                </a:lnTo>
                <a:lnTo>
                  <a:pt x="7538" y="271"/>
                </a:lnTo>
                <a:lnTo>
                  <a:pt x="7480" y="289"/>
                </a:lnTo>
                <a:lnTo>
                  <a:pt x="7480" y="289"/>
                </a:lnTo>
                <a:lnTo>
                  <a:pt x="7454" y="301"/>
                </a:lnTo>
                <a:lnTo>
                  <a:pt x="7410" y="317"/>
                </a:lnTo>
                <a:lnTo>
                  <a:pt x="7410" y="317"/>
                </a:lnTo>
                <a:lnTo>
                  <a:pt x="7360" y="335"/>
                </a:lnTo>
                <a:lnTo>
                  <a:pt x="7311" y="349"/>
                </a:lnTo>
                <a:lnTo>
                  <a:pt x="7311" y="349"/>
                </a:lnTo>
                <a:lnTo>
                  <a:pt x="7356" y="335"/>
                </a:lnTo>
                <a:lnTo>
                  <a:pt x="7366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29" y="341"/>
                </a:lnTo>
                <a:lnTo>
                  <a:pt x="7315" y="345"/>
                </a:lnTo>
                <a:lnTo>
                  <a:pt x="7313" y="347"/>
                </a:lnTo>
                <a:lnTo>
                  <a:pt x="7313" y="347"/>
                </a:lnTo>
                <a:lnTo>
                  <a:pt x="7313" y="347"/>
                </a:lnTo>
                <a:lnTo>
                  <a:pt x="7249" y="367"/>
                </a:lnTo>
                <a:lnTo>
                  <a:pt x="7223" y="375"/>
                </a:lnTo>
                <a:lnTo>
                  <a:pt x="7209" y="377"/>
                </a:lnTo>
                <a:lnTo>
                  <a:pt x="7209" y="377"/>
                </a:lnTo>
                <a:lnTo>
                  <a:pt x="7309" y="347"/>
                </a:lnTo>
                <a:lnTo>
                  <a:pt x="7309" y="347"/>
                </a:lnTo>
                <a:lnTo>
                  <a:pt x="7297" y="349"/>
                </a:lnTo>
                <a:lnTo>
                  <a:pt x="7295" y="349"/>
                </a:lnTo>
                <a:lnTo>
                  <a:pt x="7297" y="349"/>
                </a:lnTo>
                <a:lnTo>
                  <a:pt x="7341" y="335"/>
                </a:lnTo>
                <a:lnTo>
                  <a:pt x="7341" y="335"/>
                </a:lnTo>
                <a:lnTo>
                  <a:pt x="7309" y="343"/>
                </a:lnTo>
                <a:lnTo>
                  <a:pt x="7271" y="355"/>
                </a:lnTo>
                <a:lnTo>
                  <a:pt x="7271" y="355"/>
                </a:lnTo>
                <a:lnTo>
                  <a:pt x="7275" y="355"/>
                </a:lnTo>
                <a:lnTo>
                  <a:pt x="7241" y="365"/>
                </a:lnTo>
                <a:lnTo>
                  <a:pt x="7239" y="365"/>
                </a:lnTo>
                <a:lnTo>
                  <a:pt x="7239" y="365"/>
                </a:lnTo>
                <a:lnTo>
                  <a:pt x="7173" y="385"/>
                </a:lnTo>
                <a:lnTo>
                  <a:pt x="7087" y="411"/>
                </a:lnTo>
                <a:lnTo>
                  <a:pt x="7093" y="409"/>
                </a:lnTo>
                <a:lnTo>
                  <a:pt x="7093" y="409"/>
                </a:lnTo>
                <a:lnTo>
                  <a:pt x="7065" y="417"/>
                </a:lnTo>
                <a:lnTo>
                  <a:pt x="7045" y="425"/>
                </a:lnTo>
                <a:lnTo>
                  <a:pt x="7023" y="433"/>
                </a:lnTo>
                <a:lnTo>
                  <a:pt x="6993" y="443"/>
                </a:lnTo>
                <a:lnTo>
                  <a:pt x="6993" y="443"/>
                </a:lnTo>
                <a:lnTo>
                  <a:pt x="7001" y="439"/>
                </a:lnTo>
                <a:lnTo>
                  <a:pt x="6997" y="439"/>
                </a:lnTo>
                <a:lnTo>
                  <a:pt x="6997" y="439"/>
                </a:lnTo>
                <a:lnTo>
                  <a:pt x="6965" y="447"/>
                </a:lnTo>
                <a:lnTo>
                  <a:pt x="6933" y="455"/>
                </a:lnTo>
                <a:lnTo>
                  <a:pt x="6933" y="455"/>
                </a:lnTo>
                <a:lnTo>
                  <a:pt x="6943" y="453"/>
                </a:lnTo>
                <a:lnTo>
                  <a:pt x="6937" y="455"/>
                </a:lnTo>
                <a:lnTo>
                  <a:pt x="6929" y="459"/>
                </a:lnTo>
                <a:lnTo>
                  <a:pt x="6935" y="457"/>
                </a:lnTo>
                <a:lnTo>
                  <a:pt x="6935" y="457"/>
                </a:lnTo>
                <a:lnTo>
                  <a:pt x="6926" y="461"/>
                </a:lnTo>
                <a:lnTo>
                  <a:pt x="6906" y="467"/>
                </a:lnTo>
                <a:lnTo>
                  <a:pt x="6856" y="481"/>
                </a:lnTo>
                <a:lnTo>
                  <a:pt x="6856" y="481"/>
                </a:lnTo>
                <a:lnTo>
                  <a:pt x="6854" y="481"/>
                </a:lnTo>
                <a:lnTo>
                  <a:pt x="6856" y="479"/>
                </a:lnTo>
                <a:lnTo>
                  <a:pt x="6862" y="477"/>
                </a:lnTo>
                <a:lnTo>
                  <a:pt x="6886" y="471"/>
                </a:lnTo>
                <a:lnTo>
                  <a:pt x="6906" y="465"/>
                </a:lnTo>
                <a:lnTo>
                  <a:pt x="6908" y="463"/>
                </a:lnTo>
                <a:lnTo>
                  <a:pt x="6898" y="465"/>
                </a:lnTo>
                <a:lnTo>
                  <a:pt x="6898" y="465"/>
                </a:lnTo>
                <a:lnTo>
                  <a:pt x="6874" y="473"/>
                </a:lnTo>
                <a:lnTo>
                  <a:pt x="6884" y="471"/>
                </a:lnTo>
                <a:lnTo>
                  <a:pt x="6884" y="471"/>
                </a:lnTo>
                <a:lnTo>
                  <a:pt x="6826" y="485"/>
                </a:lnTo>
                <a:lnTo>
                  <a:pt x="6774" y="497"/>
                </a:lnTo>
                <a:lnTo>
                  <a:pt x="6774" y="497"/>
                </a:lnTo>
                <a:lnTo>
                  <a:pt x="6728" y="511"/>
                </a:lnTo>
                <a:lnTo>
                  <a:pt x="6694" y="521"/>
                </a:lnTo>
                <a:lnTo>
                  <a:pt x="6694" y="521"/>
                </a:lnTo>
                <a:lnTo>
                  <a:pt x="6716" y="515"/>
                </a:lnTo>
                <a:lnTo>
                  <a:pt x="6742" y="507"/>
                </a:lnTo>
                <a:lnTo>
                  <a:pt x="6714" y="517"/>
                </a:lnTo>
                <a:lnTo>
                  <a:pt x="6714" y="517"/>
                </a:lnTo>
                <a:lnTo>
                  <a:pt x="6660" y="529"/>
                </a:lnTo>
                <a:lnTo>
                  <a:pt x="6616" y="539"/>
                </a:lnTo>
                <a:lnTo>
                  <a:pt x="6644" y="531"/>
                </a:lnTo>
                <a:lnTo>
                  <a:pt x="6642" y="531"/>
                </a:lnTo>
                <a:lnTo>
                  <a:pt x="6642" y="531"/>
                </a:lnTo>
                <a:lnTo>
                  <a:pt x="6670" y="525"/>
                </a:lnTo>
                <a:lnTo>
                  <a:pt x="6686" y="519"/>
                </a:lnTo>
                <a:lnTo>
                  <a:pt x="6686" y="519"/>
                </a:lnTo>
                <a:lnTo>
                  <a:pt x="6650" y="529"/>
                </a:lnTo>
                <a:lnTo>
                  <a:pt x="6606" y="539"/>
                </a:lnTo>
                <a:lnTo>
                  <a:pt x="6608" y="539"/>
                </a:lnTo>
                <a:lnTo>
                  <a:pt x="6608" y="539"/>
                </a:lnTo>
                <a:lnTo>
                  <a:pt x="6566" y="549"/>
                </a:lnTo>
                <a:lnTo>
                  <a:pt x="6528" y="557"/>
                </a:lnTo>
                <a:lnTo>
                  <a:pt x="6495" y="563"/>
                </a:lnTo>
                <a:lnTo>
                  <a:pt x="6465" y="571"/>
                </a:lnTo>
                <a:lnTo>
                  <a:pt x="6465" y="571"/>
                </a:lnTo>
                <a:lnTo>
                  <a:pt x="6485" y="567"/>
                </a:lnTo>
                <a:lnTo>
                  <a:pt x="6493" y="567"/>
                </a:lnTo>
                <a:lnTo>
                  <a:pt x="6493" y="567"/>
                </a:lnTo>
                <a:lnTo>
                  <a:pt x="6491" y="567"/>
                </a:lnTo>
                <a:lnTo>
                  <a:pt x="6491" y="567"/>
                </a:lnTo>
                <a:lnTo>
                  <a:pt x="6461" y="573"/>
                </a:lnTo>
                <a:lnTo>
                  <a:pt x="6443" y="575"/>
                </a:lnTo>
                <a:lnTo>
                  <a:pt x="6455" y="573"/>
                </a:lnTo>
                <a:lnTo>
                  <a:pt x="6455" y="573"/>
                </a:lnTo>
                <a:lnTo>
                  <a:pt x="6387" y="587"/>
                </a:lnTo>
                <a:lnTo>
                  <a:pt x="6387" y="587"/>
                </a:lnTo>
                <a:lnTo>
                  <a:pt x="6381" y="589"/>
                </a:lnTo>
                <a:lnTo>
                  <a:pt x="6363" y="593"/>
                </a:lnTo>
                <a:lnTo>
                  <a:pt x="6363" y="593"/>
                </a:lnTo>
                <a:lnTo>
                  <a:pt x="6341" y="597"/>
                </a:lnTo>
                <a:lnTo>
                  <a:pt x="6349" y="595"/>
                </a:lnTo>
                <a:lnTo>
                  <a:pt x="6359" y="593"/>
                </a:lnTo>
                <a:lnTo>
                  <a:pt x="6347" y="593"/>
                </a:lnTo>
                <a:lnTo>
                  <a:pt x="6291" y="605"/>
                </a:lnTo>
                <a:lnTo>
                  <a:pt x="6279" y="607"/>
                </a:lnTo>
                <a:lnTo>
                  <a:pt x="6279" y="607"/>
                </a:lnTo>
                <a:lnTo>
                  <a:pt x="6163" y="627"/>
                </a:lnTo>
                <a:lnTo>
                  <a:pt x="6105" y="639"/>
                </a:lnTo>
                <a:lnTo>
                  <a:pt x="6040" y="649"/>
                </a:lnTo>
                <a:lnTo>
                  <a:pt x="6040" y="649"/>
                </a:lnTo>
                <a:lnTo>
                  <a:pt x="6050" y="647"/>
                </a:lnTo>
                <a:lnTo>
                  <a:pt x="6074" y="641"/>
                </a:lnTo>
                <a:lnTo>
                  <a:pt x="6127" y="633"/>
                </a:lnTo>
                <a:lnTo>
                  <a:pt x="6127" y="633"/>
                </a:lnTo>
                <a:lnTo>
                  <a:pt x="6076" y="641"/>
                </a:lnTo>
                <a:lnTo>
                  <a:pt x="6020" y="649"/>
                </a:lnTo>
                <a:lnTo>
                  <a:pt x="6020" y="649"/>
                </a:lnTo>
                <a:lnTo>
                  <a:pt x="5978" y="655"/>
                </a:lnTo>
                <a:lnTo>
                  <a:pt x="5968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34" y="663"/>
                </a:lnTo>
                <a:lnTo>
                  <a:pt x="5930" y="663"/>
                </a:lnTo>
                <a:lnTo>
                  <a:pt x="5930" y="663"/>
                </a:lnTo>
                <a:lnTo>
                  <a:pt x="5888" y="671"/>
                </a:lnTo>
                <a:lnTo>
                  <a:pt x="5828" y="680"/>
                </a:lnTo>
                <a:lnTo>
                  <a:pt x="5828" y="680"/>
                </a:lnTo>
                <a:lnTo>
                  <a:pt x="5774" y="688"/>
                </a:lnTo>
                <a:lnTo>
                  <a:pt x="5774" y="688"/>
                </a:lnTo>
                <a:lnTo>
                  <a:pt x="5780" y="688"/>
                </a:lnTo>
                <a:lnTo>
                  <a:pt x="5776" y="690"/>
                </a:lnTo>
                <a:lnTo>
                  <a:pt x="5762" y="692"/>
                </a:lnTo>
                <a:lnTo>
                  <a:pt x="5762" y="692"/>
                </a:lnTo>
                <a:lnTo>
                  <a:pt x="5804" y="688"/>
                </a:lnTo>
                <a:lnTo>
                  <a:pt x="5848" y="680"/>
                </a:lnTo>
                <a:lnTo>
                  <a:pt x="5892" y="673"/>
                </a:lnTo>
                <a:lnTo>
                  <a:pt x="5934" y="667"/>
                </a:lnTo>
                <a:lnTo>
                  <a:pt x="5934" y="667"/>
                </a:lnTo>
                <a:lnTo>
                  <a:pt x="5928" y="669"/>
                </a:lnTo>
                <a:lnTo>
                  <a:pt x="5928" y="669"/>
                </a:lnTo>
                <a:lnTo>
                  <a:pt x="5930" y="669"/>
                </a:lnTo>
                <a:lnTo>
                  <a:pt x="5924" y="671"/>
                </a:lnTo>
                <a:lnTo>
                  <a:pt x="5924" y="671"/>
                </a:lnTo>
                <a:lnTo>
                  <a:pt x="5906" y="673"/>
                </a:lnTo>
                <a:lnTo>
                  <a:pt x="5906" y="673"/>
                </a:lnTo>
                <a:lnTo>
                  <a:pt x="5890" y="677"/>
                </a:lnTo>
                <a:lnTo>
                  <a:pt x="5904" y="675"/>
                </a:lnTo>
                <a:lnTo>
                  <a:pt x="5904" y="675"/>
                </a:lnTo>
                <a:lnTo>
                  <a:pt x="5894" y="677"/>
                </a:lnTo>
                <a:lnTo>
                  <a:pt x="5870" y="682"/>
                </a:lnTo>
                <a:lnTo>
                  <a:pt x="5806" y="692"/>
                </a:lnTo>
                <a:lnTo>
                  <a:pt x="5806" y="692"/>
                </a:lnTo>
                <a:lnTo>
                  <a:pt x="5798" y="692"/>
                </a:lnTo>
                <a:lnTo>
                  <a:pt x="5812" y="690"/>
                </a:lnTo>
                <a:lnTo>
                  <a:pt x="5854" y="682"/>
                </a:lnTo>
                <a:lnTo>
                  <a:pt x="5854" y="682"/>
                </a:lnTo>
                <a:lnTo>
                  <a:pt x="5832" y="686"/>
                </a:lnTo>
                <a:lnTo>
                  <a:pt x="5804" y="690"/>
                </a:lnTo>
                <a:lnTo>
                  <a:pt x="5810" y="686"/>
                </a:lnTo>
                <a:lnTo>
                  <a:pt x="5810" y="686"/>
                </a:lnTo>
                <a:lnTo>
                  <a:pt x="5780" y="692"/>
                </a:lnTo>
                <a:lnTo>
                  <a:pt x="5784" y="692"/>
                </a:lnTo>
                <a:lnTo>
                  <a:pt x="5786" y="692"/>
                </a:lnTo>
                <a:lnTo>
                  <a:pt x="5782" y="694"/>
                </a:lnTo>
                <a:lnTo>
                  <a:pt x="5782" y="694"/>
                </a:lnTo>
                <a:lnTo>
                  <a:pt x="5768" y="696"/>
                </a:lnTo>
                <a:lnTo>
                  <a:pt x="5750" y="698"/>
                </a:lnTo>
                <a:lnTo>
                  <a:pt x="5718" y="702"/>
                </a:lnTo>
                <a:lnTo>
                  <a:pt x="5734" y="700"/>
                </a:lnTo>
                <a:lnTo>
                  <a:pt x="5734" y="700"/>
                </a:lnTo>
                <a:lnTo>
                  <a:pt x="5688" y="706"/>
                </a:lnTo>
                <a:lnTo>
                  <a:pt x="5643" y="712"/>
                </a:lnTo>
                <a:lnTo>
                  <a:pt x="5625" y="714"/>
                </a:lnTo>
                <a:lnTo>
                  <a:pt x="5625" y="714"/>
                </a:lnTo>
                <a:lnTo>
                  <a:pt x="5655" y="710"/>
                </a:lnTo>
                <a:lnTo>
                  <a:pt x="5676" y="706"/>
                </a:lnTo>
                <a:lnTo>
                  <a:pt x="5694" y="704"/>
                </a:lnTo>
                <a:lnTo>
                  <a:pt x="5712" y="700"/>
                </a:lnTo>
                <a:lnTo>
                  <a:pt x="5712" y="700"/>
                </a:lnTo>
                <a:lnTo>
                  <a:pt x="5684" y="702"/>
                </a:lnTo>
                <a:lnTo>
                  <a:pt x="5696" y="700"/>
                </a:lnTo>
                <a:lnTo>
                  <a:pt x="5748" y="690"/>
                </a:lnTo>
                <a:lnTo>
                  <a:pt x="5748" y="690"/>
                </a:lnTo>
                <a:lnTo>
                  <a:pt x="5674" y="700"/>
                </a:lnTo>
                <a:lnTo>
                  <a:pt x="5674" y="700"/>
                </a:lnTo>
                <a:lnTo>
                  <a:pt x="5639" y="704"/>
                </a:lnTo>
                <a:lnTo>
                  <a:pt x="5605" y="710"/>
                </a:lnTo>
                <a:lnTo>
                  <a:pt x="5571" y="714"/>
                </a:lnTo>
                <a:lnTo>
                  <a:pt x="5537" y="718"/>
                </a:lnTo>
                <a:lnTo>
                  <a:pt x="5537" y="718"/>
                </a:lnTo>
                <a:lnTo>
                  <a:pt x="5531" y="718"/>
                </a:lnTo>
                <a:lnTo>
                  <a:pt x="5537" y="718"/>
                </a:lnTo>
                <a:lnTo>
                  <a:pt x="5541" y="716"/>
                </a:lnTo>
                <a:lnTo>
                  <a:pt x="5533" y="718"/>
                </a:lnTo>
                <a:lnTo>
                  <a:pt x="5533" y="718"/>
                </a:lnTo>
                <a:lnTo>
                  <a:pt x="5391" y="736"/>
                </a:lnTo>
                <a:lnTo>
                  <a:pt x="5391" y="736"/>
                </a:lnTo>
                <a:lnTo>
                  <a:pt x="5371" y="738"/>
                </a:lnTo>
                <a:lnTo>
                  <a:pt x="5363" y="736"/>
                </a:lnTo>
                <a:lnTo>
                  <a:pt x="5363" y="736"/>
                </a:lnTo>
                <a:lnTo>
                  <a:pt x="5285" y="746"/>
                </a:lnTo>
                <a:lnTo>
                  <a:pt x="5218" y="754"/>
                </a:lnTo>
                <a:lnTo>
                  <a:pt x="5150" y="762"/>
                </a:lnTo>
                <a:lnTo>
                  <a:pt x="5064" y="772"/>
                </a:lnTo>
                <a:lnTo>
                  <a:pt x="5082" y="768"/>
                </a:lnTo>
                <a:lnTo>
                  <a:pt x="5082" y="768"/>
                </a:lnTo>
                <a:lnTo>
                  <a:pt x="5046" y="772"/>
                </a:lnTo>
                <a:lnTo>
                  <a:pt x="5018" y="776"/>
                </a:lnTo>
                <a:lnTo>
                  <a:pt x="5018" y="776"/>
                </a:lnTo>
                <a:lnTo>
                  <a:pt x="4984" y="778"/>
                </a:lnTo>
                <a:lnTo>
                  <a:pt x="4940" y="784"/>
                </a:lnTo>
                <a:lnTo>
                  <a:pt x="4896" y="788"/>
                </a:lnTo>
                <a:lnTo>
                  <a:pt x="4856" y="792"/>
                </a:lnTo>
                <a:lnTo>
                  <a:pt x="4856" y="792"/>
                </a:lnTo>
                <a:lnTo>
                  <a:pt x="4797" y="798"/>
                </a:lnTo>
                <a:lnTo>
                  <a:pt x="4749" y="806"/>
                </a:lnTo>
                <a:lnTo>
                  <a:pt x="4749" y="806"/>
                </a:lnTo>
                <a:lnTo>
                  <a:pt x="4753" y="804"/>
                </a:lnTo>
                <a:lnTo>
                  <a:pt x="4739" y="804"/>
                </a:lnTo>
                <a:lnTo>
                  <a:pt x="4739" y="804"/>
                </a:lnTo>
                <a:lnTo>
                  <a:pt x="4288" y="854"/>
                </a:lnTo>
                <a:lnTo>
                  <a:pt x="4288" y="854"/>
                </a:lnTo>
                <a:lnTo>
                  <a:pt x="4302" y="852"/>
                </a:lnTo>
                <a:lnTo>
                  <a:pt x="4302" y="852"/>
                </a:lnTo>
                <a:lnTo>
                  <a:pt x="4146" y="868"/>
                </a:lnTo>
                <a:lnTo>
                  <a:pt x="4002" y="884"/>
                </a:lnTo>
                <a:lnTo>
                  <a:pt x="4002" y="884"/>
                </a:lnTo>
                <a:lnTo>
                  <a:pt x="3963" y="888"/>
                </a:lnTo>
                <a:lnTo>
                  <a:pt x="3949" y="890"/>
                </a:lnTo>
                <a:lnTo>
                  <a:pt x="3947" y="890"/>
                </a:lnTo>
                <a:lnTo>
                  <a:pt x="3951" y="892"/>
                </a:lnTo>
                <a:lnTo>
                  <a:pt x="3951" y="892"/>
                </a:lnTo>
                <a:lnTo>
                  <a:pt x="3969" y="890"/>
                </a:lnTo>
                <a:lnTo>
                  <a:pt x="3973" y="890"/>
                </a:lnTo>
                <a:lnTo>
                  <a:pt x="3973" y="892"/>
                </a:lnTo>
                <a:lnTo>
                  <a:pt x="3973" y="892"/>
                </a:lnTo>
                <a:lnTo>
                  <a:pt x="3933" y="896"/>
                </a:lnTo>
                <a:lnTo>
                  <a:pt x="3917" y="896"/>
                </a:lnTo>
                <a:lnTo>
                  <a:pt x="3907" y="896"/>
                </a:lnTo>
                <a:lnTo>
                  <a:pt x="3881" y="898"/>
                </a:lnTo>
                <a:lnTo>
                  <a:pt x="3881" y="898"/>
                </a:lnTo>
                <a:lnTo>
                  <a:pt x="3877" y="898"/>
                </a:lnTo>
                <a:lnTo>
                  <a:pt x="3879" y="898"/>
                </a:lnTo>
                <a:lnTo>
                  <a:pt x="3891" y="896"/>
                </a:lnTo>
                <a:lnTo>
                  <a:pt x="3907" y="894"/>
                </a:lnTo>
                <a:lnTo>
                  <a:pt x="3913" y="892"/>
                </a:lnTo>
                <a:lnTo>
                  <a:pt x="3837" y="902"/>
                </a:lnTo>
                <a:lnTo>
                  <a:pt x="3837" y="902"/>
                </a:lnTo>
                <a:lnTo>
                  <a:pt x="3775" y="908"/>
                </a:lnTo>
                <a:lnTo>
                  <a:pt x="3715" y="914"/>
                </a:lnTo>
                <a:lnTo>
                  <a:pt x="3715" y="914"/>
                </a:lnTo>
                <a:lnTo>
                  <a:pt x="3727" y="912"/>
                </a:lnTo>
                <a:lnTo>
                  <a:pt x="3747" y="910"/>
                </a:lnTo>
                <a:lnTo>
                  <a:pt x="3747" y="910"/>
                </a:lnTo>
                <a:lnTo>
                  <a:pt x="3743" y="910"/>
                </a:lnTo>
                <a:lnTo>
                  <a:pt x="3743" y="910"/>
                </a:lnTo>
                <a:lnTo>
                  <a:pt x="3791" y="904"/>
                </a:lnTo>
                <a:lnTo>
                  <a:pt x="3833" y="900"/>
                </a:lnTo>
                <a:lnTo>
                  <a:pt x="3833" y="900"/>
                </a:lnTo>
                <a:lnTo>
                  <a:pt x="3671" y="916"/>
                </a:lnTo>
                <a:lnTo>
                  <a:pt x="3671" y="916"/>
                </a:lnTo>
                <a:lnTo>
                  <a:pt x="3673" y="916"/>
                </a:lnTo>
                <a:lnTo>
                  <a:pt x="3669" y="918"/>
                </a:lnTo>
                <a:lnTo>
                  <a:pt x="3655" y="918"/>
                </a:lnTo>
                <a:lnTo>
                  <a:pt x="3623" y="922"/>
                </a:lnTo>
                <a:lnTo>
                  <a:pt x="3621" y="922"/>
                </a:lnTo>
                <a:lnTo>
                  <a:pt x="3621" y="922"/>
                </a:lnTo>
                <a:lnTo>
                  <a:pt x="3585" y="928"/>
                </a:lnTo>
                <a:lnTo>
                  <a:pt x="3573" y="926"/>
                </a:lnTo>
                <a:lnTo>
                  <a:pt x="3573" y="926"/>
                </a:lnTo>
                <a:lnTo>
                  <a:pt x="3566" y="928"/>
                </a:lnTo>
                <a:lnTo>
                  <a:pt x="3558" y="930"/>
                </a:lnTo>
                <a:lnTo>
                  <a:pt x="3558" y="930"/>
                </a:lnTo>
                <a:lnTo>
                  <a:pt x="3484" y="938"/>
                </a:lnTo>
                <a:lnTo>
                  <a:pt x="3446" y="940"/>
                </a:lnTo>
                <a:lnTo>
                  <a:pt x="3426" y="942"/>
                </a:lnTo>
                <a:lnTo>
                  <a:pt x="3426" y="942"/>
                </a:lnTo>
                <a:lnTo>
                  <a:pt x="3348" y="950"/>
                </a:lnTo>
                <a:lnTo>
                  <a:pt x="3348" y="950"/>
                </a:lnTo>
                <a:lnTo>
                  <a:pt x="3360" y="948"/>
                </a:lnTo>
                <a:lnTo>
                  <a:pt x="3360" y="948"/>
                </a:lnTo>
                <a:lnTo>
                  <a:pt x="3242" y="960"/>
                </a:lnTo>
                <a:lnTo>
                  <a:pt x="3125" y="970"/>
                </a:lnTo>
                <a:lnTo>
                  <a:pt x="3125" y="970"/>
                </a:lnTo>
                <a:lnTo>
                  <a:pt x="2985" y="986"/>
                </a:lnTo>
                <a:lnTo>
                  <a:pt x="2985" y="986"/>
                </a:lnTo>
                <a:lnTo>
                  <a:pt x="3017" y="982"/>
                </a:lnTo>
                <a:lnTo>
                  <a:pt x="3025" y="982"/>
                </a:lnTo>
                <a:lnTo>
                  <a:pt x="3017" y="984"/>
                </a:lnTo>
                <a:lnTo>
                  <a:pt x="3017" y="984"/>
                </a:lnTo>
                <a:lnTo>
                  <a:pt x="2955" y="990"/>
                </a:lnTo>
                <a:lnTo>
                  <a:pt x="2955" y="990"/>
                </a:lnTo>
                <a:lnTo>
                  <a:pt x="2933" y="992"/>
                </a:lnTo>
                <a:lnTo>
                  <a:pt x="2925" y="992"/>
                </a:lnTo>
                <a:lnTo>
                  <a:pt x="2943" y="990"/>
                </a:lnTo>
                <a:lnTo>
                  <a:pt x="2943" y="990"/>
                </a:lnTo>
                <a:lnTo>
                  <a:pt x="2921" y="992"/>
                </a:lnTo>
                <a:lnTo>
                  <a:pt x="2887" y="994"/>
                </a:lnTo>
                <a:lnTo>
                  <a:pt x="2855" y="998"/>
                </a:lnTo>
                <a:lnTo>
                  <a:pt x="2841" y="998"/>
                </a:lnTo>
                <a:lnTo>
                  <a:pt x="2841" y="998"/>
                </a:lnTo>
                <a:lnTo>
                  <a:pt x="2795" y="1002"/>
                </a:lnTo>
                <a:lnTo>
                  <a:pt x="2739" y="1010"/>
                </a:lnTo>
                <a:lnTo>
                  <a:pt x="2739" y="1010"/>
                </a:lnTo>
                <a:lnTo>
                  <a:pt x="2755" y="1006"/>
                </a:lnTo>
                <a:lnTo>
                  <a:pt x="2775" y="1004"/>
                </a:lnTo>
                <a:lnTo>
                  <a:pt x="2743" y="1008"/>
                </a:lnTo>
                <a:lnTo>
                  <a:pt x="2743" y="1008"/>
                </a:lnTo>
                <a:lnTo>
                  <a:pt x="2743" y="1008"/>
                </a:lnTo>
                <a:lnTo>
                  <a:pt x="2682" y="1014"/>
                </a:lnTo>
                <a:lnTo>
                  <a:pt x="2638" y="1020"/>
                </a:lnTo>
                <a:lnTo>
                  <a:pt x="2640" y="1020"/>
                </a:lnTo>
                <a:lnTo>
                  <a:pt x="2616" y="1022"/>
                </a:lnTo>
                <a:lnTo>
                  <a:pt x="2644" y="1018"/>
                </a:lnTo>
                <a:lnTo>
                  <a:pt x="2644" y="1018"/>
                </a:lnTo>
                <a:lnTo>
                  <a:pt x="2546" y="1028"/>
                </a:lnTo>
                <a:lnTo>
                  <a:pt x="2542" y="1028"/>
                </a:lnTo>
                <a:lnTo>
                  <a:pt x="2516" y="1032"/>
                </a:lnTo>
                <a:lnTo>
                  <a:pt x="2516" y="1032"/>
                </a:lnTo>
                <a:lnTo>
                  <a:pt x="2520" y="1030"/>
                </a:lnTo>
                <a:lnTo>
                  <a:pt x="2520" y="1030"/>
                </a:lnTo>
                <a:lnTo>
                  <a:pt x="2470" y="1036"/>
                </a:lnTo>
                <a:lnTo>
                  <a:pt x="2420" y="1042"/>
                </a:lnTo>
                <a:lnTo>
                  <a:pt x="2420" y="1042"/>
                </a:lnTo>
                <a:lnTo>
                  <a:pt x="2396" y="1044"/>
                </a:lnTo>
                <a:lnTo>
                  <a:pt x="2368" y="1046"/>
                </a:lnTo>
                <a:lnTo>
                  <a:pt x="2372" y="1044"/>
                </a:lnTo>
                <a:lnTo>
                  <a:pt x="2372" y="1044"/>
                </a:lnTo>
                <a:lnTo>
                  <a:pt x="2410" y="1040"/>
                </a:lnTo>
                <a:lnTo>
                  <a:pt x="2450" y="1038"/>
                </a:lnTo>
                <a:lnTo>
                  <a:pt x="2450" y="1038"/>
                </a:lnTo>
                <a:lnTo>
                  <a:pt x="2406" y="1040"/>
                </a:lnTo>
                <a:lnTo>
                  <a:pt x="2342" y="1044"/>
                </a:lnTo>
                <a:lnTo>
                  <a:pt x="2205" y="1058"/>
                </a:lnTo>
                <a:lnTo>
                  <a:pt x="2205" y="1058"/>
                </a:lnTo>
                <a:lnTo>
                  <a:pt x="2091" y="1068"/>
                </a:lnTo>
                <a:lnTo>
                  <a:pt x="2039" y="1072"/>
                </a:lnTo>
                <a:lnTo>
                  <a:pt x="2005" y="1078"/>
                </a:lnTo>
                <a:lnTo>
                  <a:pt x="2013" y="1076"/>
                </a:lnTo>
                <a:lnTo>
                  <a:pt x="1903" y="1084"/>
                </a:lnTo>
                <a:lnTo>
                  <a:pt x="1903" y="1084"/>
                </a:lnTo>
                <a:lnTo>
                  <a:pt x="1764" y="1096"/>
                </a:lnTo>
                <a:lnTo>
                  <a:pt x="1642" y="1108"/>
                </a:lnTo>
                <a:lnTo>
                  <a:pt x="1622" y="1108"/>
                </a:lnTo>
                <a:lnTo>
                  <a:pt x="1622" y="1108"/>
                </a:lnTo>
                <a:lnTo>
                  <a:pt x="1552" y="1116"/>
                </a:lnTo>
                <a:lnTo>
                  <a:pt x="1463" y="1124"/>
                </a:lnTo>
                <a:lnTo>
                  <a:pt x="1381" y="1130"/>
                </a:lnTo>
                <a:lnTo>
                  <a:pt x="1323" y="1139"/>
                </a:lnTo>
                <a:lnTo>
                  <a:pt x="1323" y="1139"/>
                </a:lnTo>
                <a:lnTo>
                  <a:pt x="1309" y="1139"/>
                </a:lnTo>
                <a:lnTo>
                  <a:pt x="1315" y="1139"/>
                </a:lnTo>
                <a:lnTo>
                  <a:pt x="1341" y="1135"/>
                </a:lnTo>
                <a:lnTo>
                  <a:pt x="1341" y="1135"/>
                </a:lnTo>
                <a:lnTo>
                  <a:pt x="1285" y="1141"/>
                </a:lnTo>
                <a:lnTo>
                  <a:pt x="1255" y="1143"/>
                </a:lnTo>
                <a:lnTo>
                  <a:pt x="1229" y="1145"/>
                </a:lnTo>
                <a:lnTo>
                  <a:pt x="1229" y="1145"/>
                </a:lnTo>
                <a:lnTo>
                  <a:pt x="1249" y="1143"/>
                </a:lnTo>
                <a:lnTo>
                  <a:pt x="1257" y="1141"/>
                </a:lnTo>
                <a:lnTo>
                  <a:pt x="1253" y="1141"/>
                </a:lnTo>
                <a:lnTo>
                  <a:pt x="1253" y="1141"/>
                </a:lnTo>
                <a:lnTo>
                  <a:pt x="1225" y="1143"/>
                </a:lnTo>
                <a:lnTo>
                  <a:pt x="1195" y="1145"/>
                </a:lnTo>
                <a:lnTo>
                  <a:pt x="1195" y="1145"/>
                </a:lnTo>
                <a:lnTo>
                  <a:pt x="1197" y="1145"/>
                </a:lnTo>
                <a:lnTo>
                  <a:pt x="1193" y="1147"/>
                </a:lnTo>
                <a:lnTo>
                  <a:pt x="1175" y="1149"/>
                </a:lnTo>
                <a:lnTo>
                  <a:pt x="1119" y="1155"/>
                </a:lnTo>
                <a:lnTo>
                  <a:pt x="1119" y="1155"/>
                </a:lnTo>
                <a:lnTo>
                  <a:pt x="1129" y="1153"/>
                </a:lnTo>
                <a:lnTo>
                  <a:pt x="1129" y="1153"/>
                </a:lnTo>
                <a:lnTo>
                  <a:pt x="1117" y="1155"/>
                </a:lnTo>
                <a:lnTo>
                  <a:pt x="1091" y="1157"/>
                </a:lnTo>
                <a:lnTo>
                  <a:pt x="1091" y="1157"/>
                </a:lnTo>
                <a:lnTo>
                  <a:pt x="1097" y="1157"/>
                </a:lnTo>
                <a:lnTo>
                  <a:pt x="1097" y="1157"/>
                </a:lnTo>
                <a:lnTo>
                  <a:pt x="790" y="1181"/>
                </a:lnTo>
                <a:lnTo>
                  <a:pt x="634" y="1191"/>
                </a:lnTo>
                <a:lnTo>
                  <a:pt x="477" y="1199"/>
                </a:lnTo>
                <a:lnTo>
                  <a:pt x="515" y="1197"/>
                </a:lnTo>
                <a:lnTo>
                  <a:pt x="515" y="1197"/>
                </a:lnTo>
                <a:lnTo>
                  <a:pt x="461" y="1199"/>
                </a:lnTo>
                <a:lnTo>
                  <a:pt x="417" y="1201"/>
                </a:lnTo>
                <a:lnTo>
                  <a:pt x="421" y="1201"/>
                </a:lnTo>
                <a:lnTo>
                  <a:pt x="421" y="1201"/>
                </a:lnTo>
                <a:lnTo>
                  <a:pt x="389" y="1203"/>
                </a:lnTo>
                <a:lnTo>
                  <a:pt x="365" y="1203"/>
                </a:lnTo>
                <a:lnTo>
                  <a:pt x="345" y="1205"/>
                </a:lnTo>
                <a:lnTo>
                  <a:pt x="319" y="1205"/>
                </a:lnTo>
                <a:lnTo>
                  <a:pt x="327" y="1205"/>
                </a:lnTo>
                <a:lnTo>
                  <a:pt x="327" y="1205"/>
                </a:lnTo>
                <a:lnTo>
                  <a:pt x="243" y="1207"/>
                </a:lnTo>
                <a:lnTo>
                  <a:pt x="158" y="1211"/>
                </a:lnTo>
                <a:lnTo>
                  <a:pt x="158" y="1211"/>
                </a:lnTo>
                <a:lnTo>
                  <a:pt x="112" y="1209"/>
                </a:lnTo>
                <a:lnTo>
                  <a:pt x="78" y="1209"/>
                </a:lnTo>
                <a:lnTo>
                  <a:pt x="78" y="1209"/>
                </a:lnTo>
                <a:lnTo>
                  <a:pt x="34" y="1209"/>
                </a:lnTo>
                <a:lnTo>
                  <a:pt x="48" y="1209"/>
                </a:lnTo>
                <a:lnTo>
                  <a:pt x="48" y="1209"/>
                </a:lnTo>
                <a:lnTo>
                  <a:pt x="52" y="1211"/>
                </a:lnTo>
                <a:lnTo>
                  <a:pt x="50" y="1211"/>
                </a:lnTo>
                <a:lnTo>
                  <a:pt x="36" y="1211"/>
                </a:lnTo>
                <a:lnTo>
                  <a:pt x="36" y="1211"/>
                </a:lnTo>
                <a:lnTo>
                  <a:pt x="16" y="1209"/>
                </a:lnTo>
                <a:lnTo>
                  <a:pt x="16" y="1209"/>
                </a:lnTo>
                <a:lnTo>
                  <a:pt x="6" y="1207"/>
                </a:lnTo>
                <a:lnTo>
                  <a:pt x="6" y="1207"/>
                </a:lnTo>
                <a:lnTo>
                  <a:pt x="4" y="1207"/>
                </a:lnTo>
                <a:lnTo>
                  <a:pt x="0" y="1205"/>
                </a:lnTo>
                <a:lnTo>
                  <a:pt x="0" y="1205"/>
                </a:lnTo>
                <a:lnTo>
                  <a:pt x="4" y="1209"/>
                </a:lnTo>
                <a:lnTo>
                  <a:pt x="4" y="1209"/>
                </a:lnTo>
                <a:lnTo>
                  <a:pt x="6" y="1209"/>
                </a:lnTo>
                <a:lnTo>
                  <a:pt x="6" y="1209"/>
                </a:lnTo>
                <a:lnTo>
                  <a:pt x="14" y="1213"/>
                </a:lnTo>
                <a:lnTo>
                  <a:pt x="14" y="1213"/>
                </a:lnTo>
                <a:lnTo>
                  <a:pt x="30" y="1215"/>
                </a:lnTo>
                <a:lnTo>
                  <a:pt x="62" y="1219"/>
                </a:lnTo>
                <a:lnTo>
                  <a:pt x="62" y="1219"/>
                </a:lnTo>
                <a:lnTo>
                  <a:pt x="88" y="1219"/>
                </a:lnTo>
                <a:lnTo>
                  <a:pt x="106" y="1219"/>
                </a:lnTo>
                <a:lnTo>
                  <a:pt x="124" y="1221"/>
                </a:lnTo>
                <a:lnTo>
                  <a:pt x="152" y="1221"/>
                </a:lnTo>
                <a:lnTo>
                  <a:pt x="152" y="1221"/>
                </a:lnTo>
                <a:lnTo>
                  <a:pt x="176" y="1219"/>
                </a:lnTo>
                <a:lnTo>
                  <a:pt x="204" y="1219"/>
                </a:lnTo>
                <a:lnTo>
                  <a:pt x="235" y="1219"/>
                </a:lnTo>
                <a:lnTo>
                  <a:pt x="267" y="1217"/>
                </a:lnTo>
                <a:lnTo>
                  <a:pt x="267" y="1217"/>
                </a:lnTo>
                <a:lnTo>
                  <a:pt x="263" y="1217"/>
                </a:lnTo>
                <a:lnTo>
                  <a:pt x="265" y="1217"/>
                </a:lnTo>
                <a:lnTo>
                  <a:pt x="281" y="1217"/>
                </a:lnTo>
                <a:lnTo>
                  <a:pt x="293" y="1217"/>
                </a:lnTo>
                <a:lnTo>
                  <a:pt x="283" y="1219"/>
                </a:lnTo>
                <a:lnTo>
                  <a:pt x="283" y="1219"/>
                </a:lnTo>
                <a:lnTo>
                  <a:pt x="341" y="1215"/>
                </a:lnTo>
                <a:lnTo>
                  <a:pt x="411" y="1213"/>
                </a:lnTo>
                <a:lnTo>
                  <a:pt x="411" y="1213"/>
                </a:lnTo>
                <a:lnTo>
                  <a:pt x="399" y="1215"/>
                </a:lnTo>
                <a:lnTo>
                  <a:pt x="399" y="1215"/>
                </a:lnTo>
                <a:lnTo>
                  <a:pt x="439" y="1213"/>
                </a:lnTo>
                <a:lnTo>
                  <a:pt x="469" y="1211"/>
                </a:lnTo>
                <a:lnTo>
                  <a:pt x="467" y="1211"/>
                </a:lnTo>
                <a:lnTo>
                  <a:pt x="467" y="1211"/>
                </a:lnTo>
                <a:lnTo>
                  <a:pt x="497" y="1209"/>
                </a:lnTo>
                <a:lnTo>
                  <a:pt x="497" y="1209"/>
                </a:lnTo>
                <a:lnTo>
                  <a:pt x="481" y="1209"/>
                </a:lnTo>
                <a:lnTo>
                  <a:pt x="475" y="1209"/>
                </a:lnTo>
                <a:lnTo>
                  <a:pt x="479" y="1209"/>
                </a:lnTo>
                <a:lnTo>
                  <a:pt x="479" y="1209"/>
                </a:lnTo>
                <a:lnTo>
                  <a:pt x="527" y="1205"/>
                </a:lnTo>
                <a:lnTo>
                  <a:pt x="527" y="1205"/>
                </a:lnTo>
                <a:lnTo>
                  <a:pt x="505" y="1207"/>
                </a:lnTo>
                <a:lnTo>
                  <a:pt x="505" y="1207"/>
                </a:lnTo>
                <a:lnTo>
                  <a:pt x="547" y="1205"/>
                </a:lnTo>
                <a:lnTo>
                  <a:pt x="547" y="1205"/>
                </a:lnTo>
                <a:lnTo>
                  <a:pt x="503" y="1209"/>
                </a:lnTo>
                <a:lnTo>
                  <a:pt x="503" y="1209"/>
                </a:lnTo>
                <a:lnTo>
                  <a:pt x="529" y="1209"/>
                </a:lnTo>
                <a:lnTo>
                  <a:pt x="525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7" y="1209"/>
                </a:lnTo>
                <a:lnTo>
                  <a:pt x="555" y="1207"/>
                </a:lnTo>
                <a:lnTo>
                  <a:pt x="605" y="1205"/>
                </a:lnTo>
                <a:lnTo>
                  <a:pt x="605" y="1205"/>
                </a:lnTo>
                <a:lnTo>
                  <a:pt x="595" y="1205"/>
                </a:lnTo>
                <a:lnTo>
                  <a:pt x="579" y="1207"/>
                </a:lnTo>
                <a:lnTo>
                  <a:pt x="579" y="1207"/>
                </a:lnTo>
                <a:lnTo>
                  <a:pt x="615" y="1205"/>
                </a:lnTo>
                <a:lnTo>
                  <a:pt x="648" y="1203"/>
                </a:lnTo>
                <a:lnTo>
                  <a:pt x="728" y="1197"/>
                </a:lnTo>
                <a:lnTo>
                  <a:pt x="728" y="1197"/>
                </a:lnTo>
                <a:lnTo>
                  <a:pt x="714" y="1199"/>
                </a:lnTo>
                <a:lnTo>
                  <a:pt x="714" y="1199"/>
                </a:lnTo>
                <a:lnTo>
                  <a:pt x="756" y="1197"/>
                </a:lnTo>
                <a:lnTo>
                  <a:pt x="788" y="1195"/>
                </a:lnTo>
                <a:lnTo>
                  <a:pt x="788" y="1195"/>
                </a:lnTo>
                <a:lnTo>
                  <a:pt x="804" y="1193"/>
                </a:lnTo>
                <a:lnTo>
                  <a:pt x="808" y="1195"/>
                </a:lnTo>
                <a:lnTo>
                  <a:pt x="842" y="1193"/>
                </a:lnTo>
                <a:lnTo>
                  <a:pt x="842" y="1193"/>
                </a:lnTo>
                <a:lnTo>
                  <a:pt x="840" y="1193"/>
                </a:lnTo>
                <a:lnTo>
                  <a:pt x="844" y="1191"/>
                </a:lnTo>
                <a:lnTo>
                  <a:pt x="864" y="1191"/>
                </a:lnTo>
                <a:lnTo>
                  <a:pt x="886" y="1189"/>
                </a:lnTo>
                <a:lnTo>
                  <a:pt x="898" y="1187"/>
                </a:lnTo>
                <a:lnTo>
                  <a:pt x="934" y="1185"/>
                </a:lnTo>
                <a:lnTo>
                  <a:pt x="934" y="1185"/>
                </a:lnTo>
                <a:lnTo>
                  <a:pt x="948" y="1183"/>
                </a:lnTo>
                <a:lnTo>
                  <a:pt x="950" y="1183"/>
                </a:lnTo>
                <a:lnTo>
                  <a:pt x="958" y="1181"/>
                </a:lnTo>
                <a:lnTo>
                  <a:pt x="988" y="1177"/>
                </a:lnTo>
                <a:lnTo>
                  <a:pt x="988" y="1177"/>
                </a:lnTo>
                <a:lnTo>
                  <a:pt x="1012" y="1177"/>
                </a:lnTo>
                <a:lnTo>
                  <a:pt x="1014" y="1177"/>
                </a:lnTo>
                <a:lnTo>
                  <a:pt x="1012" y="1179"/>
                </a:lnTo>
                <a:lnTo>
                  <a:pt x="1006" y="1181"/>
                </a:lnTo>
                <a:lnTo>
                  <a:pt x="1016" y="1181"/>
                </a:lnTo>
                <a:lnTo>
                  <a:pt x="1030" y="1179"/>
                </a:lnTo>
                <a:lnTo>
                  <a:pt x="1059" y="1177"/>
                </a:lnTo>
                <a:lnTo>
                  <a:pt x="1055" y="1177"/>
                </a:lnTo>
                <a:lnTo>
                  <a:pt x="1055" y="1177"/>
                </a:lnTo>
                <a:lnTo>
                  <a:pt x="1103" y="1175"/>
                </a:lnTo>
                <a:lnTo>
                  <a:pt x="1103" y="1175"/>
                </a:lnTo>
                <a:lnTo>
                  <a:pt x="1079" y="1177"/>
                </a:lnTo>
                <a:lnTo>
                  <a:pt x="1079" y="1177"/>
                </a:lnTo>
                <a:lnTo>
                  <a:pt x="1147" y="1173"/>
                </a:lnTo>
                <a:lnTo>
                  <a:pt x="1187" y="1171"/>
                </a:lnTo>
                <a:lnTo>
                  <a:pt x="1217" y="1167"/>
                </a:lnTo>
                <a:lnTo>
                  <a:pt x="1217" y="1167"/>
                </a:lnTo>
                <a:lnTo>
                  <a:pt x="1249" y="1165"/>
                </a:lnTo>
                <a:lnTo>
                  <a:pt x="1263" y="1165"/>
                </a:lnTo>
                <a:lnTo>
                  <a:pt x="1263" y="1165"/>
                </a:lnTo>
                <a:lnTo>
                  <a:pt x="1309" y="1161"/>
                </a:lnTo>
                <a:lnTo>
                  <a:pt x="1359" y="1157"/>
                </a:lnTo>
                <a:lnTo>
                  <a:pt x="1359" y="1157"/>
                </a:lnTo>
                <a:lnTo>
                  <a:pt x="1369" y="1157"/>
                </a:lnTo>
                <a:lnTo>
                  <a:pt x="1395" y="1155"/>
                </a:lnTo>
                <a:lnTo>
                  <a:pt x="1395" y="1155"/>
                </a:lnTo>
                <a:lnTo>
                  <a:pt x="1383" y="1155"/>
                </a:lnTo>
                <a:lnTo>
                  <a:pt x="1401" y="1153"/>
                </a:lnTo>
                <a:lnTo>
                  <a:pt x="1401" y="1153"/>
                </a:lnTo>
                <a:lnTo>
                  <a:pt x="1447" y="1149"/>
                </a:lnTo>
                <a:lnTo>
                  <a:pt x="1486" y="1147"/>
                </a:lnTo>
                <a:lnTo>
                  <a:pt x="1486" y="1147"/>
                </a:lnTo>
                <a:lnTo>
                  <a:pt x="1508" y="1145"/>
                </a:lnTo>
                <a:lnTo>
                  <a:pt x="1510" y="1143"/>
                </a:lnTo>
                <a:lnTo>
                  <a:pt x="1512" y="1141"/>
                </a:lnTo>
                <a:lnTo>
                  <a:pt x="1512" y="1141"/>
                </a:lnTo>
                <a:lnTo>
                  <a:pt x="1558" y="1139"/>
                </a:lnTo>
                <a:lnTo>
                  <a:pt x="1580" y="1139"/>
                </a:lnTo>
                <a:lnTo>
                  <a:pt x="1584" y="1139"/>
                </a:lnTo>
                <a:lnTo>
                  <a:pt x="1582" y="1139"/>
                </a:lnTo>
                <a:lnTo>
                  <a:pt x="1582" y="1139"/>
                </a:lnTo>
                <a:lnTo>
                  <a:pt x="1550" y="1141"/>
                </a:lnTo>
                <a:lnTo>
                  <a:pt x="1538" y="1143"/>
                </a:lnTo>
                <a:lnTo>
                  <a:pt x="1534" y="1143"/>
                </a:lnTo>
                <a:lnTo>
                  <a:pt x="1536" y="1143"/>
                </a:lnTo>
                <a:lnTo>
                  <a:pt x="1536" y="1143"/>
                </a:lnTo>
                <a:lnTo>
                  <a:pt x="1558" y="1141"/>
                </a:lnTo>
                <a:lnTo>
                  <a:pt x="1576" y="1139"/>
                </a:lnTo>
                <a:lnTo>
                  <a:pt x="1576" y="1139"/>
                </a:lnTo>
                <a:lnTo>
                  <a:pt x="1584" y="1139"/>
                </a:lnTo>
                <a:lnTo>
                  <a:pt x="1588" y="1141"/>
                </a:lnTo>
                <a:lnTo>
                  <a:pt x="1588" y="1141"/>
                </a:lnTo>
                <a:lnTo>
                  <a:pt x="1648" y="1135"/>
                </a:lnTo>
                <a:lnTo>
                  <a:pt x="1648" y="1135"/>
                </a:lnTo>
                <a:lnTo>
                  <a:pt x="1636" y="1135"/>
                </a:lnTo>
                <a:lnTo>
                  <a:pt x="1644" y="1135"/>
                </a:lnTo>
                <a:lnTo>
                  <a:pt x="1654" y="1133"/>
                </a:lnTo>
                <a:lnTo>
                  <a:pt x="1650" y="1133"/>
                </a:lnTo>
                <a:lnTo>
                  <a:pt x="1616" y="1137"/>
                </a:lnTo>
                <a:lnTo>
                  <a:pt x="1616" y="1137"/>
                </a:lnTo>
                <a:lnTo>
                  <a:pt x="1594" y="1139"/>
                </a:lnTo>
                <a:lnTo>
                  <a:pt x="1596" y="1137"/>
                </a:lnTo>
                <a:lnTo>
                  <a:pt x="1592" y="1137"/>
                </a:lnTo>
                <a:lnTo>
                  <a:pt x="1592" y="1137"/>
                </a:lnTo>
                <a:lnTo>
                  <a:pt x="1656" y="1130"/>
                </a:lnTo>
                <a:lnTo>
                  <a:pt x="1716" y="1122"/>
                </a:lnTo>
                <a:lnTo>
                  <a:pt x="1758" y="1120"/>
                </a:lnTo>
                <a:lnTo>
                  <a:pt x="1758" y="1120"/>
                </a:lnTo>
                <a:lnTo>
                  <a:pt x="1742" y="1122"/>
                </a:lnTo>
                <a:lnTo>
                  <a:pt x="1752" y="1124"/>
                </a:lnTo>
                <a:lnTo>
                  <a:pt x="1752" y="1124"/>
                </a:lnTo>
                <a:lnTo>
                  <a:pt x="1804" y="1118"/>
                </a:lnTo>
                <a:lnTo>
                  <a:pt x="1850" y="1116"/>
                </a:lnTo>
                <a:lnTo>
                  <a:pt x="1850" y="1116"/>
                </a:lnTo>
                <a:lnTo>
                  <a:pt x="1834" y="1116"/>
                </a:lnTo>
                <a:lnTo>
                  <a:pt x="1846" y="1114"/>
                </a:lnTo>
                <a:lnTo>
                  <a:pt x="1846" y="1114"/>
                </a:lnTo>
                <a:lnTo>
                  <a:pt x="1886" y="1112"/>
                </a:lnTo>
                <a:lnTo>
                  <a:pt x="1889" y="1112"/>
                </a:lnTo>
                <a:lnTo>
                  <a:pt x="1901" y="1112"/>
                </a:lnTo>
                <a:lnTo>
                  <a:pt x="1901" y="1112"/>
                </a:lnTo>
                <a:lnTo>
                  <a:pt x="2027" y="1102"/>
                </a:lnTo>
                <a:lnTo>
                  <a:pt x="2141" y="1092"/>
                </a:lnTo>
                <a:lnTo>
                  <a:pt x="2103" y="1092"/>
                </a:lnTo>
                <a:lnTo>
                  <a:pt x="2091" y="1096"/>
                </a:lnTo>
                <a:lnTo>
                  <a:pt x="2091" y="1096"/>
                </a:lnTo>
                <a:lnTo>
                  <a:pt x="2079" y="1096"/>
                </a:lnTo>
                <a:lnTo>
                  <a:pt x="2085" y="1094"/>
                </a:lnTo>
                <a:lnTo>
                  <a:pt x="2113" y="1088"/>
                </a:lnTo>
                <a:lnTo>
                  <a:pt x="2113" y="1088"/>
                </a:lnTo>
                <a:lnTo>
                  <a:pt x="2137" y="1088"/>
                </a:lnTo>
                <a:lnTo>
                  <a:pt x="2149" y="1086"/>
                </a:lnTo>
                <a:lnTo>
                  <a:pt x="2145" y="1088"/>
                </a:lnTo>
                <a:lnTo>
                  <a:pt x="2193" y="1082"/>
                </a:lnTo>
                <a:lnTo>
                  <a:pt x="2193" y="1082"/>
                </a:lnTo>
                <a:lnTo>
                  <a:pt x="2175" y="1084"/>
                </a:lnTo>
                <a:lnTo>
                  <a:pt x="2169" y="1084"/>
                </a:lnTo>
                <a:lnTo>
                  <a:pt x="2177" y="1082"/>
                </a:lnTo>
                <a:lnTo>
                  <a:pt x="2177" y="1082"/>
                </a:lnTo>
                <a:lnTo>
                  <a:pt x="2211" y="1080"/>
                </a:lnTo>
                <a:lnTo>
                  <a:pt x="2221" y="1080"/>
                </a:lnTo>
                <a:lnTo>
                  <a:pt x="2211" y="1082"/>
                </a:lnTo>
                <a:lnTo>
                  <a:pt x="2211" y="1082"/>
                </a:lnTo>
                <a:lnTo>
                  <a:pt x="2247" y="1078"/>
                </a:lnTo>
                <a:lnTo>
                  <a:pt x="2261" y="1076"/>
                </a:lnTo>
                <a:lnTo>
                  <a:pt x="2261" y="1076"/>
                </a:lnTo>
                <a:lnTo>
                  <a:pt x="2277" y="1074"/>
                </a:lnTo>
                <a:lnTo>
                  <a:pt x="2273" y="1076"/>
                </a:lnTo>
                <a:lnTo>
                  <a:pt x="2241" y="1080"/>
                </a:lnTo>
                <a:lnTo>
                  <a:pt x="2241" y="1080"/>
                </a:lnTo>
                <a:lnTo>
                  <a:pt x="2265" y="1078"/>
                </a:lnTo>
                <a:lnTo>
                  <a:pt x="2259" y="1080"/>
                </a:lnTo>
                <a:lnTo>
                  <a:pt x="2303" y="1076"/>
                </a:lnTo>
                <a:lnTo>
                  <a:pt x="2303" y="1076"/>
                </a:lnTo>
                <a:lnTo>
                  <a:pt x="2283" y="1080"/>
                </a:lnTo>
                <a:lnTo>
                  <a:pt x="2283" y="1080"/>
                </a:lnTo>
                <a:lnTo>
                  <a:pt x="2324" y="1076"/>
                </a:lnTo>
                <a:lnTo>
                  <a:pt x="2360" y="1072"/>
                </a:lnTo>
                <a:lnTo>
                  <a:pt x="2370" y="1070"/>
                </a:lnTo>
                <a:lnTo>
                  <a:pt x="2370" y="1070"/>
                </a:lnTo>
                <a:lnTo>
                  <a:pt x="2518" y="1058"/>
                </a:lnTo>
                <a:lnTo>
                  <a:pt x="2506" y="1058"/>
                </a:lnTo>
                <a:lnTo>
                  <a:pt x="2506" y="1058"/>
                </a:lnTo>
                <a:lnTo>
                  <a:pt x="2536" y="1054"/>
                </a:lnTo>
                <a:lnTo>
                  <a:pt x="2556" y="1054"/>
                </a:lnTo>
                <a:lnTo>
                  <a:pt x="2580" y="1052"/>
                </a:lnTo>
                <a:lnTo>
                  <a:pt x="2624" y="1048"/>
                </a:lnTo>
                <a:lnTo>
                  <a:pt x="2624" y="1048"/>
                </a:lnTo>
                <a:lnTo>
                  <a:pt x="2674" y="1042"/>
                </a:lnTo>
                <a:lnTo>
                  <a:pt x="2686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714" y="1038"/>
                </a:lnTo>
                <a:lnTo>
                  <a:pt x="2731" y="1036"/>
                </a:lnTo>
                <a:lnTo>
                  <a:pt x="2731" y="1036"/>
                </a:lnTo>
                <a:lnTo>
                  <a:pt x="2771" y="1032"/>
                </a:lnTo>
                <a:lnTo>
                  <a:pt x="2821" y="1026"/>
                </a:lnTo>
                <a:lnTo>
                  <a:pt x="2765" y="1032"/>
                </a:lnTo>
                <a:lnTo>
                  <a:pt x="2765" y="1032"/>
                </a:lnTo>
                <a:lnTo>
                  <a:pt x="2805" y="1030"/>
                </a:lnTo>
                <a:lnTo>
                  <a:pt x="2863" y="1024"/>
                </a:lnTo>
                <a:lnTo>
                  <a:pt x="2997" y="1008"/>
                </a:lnTo>
                <a:lnTo>
                  <a:pt x="2997" y="1008"/>
                </a:lnTo>
                <a:lnTo>
                  <a:pt x="2989" y="1008"/>
                </a:lnTo>
                <a:lnTo>
                  <a:pt x="2987" y="1006"/>
                </a:lnTo>
                <a:lnTo>
                  <a:pt x="2989" y="1006"/>
                </a:lnTo>
                <a:lnTo>
                  <a:pt x="3023" y="1000"/>
                </a:lnTo>
                <a:lnTo>
                  <a:pt x="3023" y="1000"/>
                </a:lnTo>
                <a:lnTo>
                  <a:pt x="3047" y="1000"/>
                </a:lnTo>
                <a:lnTo>
                  <a:pt x="3095" y="996"/>
                </a:lnTo>
                <a:lnTo>
                  <a:pt x="3095" y="996"/>
                </a:lnTo>
                <a:lnTo>
                  <a:pt x="3095" y="996"/>
                </a:lnTo>
                <a:lnTo>
                  <a:pt x="3099" y="996"/>
                </a:lnTo>
                <a:lnTo>
                  <a:pt x="3113" y="996"/>
                </a:lnTo>
                <a:lnTo>
                  <a:pt x="3119" y="996"/>
                </a:lnTo>
                <a:lnTo>
                  <a:pt x="3099" y="998"/>
                </a:lnTo>
                <a:lnTo>
                  <a:pt x="3099" y="998"/>
                </a:lnTo>
                <a:lnTo>
                  <a:pt x="3079" y="998"/>
                </a:lnTo>
                <a:lnTo>
                  <a:pt x="3055" y="1000"/>
                </a:lnTo>
                <a:lnTo>
                  <a:pt x="3055" y="1000"/>
                </a:lnTo>
                <a:lnTo>
                  <a:pt x="3137" y="996"/>
                </a:lnTo>
                <a:lnTo>
                  <a:pt x="3137" y="996"/>
                </a:lnTo>
                <a:lnTo>
                  <a:pt x="3097" y="1000"/>
                </a:lnTo>
                <a:lnTo>
                  <a:pt x="3097" y="1000"/>
                </a:lnTo>
                <a:lnTo>
                  <a:pt x="3103" y="1000"/>
                </a:lnTo>
                <a:lnTo>
                  <a:pt x="3101" y="1000"/>
                </a:lnTo>
              </a:path>
            </a:pathLst>
          </a:custGeom>
          <a:solidFill>
            <a:schemeClr val="bg1">
              <a:alpha val="6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9" name="Freeform 106"/>
          <p:cNvSpPr>
            <a:spLocks/>
          </p:cNvSpPr>
          <p:nvPr userDrawn="1"/>
        </p:nvSpPr>
        <p:spPr bwMode="auto">
          <a:xfrm>
            <a:off x="-6673850" y="4697413"/>
            <a:ext cx="13293725" cy="1878013"/>
          </a:xfrm>
          <a:custGeom>
            <a:avLst/>
            <a:gdLst>
              <a:gd name="T0" fmla="*/ 5070 w 8374"/>
              <a:gd name="T1" fmla="*/ 768 h 1183"/>
              <a:gd name="T2" fmla="*/ 4872 w 8374"/>
              <a:gd name="T3" fmla="*/ 790 h 1183"/>
              <a:gd name="T4" fmla="*/ 4795 w 8374"/>
              <a:gd name="T5" fmla="*/ 802 h 1183"/>
              <a:gd name="T6" fmla="*/ 4691 w 8374"/>
              <a:gd name="T7" fmla="*/ 812 h 1183"/>
              <a:gd name="T8" fmla="*/ 4294 w 8374"/>
              <a:gd name="T9" fmla="*/ 852 h 1183"/>
              <a:gd name="T10" fmla="*/ 4046 w 8374"/>
              <a:gd name="T11" fmla="*/ 876 h 1183"/>
              <a:gd name="T12" fmla="*/ 3943 w 8374"/>
              <a:gd name="T13" fmla="*/ 886 h 1183"/>
              <a:gd name="T14" fmla="*/ 3783 w 8374"/>
              <a:gd name="T15" fmla="*/ 902 h 1183"/>
              <a:gd name="T16" fmla="*/ 3595 w 8374"/>
              <a:gd name="T17" fmla="*/ 915 h 1183"/>
              <a:gd name="T18" fmla="*/ 3362 w 8374"/>
              <a:gd name="T19" fmla="*/ 931 h 1183"/>
              <a:gd name="T20" fmla="*/ 3035 w 8374"/>
              <a:gd name="T21" fmla="*/ 951 h 1183"/>
              <a:gd name="T22" fmla="*/ 2923 w 8374"/>
              <a:gd name="T23" fmla="*/ 963 h 1183"/>
              <a:gd name="T24" fmla="*/ 2660 w 8374"/>
              <a:gd name="T25" fmla="*/ 987 h 1183"/>
              <a:gd name="T26" fmla="*/ 2554 w 8374"/>
              <a:gd name="T27" fmla="*/ 993 h 1183"/>
              <a:gd name="T28" fmla="*/ 2307 w 8374"/>
              <a:gd name="T29" fmla="*/ 1017 h 1183"/>
              <a:gd name="T30" fmla="*/ 1943 w 8374"/>
              <a:gd name="T31" fmla="*/ 1049 h 1183"/>
              <a:gd name="T32" fmla="*/ 1812 w 8374"/>
              <a:gd name="T33" fmla="*/ 1057 h 1183"/>
              <a:gd name="T34" fmla="*/ 1638 w 8374"/>
              <a:gd name="T35" fmla="*/ 1071 h 1183"/>
              <a:gd name="T36" fmla="*/ 1461 w 8374"/>
              <a:gd name="T37" fmla="*/ 1091 h 1183"/>
              <a:gd name="T38" fmla="*/ 1375 w 8374"/>
              <a:gd name="T39" fmla="*/ 1093 h 1183"/>
              <a:gd name="T40" fmla="*/ 1157 w 8374"/>
              <a:gd name="T41" fmla="*/ 1109 h 1183"/>
              <a:gd name="T42" fmla="*/ 892 w 8374"/>
              <a:gd name="T43" fmla="*/ 1119 h 1183"/>
              <a:gd name="T44" fmla="*/ 634 w 8374"/>
              <a:gd name="T45" fmla="*/ 1135 h 1183"/>
              <a:gd name="T46" fmla="*/ 459 w 8374"/>
              <a:gd name="T47" fmla="*/ 1145 h 1183"/>
              <a:gd name="T48" fmla="*/ 269 w 8374"/>
              <a:gd name="T49" fmla="*/ 1159 h 1183"/>
              <a:gd name="T50" fmla="*/ 549 w 8374"/>
              <a:gd name="T51" fmla="*/ 1147 h 1183"/>
              <a:gd name="T52" fmla="*/ 174 w 8374"/>
              <a:gd name="T53" fmla="*/ 1161 h 1183"/>
              <a:gd name="T54" fmla="*/ 78 w 8374"/>
              <a:gd name="T55" fmla="*/ 1173 h 1183"/>
              <a:gd name="T56" fmla="*/ 98 w 8374"/>
              <a:gd name="T57" fmla="*/ 1175 h 1183"/>
              <a:gd name="T58" fmla="*/ 190 w 8374"/>
              <a:gd name="T59" fmla="*/ 1175 h 1183"/>
              <a:gd name="T60" fmla="*/ 449 w 8374"/>
              <a:gd name="T61" fmla="*/ 1159 h 1183"/>
              <a:gd name="T62" fmla="*/ 567 w 8374"/>
              <a:gd name="T63" fmla="*/ 1153 h 1183"/>
              <a:gd name="T64" fmla="*/ 950 w 8374"/>
              <a:gd name="T65" fmla="*/ 1129 h 1183"/>
              <a:gd name="T66" fmla="*/ 868 w 8374"/>
              <a:gd name="T67" fmla="*/ 1139 h 1183"/>
              <a:gd name="T68" fmla="*/ 1107 w 8374"/>
              <a:gd name="T69" fmla="*/ 1127 h 1183"/>
              <a:gd name="T70" fmla="*/ 1339 w 8374"/>
              <a:gd name="T71" fmla="*/ 1117 h 1183"/>
              <a:gd name="T72" fmla="*/ 1554 w 8374"/>
              <a:gd name="T73" fmla="*/ 1099 h 1183"/>
              <a:gd name="T74" fmla="*/ 1762 w 8374"/>
              <a:gd name="T75" fmla="*/ 1085 h 1183"/>
              <a:gd name="T76" fmla="*/ 2107 w 8374"/>
              <a:gd name="T77" fmla="*/ 1055 h 1183"/>
              <a:gd name="T78" fmla="*/ 2530 w 8374"/>
              <a:gd name="T79" fmla="*/ 1021 h 1183"/>
              <a:gd name="T80" fmla="*/ 2556 w 8374"/>
              <a:gd name="T81" fmla="*/ 1013 h 1183"/>
              <a:gd name="T82" fmla="*/ 2819 w 8374"/>
              <a:gd name="T83" fmla="*/ 989 h 1183"/>
              <a:gd name="T84" fmla="*/ 3073 w 8374"/>
              <a:gd name="T85" fmla="*/ 977 h 1183"/>
              <a:gd name="T86" fmla="*/ 3727 w 8374"/>
              <a:gd name="T87" fmla="*/ 929 h 1183"/>
              <a:gd name="T88" fmla="*/ 4577 w 8374"/>
              <a:gd name="T89" fmla="*/ 850 h 1183"/>
              <a:gd name="T90" fmla="*/ 4884 w 8374"/>
              <a:gd name="T91" fmla="*/ 816 h 1183"/>
              <a:gd name="T92" fmla="*/ 5513 w 8374"/>
              <a:gd name="T93" fmla="*/ 738 h 1183"/>
              <a:gd name="T94" fmla="*/ 5920 w 8374"/>
              <a:gd name="T95" fmla="*/ 682 h 1183"/>
              <a:gd name="T96" fmla="*/ 6558 w 8374"/>
              <a:gd name="T97" fmla="*/ 576 h 1183"/>
              <a:gd name="T98" fmla="*/ 7223 w 8374"/>
              <a:gd name="T99" fmla="*/ 429 h 1183"/>
              <a:gd name="T100" fmla="*/ 8045 w 8374"/>
              <a:gd name="T101" fmla="*/ 171 h 1183"/>
              <a:gd name="T102" fmla="*/ 8360 w 8374"/>
              <a:gd name="T103" fmla="*/ 9 h 1183"/>
              <a:gd name="T104" fmla="*/ 7973 w 8374"/>
              <a:gd name="T105" fmla="*/ 187 h 1183"/>
              <a:gd name="T106" fmla="*/ 7885 w 8374"/>
              <a:gd name="T107" fmla="*/ 217 h 1183"/>
              <a:gd name="T108" fmla="*/ 7546 w 8374"/>
              <a:gd name="T109" fmla="*/ 323 h 1183"/>
              <a:gd name="T110" fmla="*/ 7255 w 8374"/>
              <a:gd name="T111" fmla="*/ 397 h 1183"/>
              <a:gd name="T112" fmla="*/ 6868 w 8374"/>
              <a:gd name="T113" fmla="*/ 488 h 1183"/>
              <a:gd name="T114" fmla="*/ 6860 w 8374"/>
              <a:gd name="T115" fmla="*/ 488 h 1183"/>
              <a:gd name="T116" fmla="*/ 6369 w 8374"/>
              <a:gd name="T117" fmla="*/ 582 h 1183"/>
              <a:gd name="T118" fmla="*/ 6221 w 8374"/>
              <a:gd name="T119" fmla="*/ 610 h 1183"/>
              <a:gd name="T120" fmla="*/ 5752 w 8374"/>
              <a:gd name="T121" fmla="*/ 682 h 1183"/>
              <a:gd name="T122" fmla="*/ 5367 w 8374"/>
              <a:gd name="T123" fmla="*/ 736 h 1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74" h="1183">
                <a:moveTo>
                  <a:pt x="5367" y="734"/>
                </a:moveTo>
                <a:lnTo>
                  <a:pt x="5367" y="734"/>
                </a:lnTo>
                <a:lnTo>
                  <a:pt x="5391" y="730"/>
                </a:lnTo>
                <a:lnTo>
                  <a:pt x="5385" y="730"/>
                </a:lnTo>
                <a:lnTo>
                  <a:pt x="5367" y="732"/>
                </a:lnTo>
                <a:lnTo>
                  <a:pt x="5361" y="732"/>
                </a:lnTo>
                <a:lnTo>
                  <a:pt x="5361" y="732"/>
                </a:lnTo>
                <a:lnTo>
                  <a:pt x="5331" y="736"/>
                </a:lnTo>
                <a:lnTo>
                  <a:pt x="5321" y="738"/>
                </a:lnTo>
                <a:lnTo>
                  <a:pt x="5325" y="738"/>
                </a:lnTo>
                <a:lnTo>
                  <a:pt x="5325" y="738"/>
                </a:lnTo>
                <a:lnTo>
                  <a:pt x="5295" y="740"/>
                </a:lnTo>
                <a:lnTo>
                  <a:pt x="5259" y="746"/>
                </a:lnTo>
                <a:lnTo>
                  <a:pt x="5220" y="750"/>
                </a:lnTo>
                <a:lnTo>
                  <a:pt x="5188" y="754"/>
                </a:lnTo>
                <a:lnTo>
                  <a:pt x="5188" y="754"/>
                </a:lnTo>
                <a:lnTo>
                  <a:pt x="5194" y="754"/>
                </a:lnTo>
                <a:lnTo>
                  <a:pt x="5182" y="756"/>
                </a:lnTo>
                <a:lnTo>
                  <a:pt x="5182" y="756"/>
                </a:lnTo>
                <a:lnTo>
                  <a:pt x="5150" y="760"/>
                </a:lnTo>
                <a:lnTo>
                  <a:pt x="5132" y="760"/>
                </a:lnTo>
                <a:lnTo>
                  <a:pt x="5132" y="760"/>
                </a:lnTo>
                <a:lnTo>
                  <a:pt x="5070" y="768"/>
                </a:lnTo>
                <a:lnTo>
                  <a:pt x="5070" y="768"/>
                </a:lnTo>
                <a:lnTo>
                  <a:pt x="5064" y="770"/>
                </a:lnTo>
                <a:lnTo>
                  <a:pt x="5070" y="770"/>
                </a:lnTo>
                <a:lnTo>
                  <a:pt x="5074" y="770"/>
                </a:lnTo>
                <a:lnTo>
                  <a:pt x="5062" y="774"/>
                </a:lnTo>
                <a:lnTo>
                  <a:pt x="5062" y="774"/>
                </a:lnTo>
                <a:lnTo>
                  <a:pt x="5022" y="778"/>
                </a:lnTo>
                <a:lnTo>
                  <a:pt x="4980" y="784"/>
                </a:lnTo>
                <a:lnTo>
                  <a:pt x="4980" y="784"/>
                </a:lnTo>
                <a:lnTo>
                  <a:pt x="4972" y="784"/>
                </a:lnTo>
                <a:lnTo>
                  <a:pt x="4986" y="782"/>
                </a:lnTo>
                <a:lnTo>
                  <a:pt x="5026" y="776"/>
                </a:lnTo>
                <a:lnTo>
                  <a:pt x="4932" y="788"/>
                </a:lnTo>
                <a:lnTo>
                  <a:pt x="4932" y="788"/>
                </a:lnTo>
                <a:lnTo>
                  <a:pt x="4924" y="788"/>
                </a:lnTo>
                <a:lnTo>
                  <a:pt x="4932" y="788"/>
                </a:lnTo>
                <a:lnTo>
                  <a:pt x="4972" y="782"/>
                </a:lnTo>
                <a:lnTo>
                  <a:pt x="4972" y="782"/>
                </a:lnTo>
                <a:lnTo>
                  <a:pt x="4914" y="788"/>
                </a:lnTo>
                <a:lnTo>
                  <a:pt x="4876" y="794"/>
                </a:lnTo>
                <a:lnTo>
                  <a:pt x="4876" y="794"/>
                </a:lnTo>
                <a:lnTo>
                  <a:pt x="4817" y="800"/>
                </a:lnTo>
                <a:lnTo>
                  <a:pt x="4817" y="800"/>
                </a:lnTo>
                <a:lnTo>
                  <a:pt x="4840" y="796"/>
                </a:lnTo>
                <a:lnTo>
                  <a:pt x="4872" y="790"/>
                </a:lnTo>
                <a:lnTo>
                  <a:pt x="4872" y="790"/>
                </a:lnTo>
                <a:lnTo>
                  <a:pt x="4894" y="788"/>
                </a:lnTo>
                <a:lnTo>
                  <a:pt x="4890" y="790"/>
                </a:lnTo>
                <a:lnTo>
                  <a:pt x="4884" y="790"/>
                </a:lnTo>
                <a:lnTo>
                  <a:pt x="4900" y="790"/>
                </a:lnTo>
                <a:lnTo>
                  <a:pt x="4904" y="788"/>
                </a:lnTo>
                <a:lnTo>
                  <a:pt x="4904" y="788"/>
                </a:lnTo>
                <a:lnTo>
                  <a:pt x="4934" y="784"/>
                </a:lnTo>
                <a:lnTo>
                  <a:pt x="4964" y="780"/>
                </a:lnTo>
                <a:lnTo>
                  <a:pt x="4964" y="780"/>
                </a:lnTo>
                <a:lnTo>
                  <a:pt x="4968" y="780"/>
                </a:lnTo>
                <a:lnTo>
                  <a:pt x="4966" y="780"/>
                </a:lnTo>
                <a:lnTo>
                  <a:pt x="4952" y="782"/>
                </a:lnTo>
                <a:lnTo>
                  <a:pt x="4952" y="782"/>
                </a:lnTo>
                <a:lnTo>
                  <a:pt x="5008" y="776"/>
                </a:lnTo>
                <a:lnTo>
                  <a:pt x="5056" y="770"/>
                </a:lnTo>
                <a:lnTo>
                  <a:pt x="5056" y="770"/>
                </a:lnTo>
                <a:lnTo>
                  <a:pt x="4964" y="780"/>
                </a:lnTo>
                <a:lnTo>
                  <a:pt x="4896" y="786"/>
                </a:lnTo>
                <a:lnTo>
                  <a:pt x="4787" y="800"/>
                </a:lnTo>
                <a:lnTo>
                  <a:pt x="4787" y="800"/>
                </a:lnTo>
                <a:lnTo>
                  <a:pt x="4803" y="800"/>
                </a:lnTo>
                <a:lnTo>
                  <a:pt x="4807" y="800"/>
                </a:lnTo>
                <a:lnTo>
                  <a:pt x="4795" y="802"/>
                </a:lnTo>
                <a:lnTo>
                  <a:pt x="4795" y="802"/>
                </a:lnTo>
                <a:lnTo>
                  <a:pt x="4763" y="804"/>
                </a:lnTo>
                <a:lnTo>
                  <a:pt x="4709" y="808"/>
                </a:lnTo>
                <a:lnTo>
                  <a:pt x="4709" y="808"/>
                </a:lnTo>
                <a:lnTo>
                  <a:pt x="4709" y="810"/>
                </a:lnTo>
                <a:lnTo>
                  <a:pt x="4705" y="810"/>
                </a:lnTo>
                <a:lnTo>
                  <a:pt x="4683" y="814"/>
                </a:lnTo>
                <a:lnTo>
                  <a:pt x="4663" y="816"/>
                </a:lnTo>
                <a:lnTo>
                  <a:pt x="4659" y="816"/>
                </a:lnTo>
                <a:lnTo>
                  <a:pt x="4663" y="816"/>
                </a:lnTo>
                <a:lnTo>
                  <a:pt x="4663" y="816"/>
                </a:lnTo>
                <a:lnTo>
                  <a:pt x="4685" y="814"/>
                </a:lnTo>
                <a:lnTo>
                  <a:pt x="4695" y="814"/>
                </a:lnTo>
                <a:lnTo>
                  <a:pt x="4695" y="814"/>
                </a:lnTo>
                <a:lnTo>
                  <a:pt x="4677" y="816"/>
                </a:lnTo>
                <a:lnTo>
                  <a:pt x="4675" y="818"/>
                </a:lnTo>
                <a:lnTo>
                  <a:pt x="4675" y="818"/>
                </a:lnTo>
                <a:lnTo>
                  <a:pt x="4667" y="818"/>
                </a:lnTo>
                <a:lnTo>
                  <a:pt x="4667" y="818"/>
                </a:lnTo>
                <a:lnTo>
                  <a:pt x="4633" y="822"/>
                </a:lnTo>
                <a:lnTo>
                  <a:pt x="4597" y="824"/>
                </a:lnTo>
                <a:lnTo>
                  <a:pt x="4597" y="824"/>
                </a:lnTo>
                <a:lnTo>
                  <a:pt x="4691" y="812"/>
                </a:lnTo>
                <a:lnTo>
                  <a:pt x="4691" y="812"/>
                </a:lnTo>
                <a:lnTo>
                  <a:pt x="4635" y="816"/>
                </a:lnTo>
                <a:lnTo>
                  <a:pt x="4635" y="816"/>
                </a:lnTo>
                <a:lnTo>
                  <a:pt x="4643" y="816"/>
                </a:lnTo>
                <a:lnTo>
                  <a:pt x="4637" y="818"/>
                </a:lnTo>
                <a:lnTo>
                  <a:pt x="4633" y="818"/>
                </a:lnTo>
                <a:lnTo>
                  <a:pt x="4637" y="818"/>
                </a:lnTo>
                <a:lnTo>
                  <a:pt x="4637" y="818"/>
                </a:lnTo>
                <a:lnTo>
                  <a:pt x="4545" y="830"/>
                </a:lnTo>
                <a:lnTo>
                  <a:pt x="4441" y="840"/>
                </a:lnTo>
                <a:lnTo>
                  <a:pt x="4441" y="840"/>
                </a:lnTo>
                <a:lnTo>
                  <a:pt x="4465" y="838"/>
                </a:lnTo>
                <a:lnTo>
                  <a:pt x="4501" y="832"/>
                </a:lnTo>
                <a:lnTo>
                  <a:pt x="4533" y="828"/>
                </a:lnTo>
                <a:lnTo>
                  <a:pt x="4541" y="826"/>
                </a:lnTo>
                <a:lnTo>
                  <a:pt x="4537" y="826"/>
                </a:lnTo>
                <a:lnTo>
                  <a:pt x="4537" y="826"/>
                </a:lnTo>
                <a:lnTo>
                  <a:pt x="4505" y="830"/>
                </a:lnTo>
                <a:lnTo>
                  <a:pt x="4475" y="834"/>
                </a:lnTo>
                <a:lnTo>
                  <a:pt x="4475" y="834"/>
                </a:lnTo>
                <a:lnTo>
                  <a:pt x="4419" y="838"/>
                </a:lnTo>
                <a:lnTo>
                  <a:pt x="4346" y="846"/>
                </a:lnTo>
                <a:lnTo>
                  <a:pt x="4366" y="844"/>
                </a:lnTo>
                <a:lnTo>
                  <a:pt x="4366" y="844"/>
                </a:lnTo>
                <a:lnTo>
                  <a:pt x="4294" y="852"/>
                </a:lnTo>
                <a:lnTo>
                  <a:pt x="4300" y="850"/>
                </a:lnTo>
                <a:lnTo>
                  <a:pt x="4280" y="854"/>
                </a:lnTo>
                <a:lnTo>
                  <a:pt x="4280" y="854"/>
                </a:lnTo>
                <a:lnTo>
                  <a:pt x="4276" y="854"/>
                </a:lnTo>
                <a:lnTo>
                  <a:pt x="4276" y="854"/>
                </a:lnTo>
                <a:lnTo>
                  <a:pt x="4222" y="858"/>
                </a:lnTo>
                <a:lnTo>
                  <a:pt x="4152" y="864"/>
                </a:lnTo>
                <a:lnTo>
                  <a:pt x="4152" y="864"/>
                </a:lnTo>
                <a:lnTo>
                  <a:pt x="4176" y="864"/>
                </a:lnTo>
                <a:lnTo>
                  <a:pt x="4216" y="860"/>
                </a:lnTo>
                <a:lnTo>
                  <a:pt x="4216" y="860"/>
                </a:lnTo>
                <a:lnTo>
                  <a:pt x="4238" y="858"/>
                </a:lnTo>
                <a:lnTo>
                  <a:pt x="4246" y="858"/>
                </a:lnTo>
                <a:lnTo>
                  <a:pt x="4242" y="858"/>
                </a:lnTo>
                <a:lnTo>
                  <a:pt x="4242" y="858"/>
                </a:lnTo>
                <a:lnTo>
                  <a:pt x="4090" y="874"/>
                </a:lnTo>
                <a:lnTo>
                  <a:pt x="4108" y="872"/>
                </a:lnTo>
                <a:lnTo>
                  <a:pt x="4108" y="872"/>
                </a:lnTo>
                <a:lnTo>
                  <a:pt x="4076" y="876"/>
                </a:lnTo>
                <a:lnTo>
                  <a:pt x="4034" y="880"/>
                </a:lnTo>
                <a:lnTo>
                  <a:pt x="4034" y="880"/>
                </a:lnTo>
                <a:lnTo>
                  <a:pt x="4018" y="880"/>
                </a:lnTo>
                <a:lnTo>
                  <a:pt x="4030" y="878"/>
                </a:lnTo>
                <a:lnTo>
                  <a:pt x="4046" y="876"/>
                </a:lnTo>
                <a:lnTo>
                  <a:pt x="4040" y="876"/>
                </a:lnTo>
                <a:lnTo>
                  <a:pt x="4040" y="876"/>
                </a:lnTo>
                <a:lnTo>
                  <a:pt x="4078" y="872"/>
                </a:lnTo>
                <a:lnTo>
                  <a:pt x="4102" y="870"/>
                </a:lnTo>
                <a:lnTo>
                  <a:pt x="4070" y="870"/>
                </a:lnTo>
                <a:lnTo>
                  <a:pt x="4070" y="870"/>
                </a:lnTo>
                <a:lnTo>
                  <a:pt x="4028" y="874"/>
                </a:lnTo>
                <a:lnTo>
                  <a:pt x="3992" y="876"/>
                </a:lnTo>
                <a:lnTo>
                  <a:pt x="4012" y="876"/>
                </a:lnTo>
                <a:lnTo>
                  <a:pt x="4012" y="876"/>
                </a:lnTo>
                <a:lnTo>
                  <a:pt x="3998" y="878"/>
                </a:lnTo>
                <a:lnTo>
                  <a:pt x="3979" y="878"/>
                </a:lnTo>
                <a:lnTo>
                  <a:pt x="3994" y="880"/>
                </a:lnTo>
                <a:lnTo>
                  <a:pt x="3994" y="880"/>
                </a:lnTo>
                <a:lnTo>
                  <a:pt x="4034" y="876"/>
                </a:lnTo>
                <a:lnTo>
                  <a:pt x="4066" y="874"/>
                </a:lnTo>
                <a:lnTo>
                  <a:pt x="4066" y="874"/>
                </a:lnTo>
                <a:lnTo>
                  <a:pt x="4018" y="878"/>
                </a:lnTo>
                <a:lnTo>
                  <a:pt x="3959" y="884"/>
                </a:lnTo>
                <a:lnTo>
                  <a:pt x="3959" y="884"/>
                </a:lnTo>
                <a:lnTo>
                  <a:pt x="3965" y="884"/>
                </a:lnTo>
                <a:lnTo>
                  <a:pt x="3979" y="882"/>
                </a:lnTo>
                <a:lnTo>
                  <a:pt x="3979" y="882"/>
                </a:lnTo>
                <a:lnTo>
                  <a:pt x="3943" y="886"/>
                </a:lnTo>
                <a:lnTo>
                  <a:pt x="3897" y="890"/>
                </a:lnTo>
                <a:lnTo>
                  <a:pt x="3897" y="890"/>
                </a:lnTo>
                <a:lnTo>
                  <a:pt x="3929" y="886"/>
                </a:lnTo>
                <a:lnTo>
                  <a:pt x="3935" y="884"/>
                </a:lnTo>
                <a:lnTo>
                  <a:pt x="3925" y="884"/>
                </a:lnTo>
                <a:lnTo>
                  <a:pt x="3905" y="888"/>
                </a:lnTo>
                <a:lnTo>
                  <a:pt x="3905" y="888"/>
                </a:lnTo>
                <a:lnTo>
                  <a:pt x="3889" y="888"/>
                </a:lnTo>
                <a:lnTo>
                  <a:pt x="3889" y="888"/>
                </a:lnTo>
                <a:lnTo>
                  <a:pt x="3879" y="890"/>
                </a:lnTo>
                <a:lnTo>
                  <a:pt x="3877" y="890"/>
                </a:lnTo>
                <a:lnTo>
                  <a:pt x="3857" y="892"/>
                </a:lnTo>
                <a:lnTo>
                  <a:pt x="3857" y="892"/>
                </a:lnTo>
                <a:lnTo>
                  <a:pt x="3847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13" y="896"/>
                </a:lnTo>
                <a:lnTo>
                  <a:pt x="3783" y="898"/>
                </a:lnTo>
                <a:lnTo>
                  <a:pt x="3783" y="898"/>
                </a:lnTo>
                <a:lnTo>
                  <a:pt x="3803" y="898"/>
                </a:lnTo>
                <a:lnTo>
                  <a:pt x="3811" y="898"/>
                </a:lnTo>
                <a:lnTo>
                  <a:pt x="3805" y="898"/>
                </a:lnTo>
                <a:lnTo>
                  <a:pt x="3783" y="902"/>
                </a:lnTo>
                <a:lnTo>
                  <a:pt x="3783" y="902"/>
                </a:lnTo>
                <a:lnTo>
                  <a:pt x="3715" y="906"/>
                </a:lnTo>
                <a:lnTo>
                  <a:pt x="3659" y="910"/>
                </a:lnTo>
                <a:lnTo>
                  <a:pt x="3635" y="913"/>
                </a:lnTo>
                <a:lnTo>
                  <a:pt x="3635" y="913"/>
                </a:lnTo>
                <a:lnTo>
                  <a:pt x="3637" y="913"/>
                </a:lnTo>
                <a:lnTo>
                  <a:pt x="3635" y="913"/>
                </a:lnTo>
                <a:lnTo>
                  <a:pt x="3621" y="913"/>
                </a:lnTo>
                <a:lnTo>
                  <a:pt x="3585" y="917"/>
                </a:lnTo>
                <a:lnTo>
                  <a:pt x="3585" y="917"/>
                </a:lnTo>
                <a:lnTo>
                  <a:pt x="3595" y="915"/>
                </a:lnTo>
                <a:lnTo>
                  <a:pt x="3621" y="913"/>
                </a:lnTo>
                <a:lnTo>
                  <a:pt x="3651" y="910"/>
                </a:lnTo>
                <a:lnTo>
                  <a:pt x="3663" y="908"/>
                </a:lnTo>
                <a:lnTo>
                  <a:pt x="3663" y="908"/>
                </a:lnTo>
                <a:lnTo>
                  <a:pt x="3641" y="908"/>
                </a:lnTo>
                <a:lnTo>
                  <a:pt x="3655" y="906"/>
                </a:lnTo>
                <a:lnTo>
                  <a:pt x="3655" y="906"/>
                </a:lnTo>
                <a:lnTo>
                  <a:pt x="3637" y="908"/>
                </a:lnTo>
                <a:lnTo>
                  <a:pt x="3631" y="908"/>
                </a:lnTo>
                <a:lnTo>
                  <a:pt x="3631" y="910"/>
                </a:lnTo>
                <a:lnTo>
                  <a:pt x="3625" y="913"/>
                </a:lnTo>
                <a:lnTo>
                  <a:pt x="3625" y="913"/>
                </a:lnTo>
                <a:lnTo>
                  <a:pt x="3595" y="915"/>
                </a:lnTo>
                <a:lnTo>
                  <a:pt x="3579" y="915"/>
                </a:lnTo>
                <a:lnTo>
                  <a:pt x="3579" y="915"/>
                </a:lnTo>
                <a:lnTo>
                  <a:pt x="3583" y="913"/>
                </a:lnTo>
                <a:lnTo>
                  <a:pt x="3583" y="913"/>
                </a:lnTo>
                <a:lnTo>
                  <a:pt x="3548" y="917"/>
                </a:lnTo>
                <a:lnTo>
                  <a:pt x="3520" y="919"/>
                </a:lnTo>
                <a:lnTo>
                  <a:pt x="3520" y="919"/>
                </a:lnTo>
                <a:lnTo>
                  <a:pt x="3526" y="919"/>
                </a:lnTo>
                <a:lnTo>
                  <a:pt x="3526" y="917"/>
                </a:lnTo>
                <a:lnTo>
                  <a:pt x="3526" y="917"/>
                </a:lnTo>
                <a:lnTo>
                  <a:pt x="3526" y="917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21"/>
                </a:lnTo>
                <a:lnTo>
                  <a:pt x="3504" y="919"/>
                </a:lnTo>
                <a:lnTo>
                  <a:pt x="3504" y="919"/>
                </a:lnTo>
                <a:lnTo>
                  <a:pt x="3468" y="923"/>
                </a:lnTo>
                <a:lnTo>
                  <a:pt x="3440" y="925"/>
                </a:lnTo>
                <a:lnTo>
                  <a:pt x="3440" y="925"/>
                </a:lnTo>
                <a:lnTo>
                  <a:pt x="3406" y="927"/>
                </a:lnTo>
                <a:lnTo>
                  <a:pt x="3352" y="931"/>
                </a:lnTo>
                <a:lnTo>
                  <a:pt x="3352" y="931"/>
                </a:lnTo>
                <a:lnTo>
                  <a:pt x="3362" y="931"/>
                </a:lnTo>
                <a:lnTo>
                  <a:pt x="3380" y="929"/>
                </a:lnTo>
                <a:lnTo>
                  <a:pt x="3402" y="927"/>
                </a:lnTo>
                <a:lnTo>
                  <a:pt x="3416" y="927"/>
                </a:lnTo>
                <a:lnTo>
                  <a:pt x="3416" y="927"/>
                </a:lnTo>
                <a:lnTo>
                  <a:pt x="3328" y="935"/>
                </a:lnTo>
                <a:lnTo>
                  <a:pt x="3222" y="943"/>
                </a:lnTo>
                <a:lnTo>
                  <a:pt x="3222" y="943"/>
                </a:lnTo>
                <a:lnTo>
                  <a:pt x="3200" y="943"/>
                </a:lnTo>
                <a:lnTo>
                  <a:pt x="3198" y="943"/>
                </a:lnTo>
                <a:lnTo>
                  <a:pt x="3200" y="943"/>
                </a:lnTo>
                <a:lnTo>
                  <a:pt x="3210" y="941"/>
                </a:lnTo>
                <a:lnTo>
                  <a:pt x="3212" y="941"/>
                </a:lnTo>
                <a:lnTo>
                  <a:pt x="3210" y="941"/>
                </a:lnTo>
                <a:lnTo>
                  <a:pt x="3210" y="941"/>
                </a:lnTo>
                <a:lnTo>
                  <a:pt x="3316" y="933"/>
                </a:lnTo>
                <a:lnTo>
                  <a:pt x="3316" y="933"/>
                </a:lnTo>
                <a:lnTo>
                  <a:pt x="3232" y="939"/>
                </a:lnTo>
                <a:lnTo>
                  <a:pt x="3156" y="945"/>
                </a:lnTo>
                <a:lnTo>
                  <a:pt x="3156" y="945"/>
                </a:lnTo>
                <a:lnTo>
                  <a:pt x="3125" y="947"/>
                </a:lnTo>
                <a:lnTo>
                  <a:pt x="3099" y="947"/>
                </a:lnTo>
                <a:lnTo>
                  <a:pt x="3073" y="949"/>
                </a:lnTo>
                <a:lnTo>
                  <a:pt x="3035" y="951"/>
                </a:lnTo>
                <a:lnTo>
                  <a:pt x="3035" y="951"/>
                </a:lnTo>
                <a:lnTo>
                  <a:pt x="3045" y="953"/>
                </a:lnTo>
                <a:lnTo>
                  <a:pt x="3063" y="951"/>
                </a:lnTo>
                <a:lnTo>
                  <a:pt x="3063" y="951"/>
                </a:lnTo>
                <a:lnTo>
                  <a:pt x="3009" y="955"/>
                </a:lnTo>
                <a:lnTo>
                  <a:pt x="3009" y="955"/>
                </a:lnTo>
                <a:lnTo>
                  <a:pt x="3007" y="955"/>
                </a:lnTo>
                <a:lnTo>
                  <a:pt x="3007" y="957"/>
                </a:lnTo>
                <a:lnTo>
                  <a:pt x="3015" y="955"/>
                </a:lnTo>
                <a:lnTo>
                  <a:pt x="3019" y="955"/>
                </a:lnTo>
                <a:lnTo>
                  <a:pt x="3011" y="957"/>
                </a:lnTo>
                <a:lnTo>
                  <a:pt x="3011" y="957"/>
                </a:lnTo>
                <a:lnTo>
                  <a:pt x="2993" y="957"/>
                </a:lnTo>
                <a:lnTo>
                  <a:pt x="2985" y="957"/>
                </a:lnTo>
                <a:lnTo>
                  <a:pt x="2989" y="957"/>
                </a:lnTo>
                <a:lnTo>
                  <a:pt x="2989" y="957"/>
                </a:lnTo>
                <a:lnTo>
                  <a:pt x="2957" y="959"/>
                </a:lnTo>
                <a:lnTo>
                  <a:pt x="2939" y="961"/>
                </a:lnTo>
                <a:lnTo>
                  <a:pt x="2923" y="961"/>
                </a:lnTo>
                <a:lnTo>
                  <a:pt x="2895" y="965"/>
                </a:lnTo>
                <a:lnTo>
                  <a:pt x="2895" y="965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11" y="965"/>
                </a:lnTo>
                <a:lnTo>
                  <a:pt x="2877" y="969"/>
                </a:lnTo>
                <a:lnTo>
                  <a:pt x="2877" y="969"/>
                </a:lnTo>
                <a:lnTo>
                  <a:pt x="2865" y="969"/>
                </a:lnTo>
                <a:lnTo>
                  <a:pt x="2839" y="971"/>
                </a:lnTo>
                <a:lnTo>
                  <a:pt x="2839" y="971"/>
                </a:lnTo>
                <a:lnTo>
                  <a:pt x="2837" y="971"/>
                </a:lnTo>
                <a:lnTo>
                  <a:pt x="2841" y="971"/>
                </a:lnTo>
                <a:lnTo>
                  <a:pt x="2857" y="969"/>
                </a:lnTo>
                <a:lnTo>
                  <a:pt x="2889" y="965"/>
                </a:lnTo>
                <a:lnTo>
                  <a:pt x="2843" y="969"/>
                </a:lnTo>
                <a:lnTo>
                  <a:pt x="2853" y="969"/>
                </a:lnTo>
                <a:lnTo>
                  <a:pt x="2803" y="973"/>
                </a:lnTo>
                <a:lnTo>
                  <a:pt x="2803" y="973"/>
                </a:lnTo>
                <a:lnTo>
                  <a:pt x="2819" y="973"/>
                </a:lnTo>
                <a:lnTo>
                  <a:pt x="2823" y="973"/>
                </a:lnTo>
                <a:lnTo>
                  <a:pt x="2805" y="975"/>
                </a:lnTo>
                <a:lnTo>
                  <a:pt x="2805" y="975"/>
                </a:lnTo>
                <a:lnTo>
                  <a:pt x="2757" y="979"/>
                </a:lnTo>
                <a:lnTo>
                  <a:pt x="2743" y="979"/>
                </a:lnTo>
                <a:lnTo>
                  <a:pt x="2739" y="979"/>
                </a:lnTo>
                <a:lnTo>
                  <a:pt x="2739" y="979"/>
                </a:lnTo>
                <a:lnTo>
                  <a:pt x="2708" y="983"/>
                </a:lnTo>
                <a:lnTo>
                  <a:pt x="2660" y="987"/>
                </a:lnTo>
                <a:lnTo>
                  <a:pt x="2660" y="987"/>
                </a:lnTo>
                <a:lnTo>
                  <a:pt x="2674" y="985"/>
                </a:lnTo>
                <a:lnTo>
                  <a:pt x="2674" y="987"/>
                </a:lnTo>
                <a:lnTo>
                  <a:pt x="2654" y="989"/>
                </a:lnTo>
                <a:lnTo>
                  <a:pt x="2604" y="991"/>
                </a:lnTo>
                <a:lnTo>
                  <a:pt x="2604" y="991"/>
                </a:lnTo>
                <a:lnTo>
                  <a:pt x="2626" y="989"/>
                </a:lnTo>
                <a:lnTo>
                  <a:pt x="2620" y="989"/>
                </a:lnTo>
                <a:lnTo>
                  <a:pt x="2608" y="989"/>
                </a:lnTo>
                <a:lnTo>
                  <a:pt x="2604" y="989"/>
                </a:lnTo>
                <a:lnTo>
                  <a:pt x="2606" y="989"/>
                </a:lnTo>
                <a:lnTo>
                  <a:pt x="2606" y="989"/>
                </a:lnTo>
                <a:lnTo>
                  <a:pt x="2638" y="985"/>
                </a:lnTo>
                <a:lnTo>
                  <a:pt x="2680" y="983"/>
                </a:lnTo>
                <a:lnTo>
                  <a:pt x="2680" y="983"/>
                </a:lnTo>
                <a:lnTo>
                  <a:pt x="2646" y="985"/>
                </a:lnTo>
                <a:lnTo>
                  <a:pt x="2616" y="987"/>
                </a:lnTo>
                <a:lnTo>
                  <a:pt x="2588" y="991"/>
                </a:lnTo>
                <a:lnTo>
                  <a:pt x="2558" y="993"/>
                </a:lnTo>
                <a:lnTo>
                  <a:pt x="2558" y="993"/>
                </a:lnTo>
                <a:lnTo>
                  <a:pt x="2562" y="991"/>
                </a:lnTo>
                <a:lnTo>
                  <a:pt x="2582" y="989"/>
                </a:lnTo>
                <a:lnTo>
                  <a:pt x="2582" y="989"/>
                </a:lnTo>
                <a:lnTo>
                  <a:pt x="2554" y="993"/>
                </a:lnTo>
                <a:lnTo>
                  <a:pt x="2508" y="997"/>
                </a:lnTo>
                <a:lnTo>
                  <a:pt x="2508" y="997"/>
                </a:lnTo>
                <a:lnTo>
                  <a:pt x="2520" y="997"/>
                </a:lnTo>
                <a:lnTo>
                  <a:pt x="2518" y="997"/>
                </a:lnTo>
                <a:lnTo>
                  <a:pt x="2502" y="999"/>
                </a:lnTo>
                <a:lnTo>
                  <a:pt x="2460" y="1001"/>
                </a:lnTo>
                <a:lnTo>
                  <a:pt x="2460" y="1001"/>
                </a:lnTo>
                <a:lnTo>
                  <a:pt x="2436" y="1003"/>
                </a:lnTo>
                <a:lnTo>
                  <a:pt x="2428" y="1005"/>
                </a:lnTo>
                <a:lnTo>
                  <a:pt x="2422" y="1005"/>
                </a:lnTo>
                <a:lnTo>
                  <a:pt x="2404" y="1009"/>
                </a:lnTo>
                <a:lnTo>
                  <a:pt x="2430" y="1007"/>
                </a:lnTo>
                <a:lnTo>
                  <a:pt x="2430" y="1007"/>
                </a:lnTo>
                <a:lnTo>
                  <a:pt x="2402" y="1011"/>
                </a:lnTo>
                <a:lnTo>
                  <a:pt x="2374" y="1013"/>
                </a:lnTo>
                <a:lnTo>
                  <a:pt x="2374" y="1013"/>
                </a:lnTo>
                <a:lnTo>
                  <a:pt x="2440" y="1007"/>
                </a:lnTo>
                <a:lnTo>
                  <a:pt x="2440" y="1007"/>
                </a:lnTo>
                <a:lnTo>
                  <a:pt x="2442" y="1007"/>
                </a:lnTo>
                <a:lnTo>
                  <a:pt x="2438" y="1009"/>
                </a:lnTo>
                <a:lnTo>
                  <a:pt x="2424" y="1009"/>
                </a:lnTo>
                <a:lnTo>
                  <a:pt x="2392" y="1013"/>
                </a:lnTo>
                <a:lnTo>
                  <a:pt x="2392" y="1013"/>
                </a:lnTo>
                <a:lnTo>
                  <a:pt x="2307" y="1017"/>
                </a:lnTo>
                <a:lnTo>
                  <a:pt x="2307" y="1017"/>
                </a:lnTo>
                <a:lnTo>
                  <a:pt x="2318" y="1015"/>
                </a:lnTo>
                <a:lnTo>
                  <a:pt x="2340" y="1013"/>
                </a:lnTo>
                <a:lnTo>
                  <a:pt x="2360" y="1009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275" y="1015"/>
                </a:lnTo>
                <a:lnTo>
                  <a:pt x="2201" y="1021"/>
                </a:lnTo>
                <a:lnTo>
                  <a:pt x="2201" y="1021"/>
                </a:lnTo>
                <a:lnTo>
                  <a:pt x="2163" y="1025"/>
                </a:lnTo>
                <a:lnTo>
                  <a:pt x="2161" y="1027"/>
                </a:lnTo>
                <a:lnTo>
                  <a:pt x="2161" y="1027"/>
                </a:lnTo>
                <a:lnTo>
                  <a:pt x="2165" y="1027"/>
                </a:lnTo>
                <a:lnTo>
                  <a:pt x="2165" y="1027"/>
                </a:lnTo>
                <a:lnTo>
                  <a:pt x="2123" y="1031"/>
                </a:lnTo>
                <a:lnTo>
                  <a:pt x="2145" y="1029"/>
                </a:lnTo>
                <a:lnTo>
                  <a:pt x="2145" y="1029"/>
                </a:lnTo>
                <a:lnTo>
                  <a:pt x="1993" y="1043"/>
                </a:lnTo>
                <a:lnTo>
                  <a:pt x="1993" y="1043"/>
                </a:lnTo>
                <a:lnTo>
                  <a:pt x="1971" y="1045"/>
                </a:lnTo>
                <a:lnTo>
                  <a:pt x="1981" y="1047"/>
                </a:lnTo>
                <a:lnTo>
                  <a:pt x="1943" y="1049"/>
                </a:lnTo>
                <a:lnTo>
                  <a:pt x="1949" y="1049"/>
                </a:lnTo>
                <a:lnTo>
                  <a:pt x="1949" y="1049"/>
                </a:lnTo>
                <a:lnTo>
                  <a:pt x="1921" y="1053"/>
                </a:lnTo>
                <a:lnTo>
                  <a:pt x="1882" y="1055"/>
                </a:lnTo>
                <a:lnTo>
                  <a:pt x="1882" y="1055"/>
                </a:lnTo>
                <a:lnTo>
                  <a:pt x="1895" y="1053"/>
                </a:lnTo>
                <a:lnTo>
                  <a:pt x="1895" y="1053"/>
                </a:lnTo>
                <a:lnTo>
                  <a:pt x="1822" y="1059"/>
                </a:lnTo>
                <a:lnTo>
                  <a:pt x="1822" y="1059"/>
                </a:lnTo>
                <a:lnTo>
                  <a:pt x="1832" y="1057"/>
                </a:lnTo>
                <a:lnTo>
                  <a:pt x="1862" y="1055"/>
                </a:lnTo>
                <a:lnTo>
                  <a:pt x="1862" y="1055"/>
                </a:lnTo>
                <a:lnTo>
                  <a:pt x="1866" y="1055"/>
                </a:lnTo>
                <a:lnTo>
                  <a:pt x="1913" y="1051"/>
                </a:lnTo>
                <a:lnTo>
                  <a:pt x="1913" y="1051"/>
                </a:lnTo>
                <a:lnTo>
                  <a:pt x="1852" y="1055"/>
                </a:lnTo>
                <a:lnTo>
                  <a:pt x="1836" y="1055"/>
                </a:lnTo>
                <a:lnTo>
                  <a:pt x="1830" y="1055"/>
                </a:lnTo>
                <a:lnTo>
                  <a:pt x="1830" y="1055"/>
                </a:lnTo>
                <a:lnTo>
                  <a:pt x="1814" y="1057"/>
                </a:lnTo>
                <a:lnTo>
                  <a:pt x="1824" y="1055"/>
                </a:lnTo>
                <a:lnTo>
                  <a:pt x="1832" y="1055"/>
                </a:lnTo>
                <a:lnTo>
                  <a:pt x="1812" y="1057"/>
                </a:lnTo>
                <a:lnTo>
                  <a:pt x="1812" y="1057"/>
                </a:lnTo>
                <a:lnTo>
                  <a:pt x="1752" y="1061"/>
                </a:lnTo>
                <a:lnTo>
                  <a:pt x="1698" y="1065"/>
                </a:lnTo>
                <a:lnTo>
                  <a:pt x="1652" y="1069"/>
                </a:lnTo>
                <a:lnTo>
                  <a:pt x="1614" y="1069"/>
                </a:lnTo>
                <a:lnTo>
                  <a:pt x="1614" y="1069"/>
                </a:lnTo>
                <a:lnTo>
                  <a:pt x="1552" y="1075"/>
                </a:lnTo>
                <a:lnTo>
                  <a:pt x="1474" y="1083"/>
                </a:lnTo>
                <a:lnTo>
                  <a:pt x="1474" y="1083"/>
                </a:lnTo>
                <a:lnTo>
                  <a:pt x="1453" y="1085"/>
                </a:lnTo>
                <a:lnTo>
                  <a:pt x="1443" y="1085"/>
                </a:lnTo>
                <a:lnTo>
                  <a:pt x="1439" y="1087"/>
                </a:lnTo>
                <a:lnTo>
                  <a:pt x="1439" y="1087"/>
                </a:lnTo>
                <a:lnTo>
                  <a:pt x="1439" y="1087"/>
                </a:lnTo>
                <a:lnTo>
                  <a:pt x="1480" y="1085"/>
                </a:lnTo>
                <a:lnTo>
                  <a:pt x="1518" y="1081"/>
                </a:lnTo>
                <a:lnTo>
                  <a:pt x="1554" y="1077"/>
                </a:lnTo>
                <a:lnTo>
                  <a:pt x="1590" y="1075"/>
                </a:lnTo>
                <a:lnTo>
                  <a:pt x="1590" y="1075"/>
                </a:lnTo>
                <a:lnTo>
                  <a:pt x="1608" y="1073"/>
                </a:lnTo>
                <a:lnTo>
                  <a:pt x="1616" y="1071"/>
                </a:lnTo>
                <a:lnTo>
                  <a:pt x="1616" y="1071"/>
                </a:lnTo>
                <a:lnTo>
                  <a:pt x="1662" y="1069"/>
                </a:lnTo>
                <a:lnTo>
                  <a:pt x="1662" y="1069"/>
                </a:lnTo>
                <a:lnTo>
                  <a:pt x="1638" y="1071"/>
                </a:lnTo>
                <a:lnTo>
                  <a:pt x="1628" y="1073"/>
                </a:lnTo>
                <a:lnTo>
                  <a:pt x="1616" y="1075"/>
                </a:lnTo>
                <a:lnTo>
                  <a:pt x="1584" y="1079"/>
                </a:lnTo>
                <a:lnTo>
                  <a:pt x="1584" y="1079"/>
                </a:lnTo>
                <a:lnTo>
                  <a:pt x="1620" y="1077"/>
                </a:lnTo>
                <a:lnTo>
                  <a:pt x="1668" y="1073"/>
                </a:lnTo>
                <a:lnTo>
                  <a:pt x="1668" y="1073"/>
                </a:lnTo>
                <a:lnTo>
                  <a:pt x="1666" y="1073"/>
                </a:lnTo>
                <a:lnTo>
                  <a:pt x="1668" y="1073"/>
                </a:lnTo>
                <a:lnTo>
                  <a:pt x="1684" y="1073"/>
                </a:lnTo>
                <a:lnTo>
                  <a:pt x="1684" y="1073"/>
                </a:lnTo>
                <a:lnTo>
                  <a:pt x="1610" y="1081"/>
                </a:lnTo>
                <a:lnTo>
                  <a:pt x="1610" y="1081"/>
                </a:lnTo>
                <a:lnTo>
                  <a:pt x="1612" y="1081"/>
                </a:lnTo>
                <a:lnTo>
                  <a:pt x="1612" y="1081"/>
                </a:lnTo>
                <a:lnTo>
                  <a:pt x="1610" y="1081"/>
                </a:lnTo>
                <a:lnTo>
                  <a:pt x="1610" y="1081"/>
                </a:lnTo>
                <a:lnTo>
                  <a:pt x="1542" y="1087"/>
                </a:lnTo>
                <a:lnTo>
                  <a:pt x="1542" y="1087"/>
                </a:lnTo>
                <a:lnTo>
                  <a:pt x="1522" y="1087"/>
                </a:lnTo>
                <a:lnTo>
                  <a:pt x="1522" y="1087"/>
                </a:lnTo>
                <a:lnTo>
                  <a:pt x="1528" y="1087"/>
                </a:lnTo>
                <a:lnTo>
                  <a:pt x="1528" y="1087"/>
                </a:lnTo>
                <a:lnTo>
                  <a:pt x="1461" y="1091"/>
                </a:lnTo>
                <a:lnTo>
                  <a:pt x="1435" y="1093"/>
                </a:lnTo>
                <a:lnTo>
                  <a:pt x="1425" y="1093"/>
                </a:lnTo>
                <a:lnTo>
                  <a:pt x="1425" y="1093"/>
                </a:lnTo>
                <a:lnTo>
                  <a:pt x="1407" y="1095"/>
                </a:lnTo>
                <a:lnTo>
                  <a:pt x="1415" y="1095"/>
                </a:lnTo>
                <a:lnTo>
                  <a:pt x="1445" y="1093"/>
                </a:lnTo>
                <a:lnTo>
                  <a:pt x="1441" y="1093"/>
                </a:lnTo>
                <a:lnTo>
                  <a:pt x="1492" y="1089"/>
                </a:lnTo>
                <a:lnTo>
                  <a:pt x="1492" y="1089"/>
                </a:lnTo>
                <a:lnTo>
                  <a:pt x="1486" y="1091"/>
                </a:lnTo>
                <a:lnTo>
                  <a:pt x="1463" y="1093"/>
                </a:lnTo>
                <a:lnTo>
                  <a:pt x="1439" y="1095"/>
                </a:lnTo>
                <a:lnTo>
                  <a:pt x="1425" y="1097"/>
                </a:lnTo>
                <a:lnTo>
                  <a:pt x="1425" y="1097"/>
                </a:lnTo>
                <a:lnTo>
                  <a:pt x="1419" y="1097"/>
                </a:lnTo>
                <a:lnTo>
                  <a:pt x="1409" y="1099"/>
                </a:lnTo>
                <a:lnTo>
                  <a:pt x="1381" y="1101"/>
                </a:lnTo>
                <a:lnTo>
                  <a:pt x="1317" y="1103"/>
                </a:lnTo>
                <a:lnTo>
                  <a:pt x="1357" y="1097"/>
                </a:lnTo>
                <a:lnTo>
                  <a:pt x="1321" y="1101"/>
                </a:lnTo>
                <a:lnTo>
                  <a:pt x="1321" y="1101"/>
                </a:lnTo>
                <a:lnTo>
                  <a:pt x="1343" y="1097"/>
                </a:lnTo>
                <a:lnTo>
                  <a:pt x="1375" y="1093"/>
                </a:lnTo>
                <a:lnTo>
                  <a:pt x="1375" y="1093"/>
                </a:lnTo>
                <a:lnTo>
                  <a:pt x="1221" y="1101"/>
                </a:lnTo>
                <a:lnTo>
                  <a:pt x="1221" y="1101"/>
                </a:lnTo>
                <a:lnTo>
                  <a:pt x="1207" y="1101"/>
                </a:lnTo>
                <a:lnTo>
                  <a:pt x="1207" y="1101"/>
                </a:lnTo>
                <a:lnTo>
                  <a:pt x="1209" y="1099"/>
                </a:lnTo>
                <a:lnTo>
                  <a:pt x="1209" y="1099"/>
                </a:lnTo>
                <a:lnTo>
                  <a:pt x="1175" y="1103"/>
                </a:lnTo>
                <a:lnTo>
                  <a:pt x="1145" y="1103"/>
                </a:lnTo>
                <a:lnTo>
                  <a:pt x="1087" y="1107"/>
                </a:lnTo>
                <a:lnTo>
                  <a:pt x="1087" y="1107"/>
                </a:lnTo>
                <a:lnTo>
                  <a:pt x="1075" y="1107"/>
                </a:lnTo>
                <a:lnTo>
                  <a:pt x="1089" y="1107"/>
                </a:lnTo>
                <a:lnTo>
                  <a:pt x="1105" y="1107"/>
                </a:lnTo>
                <a:lnTo>
                  <a:pt x="1107" y="1107"/>
                </a:lnTo>
                <a:lnTo>
                  <a:pt x="1101" y="1109"/>
                </a:lnTo>
                <a:lnTo>
                  <a:pt x="1101" y="1109"/>
                </a:lnTo>
                <a:lnTo>
                  <a:pt x="1073" y="1109"/>
                </a:lnTo>
                <a:lnTo>
                  <a:pt x="1048" y="1113"/>
                </a:lnTo>
                <a:lnTo>
                  <a:pt x="1048" y="1113"/>
                </a:lnTo>
                <a:lnTo>
                  <a:pt x="1145" y="1107"/>
                </a:lnTo>
                <a:lnTo>
                  <a:pt x="1145" y="1107"/>
                </a:lnTo>
                <a:lnTo>
                  <a:pt x="1123" y="1109"/>
                </a:lnTo>
                <a:lnTo>
                  <a:pt x="1115" y="1111"/>
                </a:lnTo>
                <a:lnTo>
                  <a:pt x="1157" y="1109"/>
                </a:lnTo>
                <a:lnTo>
                  <a:pt x="1157" y="1109"/>
                </a:lnTo>
                <a:lnTo>
                  <a:pt x="1149" y="1109"/>
                </a:lnTo>
                <a:lnTo>
                  <a:pt x="1129" y="1111"/>
                </a:lnTo>
                <a:lnTo>
                  <a:pt x="1087" y="1115"/>
                </a:lnTo>
                <a:lnTo>
                  <a:pt x="1087" y="1115"/>
                </a:lnTo>
                <a:lnTo>
                  <a:pt x="1105" y="1109"/>
                </a:lnTo>
                <a:lnTo>
                  <a:pt x="1105" y="1109"/>
                </a:lnTo>
                <a:lnTo>
                  <a:pt x="1040" y="1113"/>
                </a:lnTo>
                <a:lnTo>
                  <a:pt x="982" y="1117"/>
                </a:lnTo>
                <a:lnTo>
                  <a:pt x="982" y="1117"/>
                </a:lnTo>
                <a:lnTo>
                  <a:pt x="978" y="1117"/>
                </a:lnTo>
                <a:lnTo>
                  <a:pt x="984" y="1115"/>
                </a:lnTo>
                <a:lnTo>
                  <a:pt x="1008" y="1113"/>
                </a:lnTo>
                <a:lnTo>
                  <a:pt x="1008" y="1113"/>
                </a:lnTo>
                <a:lnTo>
                  <a:pt x="986" y="1115"/>
                </a:lnTo>
                <a:lnTo>
                  <a:pt x="964" y="1115"/>
                </a:lnTo>
                <a:lnTo>
                  <a:pt x="964" y="1115"/>
                </a:lnTo>
                <a:lnTo>
                  <a:pt x="978" y="1115"/>
                </a:lnTo>
                <a:lnTo>
                  <a:pt x="998" y="1113"/>
                </a:lnTo>
                <a:lnTo>
                  <a:pt x="894" y="1119"/>
                </a:lnTo>
                <a:lnTo>
                  <a:pt x="894" y="1119"/>
                </a:lnTo>
                <a:lnTo>
                  <a:pt x="936" y="1115"/>
                </a:lnTo>
                <a:lnTo>
                  <a:pt x="936" y="1115"/>
                </a:lnTo>
                <a:lnTo>
                  <a:pt x="892" y="1119"/>
                </a:lnTo>
                <a:lnTo>
                  <a:pt x="844" y="1123"/>
                </a:lnTo>
                <a:lnTo>
                  <a:pt x="844" y="1123"/>
                </a:lnTo>
                <a:lnTo>
                  <a:pt x="792" y="1125"/>
                </a:lnTo>
                <a:lnTo>
                  <a:pt x="778" y="1125"/>
                </a:lnTo>
                <a:lnTo>
                  <a:pt x="776" y="1125"/>
                </a:lnTo>
                <a:lnTo>
                  <a:pt x="778" y="1125"/>
                </a:lnTo>
                <a:lnTo>
                  <a:pt x="778" y="1125"/>
                </a:lnTo>
                <a:lnTo>
                  <a:pt x="768" y="1125"/>
                </a:lnTo>
                <a:lnTo>
                  <a:pt x="772" y="1127"/>
                </a:lnTo>
                <a:lnTo>
                  <a:pt x="772" y="1127"/>
                </a:lnTo>
                <a:lnTo>
                  <a:pt x="724" y="1129"/>
                </a:lnTo>
                <a:lnTo>
                  <a:pt x="688" y="1133"/>
                </a:lnTo>
                <a:lnTo>
                  <a:pt x="712" y="1133"/>
                </a:lnTo>
                <a:lnTo>
                  <a:pt x="712" y="1133"/>
                </a:lnTo>
                <a:lnTo>
                  <a:pt x="688" y="1133"/>
                </a:lnTo>
                <a:lnTo>
                  <a:pt x="682" y="1135"/>
                </a:lnTo>
                <a:lnTo>
                  <a:pt x="678" y="1135"/>
                </a:lnTo>
                <a:lnTo>
                  <a:pt x="658" y="1137"/>
                </a:lnTo>
                <a:lnTo>
                  <a:pt x="658" y="1137"/>
                </a:lnTo>
                <a:lnTo>
                  <a:pt x="662" y="1135"/>
                </a:lnTo>
                <a:lnTo>
                  <a:pt x="662" y="1135"/>
                </a:lnTo>
                <a:lnTo>
                  <a:pt x="656" y="1133"/>
                </a:lnTo>
                <a:lnTo>
                  <a:pt x="656" y="1133"/>
                </a:lnTo>
                <a:lnTo>
                  <a:pt x="634" y="1135"/>
                </a:lnTo>
                <a:lnTo>
                  <a:pt x="603" y="1135"/>
                </a:lnTo>
                <a:lnTo>
                  <a:pt x="603" y="1135"/>
                </a:lnTo>
                <a:lnTo>
                  <a:pt x="605" y="1135"/>
                </a:lnTo>
                <a:lnTo>
                  <a:pt x="601" y="1137"/>
                </a:lnTo>
                <a:lnTo>
                  <a:pt x="591" y="1137"/>
                </a:lnTo>
                <a:lnTo>
                  <a:pt x="585" y="1139"/>
                </a:lnTo>
                <a:lnTo>
                  <a:pt x="593" y="1139"/>
                </a:lnTo>
                <a:lnTo>
                  <a:pt x="593" y="1139"/>
                </a:lnTo>
                <a:lnTo>
                  <a:pt x="543" y="1141"/>
                </a:lnTo>
                <a:lnTo>
                  <a:pt x="501" y="1145"/>
                </a:lnTo>
                <a:lnTo>
                  <a:pt x="501" y="1145"/>
                </a:lnTo>
                <a:lnTo>
                  <a:pt x="505" y="1145"/>
                </a:lnTo>
                <a:lnTo>
                  <a:pt x="493" y="1145"/>
                </a:lnTo>
                <a:lnTo>
                  <a:pt x="481" y="1147"/>
                </a:lnTo>
                <a:lnTo>
                  <a:pt x="479" y="1147"/>
                </a:lnTo>
                <a:lnTo>
                  <a:pt x="483" y="1147"/>
                </a:lnTo>
                <a:lnTo>
                  <a:pt x="483" y="1147"/>
                </a:lnTo>
                <a:lnTo>
                  <a:pt x="435" y="1149"/>
                </a:lnTo>
                <a:lnTo>
                  <a:pt x="423" y="1149"/>
                </a:lnTo>
                <a:lnTo>
                  <a:pt x="423" y="1149"/>
                </a:lnTo>
                <a:lnTo>
                  <a:pt x="425" y="1147"/>
                </a:lnTo>
                <a:lnTo>
                  <a:pt x="425" y="1147"/>
                </a:lnTo>
                <a:lnTo>
                  <a:pt x="449" y="1147"/>
                </a:lnTo>
                <a:lnTo>
                  <a:pt x="459" y="1145"/>
                </a:lnTo>
                <a:lnTo>
                  <a:pt x="385" y="1149"/>
                </a:lnTo>
                <a:lnTo>
                  <a:pt x="385" y="1149"/>
                </a:lnTo>
                <a:lnTo>
                  <a:pt x="357" y="1149"/>
                </a:lnTo>
                <a:lnTo>
                  <a:pt x="341" y="1149"/>
                </a:lnTo>
                <a:lnTo>
                  <a:pt x="341" y="1149"/>
                </a:lnTo>
                <a:lnTo>
                  <a:pt x="295" y="1151"/>
                </a:lnTo>
                <a:lnTo>
                  <a:pt x="271" y="1151"/>
                </a:lnTo>
                <a:lnTo>
                  <a:pt x="253" y="1153"/>
                </a:lnTo>
                <a:lnTo>
                  <a:pt x="253" y="1153"/>
                </a:lnTo>
                <a:lnTo>
                  <a:pt x="287" y="1151"/>
                </a:lnTo>
                <a:lnTo>
                  <a:pt x="307" y="1151"/>
                </a:lnTo>
                <a:lnTo>
                  <a:pt x="297" y="1153"/>
                </a:lnTo>
                <a:lnTo>
                  <a:pt x="303" y="1153"/>
                </a:lnTo>
                <a:lnTo>
                  <a:pt x="271" y="1157"/>
                </a:lnTo>
                <a:lnTo>
                  <a:pt x="271" y="1157"/>
                </a:lnTo>
                <a:lnTo>
                  <a:pt x="285" y="1155"/>
                </a:lnTo>
                <a:lnTo>
                  <a:pt x="291" y="1155"/>
                </a:lnTo>
                <a:lnTo>
                  <a:pt x="297" y="1153"/>
                </a:lnTo>
                <a:lnTo>
                  <a:pt x="319" y="1153"/>
                </a:lnTo>
                <a:lnTo>
                  <a:pt x="319" y="1153"/>
                </a:lnTo>
                <a:lnTo>
                  <a:pt x="327" y="1153"/>
                </a:lnTo>
                <a:lnTo>
                  <a:pt x="323" y="1153"/>
                </a:lnTo>
                <a:lnTo>
                  <a:pt x="295" y="1157"/>
                </a:lnTo>
                <a:lnTo>
                  <a:pt x="269" y="1159"/>
                </a:lnTo>
                <a:lnTo>
                  <a:pt x="265" y="1159"/>
                </a:lnTo>
                <a:lnTo>
                  <a:pt x="273" y="1159"/>
                </a:lnTo>
                <a:lnTo>
                  <a:pt x="273" y="1159"/>
                </a:lnTo>
                <a:lnTo>
                  <a:pt x="303" y="1157"/>
                </a:lnTo>
                <a:lnTo>
                  <a:pt x="327" y="1155"/>
                </a:lnTo>
                <a:lnTo>
                  <a:pt x="319" y="1155"/>
                </a:lnTo>
                <a:lnTo>
                  <a:pt x="379" y="1151"/>
                </a:lnTo>
                <a:lnTo>
                  <a:pt x="379" y="1151"/>
                </a:lnTo>
                <a:lnTo>
                  <a:pt x="373" y="1153"/>
                </a:lnTo>
                <a:lnTo>
                  <a:pt x="363" y="1153"/>
                </a:lnTo>
                <a:lnTo>
                  <a:pt x="363" y="1153"/>
                </a:lnTo>
                <a:lnTo>
                  <a:pt x="525" y="1147"/>
                </a:lnTo>
                <a:lnTo>
                  <a:pt x="525" y="1147"/>
                </a:lnTo>
                <a:lnTo>
                  <a:pt x="517" y="1147"/>
                </a:lnTo>
                <a:lnTo>
                  <a:pt x="521" y="1145"/>
                </a:lnTo>
                <a:lnTo>
                  <a:pt x="539" y="1143"/>
                </a:lnTo>
                <a:lnTo>
                  <a:pt x="539" y="1143"/>
                </a:lnTo>
                <a:lnTo>
                  <a:pt x="565" y="1143"/>
                </a:lnTo>
                <a:lnTo>
                  <a:pt x="587" y="1141"/>
                </a:lnTo>
                <a:lnTo>
                  <a:pt x="587" y="1141"/>
                </a:lnTo>
                <a:lnTo>
                  <a:pt x="569" y="1143"/>
                </a:lnTo>
                <a:lnTo>
                  <a:pt x="547" y="1145"/>
                </a:lnTo>
                <a:lnTo>
                  <a:pt x="549" y="1147"/>
                </a:lnTo>
                <a:lnTo>
                  <a:pt x="549" y="1147"/>
                </a:lnTo>
                <a:lnTo>
                  <a:pt x="503" y="1151"/>
                </a:lnTo>
                <a:lnTo>
                  <a:pt x="443" y="1157"/>
                </a:lnTo>
                <a:lnTo>
                  <a:pt x="443" y="1157"/>
                </a:lnTo>
                <a:lnTo>
                  <a:pt x="405" y="1159"/>
                </a:lnTo>
                <a:lnTo>
                  <a:pt x="339" y="1163"/>
                </a:lnTo>
                <a:lnTo>
                  <a:pt x="359" y="1163"/>
                </a:lnTo>
                <a:lnTo>
                  <a:pt x="359" y="1163"/>
                </a:lnTo>
                <a:lnTo>
                  <a:pt x="339" y="1165"/>
                </a:lnTo>
                <a:lnTo>
                  <a:pt x="331" y="1165"/>
                </a:lnTo>
                <a:lnTo>
                  <a:pt x="321" y="1165"/>
                </a:lnTo>
                <a:lnTo>
                  <a:pt x="293" y="1167"/>
                </a:lnTo>
                <a:lnTo>
                  <a:pt x="293" y="1167"/>
                </a:lnTo>
                <a:lnTo>
                  <a:pt x="255" y="1165"/>
                </a:lnTo>
                <a:lnTo>
                  <a:pt x="247" y="1163"/>
                </a:lnTo>
                <a:lnTo>
                  <a:pt x="259" y="1161"/>
                </a:lnTo>
                <a:lnTo>
                  <a:pt x="259" y="1161"/>
                </a:lnTo>
                <a:lnTo>
                  <a:pt x="211" y="1163"/>
                </a:lnTo>
                <a:lnTo>
                  <a:pt x="166" y="1165"/>
                </a:lnTo>
                <a:lnTo>
                  <a:pt x="166" y="1165"/>
                </a:lnTo>
                <a:lnTo>
                  <a:pt x="160" y="1165"/>
                </a:lnTo>
                <a:lnTo>
                  <a:pt x="164" y="1163"/>
                </a:lnTo>
                <a:lnTo>
                  <a:pt x="172" y="1163"/>
                </a:lnTo>
                <a:lnTo>
                  <a:pt x="174" y="1161"/>
                </a:lnTo>
                <a:lnTo>
                  <a:pt x="174" y="1161"/>
                </a:lnTo>
                <a:lnTo>
                  <a:pt x="174" y="1161"/>
                </a:lnTo>
                <a:lnTo>
                  <a:pt x="136" y="1163"/>
                </a:lnTo>
                <a:lnTo>
                  <a:pt x="128" y="1165"/>
                </a:lnTo>
                <a:lnTo>
                  <a:pt x="134" y="1165"/>
                </a:lnTo>
                <a:lnTo>
                  <a:pt x="84" y="1167"/>
                </a:lnTo>
                <a:lnTo>
                  <a:pt x="84" y="1167"/>
                </a:lnTo>
                <a:lnTo>
                  <a:pt x="106" y="1165"/>
                </a:lnTo>
                <a:lnTo>
                  <a:pt x="106" y="1165"/>
                </a:lnTo>
                <a:lnTo>
                  <a:pt x="38" y="1169"/>
                </a:lnTo>
                <a:lnTo>
                  <a:pt x="38" y="1169"/>
                </a:lnTo>
                <a:lnTo>
                  <a:pt x="60" y="1167"/>
                </a:lnTo>
                <a:lnTo>
                  <a:pt x="60" y="1167"/>
                </a:lnTo>
                <a:lnTo>
                  <a:pt x="0" y="1173"/>
                </a:lnTo>
                <a:lnTo>
                  <a:pt x="0" y="1173"/>
                </a:lnTo>
                <a:lnTo>
                  <a:pt x="32" y="1171"/>
                </a:lnTo>
                <a:lnTo>
                  <a:pt x="66" y="1169"/>
                </a:lnTo>
                <a:lnTo>
                  <a:pt x="66" y="1169"/>
                </a:lnTo>
                <a:lnTo>
                  <a:pt x="58" y="1171"/>
                </a:lnTo>
                <a:lnTo>
                  <a:pt x="40" y="1171"/>
                </a:lnTo>
                <a:lnTo>
                  <a:pt x="40" y="1171"/>
                </a:lnTo>
                <a:lnTo>
                  <a:pt x="78" y="1171"/>
                </a:lnTo>
                <a:lnTo>
                  <a:pt x="104" y="1171"/>
                </a:lnTo>
                <a:lnTo>
                  <a:pt x="104" y="1171"/>
                </a:lnTo>
                <a:lnTo>
                  <a:pt x="78" y="1173"/>
                </a:lnTo>
                <a:lnTo>
                  <a:pt x="64" y="1173"/>
                </a:lnTo>
                <a:lnTo>
                  <a:pt x="64" y="1173"/>
                </a:lnTo>
                <a:lnTo>
                  <a:pt x="136" y="1171"/>
                </a:lnTo>
                <a:lnTo>
                  <a:pt x="136" y="1171"/>
                </a:lnTo>
                <a:lnTo>
                  <a:pt x="150" y="1171"/>
                </a:lnTo>
                <a:lnTo>
                  <a:pt x="174" y="1169"/>
                </a:lnTo>
                <a:lnTo>
                  <a:pt x="192" y="1169"/>
                </a:lnTo>
                <a:lnTo>
                  <a:pt x="194" y="1169"/>
                </a:lnTo>
                <a:lnTo>
                  <a:pt x="188" y="1169"/>
                </a:lnTo>
                <a:lnTo>
                  <a:pt x="188" y="1169"/>
                </a:lnTo>
                <a:lnTo>
                  <a:pt x="237" y="1167"/>
                </a:lnTo>
                <a:lnTo>
                  <a:pt x="237" y="1167"/>
                </a:lnTo>
                <a:lnTo>
                  <a:pt x="215" y="1169"/>
                </a:lnTo>
                <a:lnTo>
                  <a:pt x="180" y="1173"/>
                </a:lnTo>
                <a:lnTo>
                  <a:pt x="180" y="1173"/>
                </a:lnTo>
                <a:lnTo>
                  <a:pt x="148" y="1175"/>
                </a:lnTo>
                <a:lnTo>
                  <a:pt x="146" y="1173"/>
                </a:lnTo>
                <a:lnTo>
                  <a:pt x="150" y="1173"/>
                </a:lnTo>
                <a:lnTo>
                  <a:pt x="162" y="1171"/>
                </a:lnTo>
                <a:lnTo>
                  <a:pt x="166" y="1171"/>
                </a:lnTo>
                <a:lnTo>
                  <a:pt x="164" y="1171"/>
                </a:lnTo>
                <a:lnTo>
                  <a:pt x="104" y="1173"/>
                </a:lnTo>
                <a:lnTo>
                  <a:pt x="104" y="1173"/>
                </a:lnTo>
                <a:lnTo>
                  <a:pt x="98" y="1175"/>
                </a:lnTo>
                <a:lnTo>
                  <a:pt x="118" y="1175"/>
                </a:lnTo>
                <a:lnTo>
                  <a:pt x="118" y="1175"/>
                </a:lnTo>
                <a:lnTo>
                  <a:pt x="80" y="1177"/>
                </a:lnTo>
                <a:lnTo>
                  <a:pt x="32" y="1179"/>
                </a:lnTo>
                <a:lnTo>
                  <a:pt x="32" y="1179"/>
                </a:lnTo>
                <a:lnTo>
                  <a:pt x="54" y="1179"/>
                </a:lnTo>
                <a:lnTo>
                  <a:pt x="54" y="1179"/>
                </a:lnTo>
                <a:lnTo>
                  <a:pt x="36" y="1181"/>
                </a:lnTo>
                <a:lnTo>
                  <a:pt x="34" y="1181"/>
                </a:lnTo>
                <a:lnTo>
                  <a:pt x="36" y="1183"/>
                </a:lnTo>
                <a:lnTo>
                  <a:pt x="60" y="1181"/>
                </a:lnTo>
                <a:lnTo>
                  <a:pt x="60" y="1181"/>
                </a:lnTo>
                <a:lnTo>
                  <a:pt x="56" y="1181"/>
                </a:lnTo>
                <a:lnTo>
                  <a:pt x="62" y="1181"/>
                </a:lnTo>
                <a:lnTo>
                  <a:pt x="66" y="1181"/>
                </a:lnTo>
                <a:lnTo>
                  <a:pt x="58" y="1181"/>
                </a:lnTo>
                <a:lnTo>
                  <a:pt x="58" y="1181"/>
                </a:lnTo>
                <a:lnTo>
                  <a:pt x="98" y="1179"/>
                </a:lnTo>
                <a:lnTo>
                  <a:pt x="112" y="1179"/>
                </a:lnTo>
                <a:lnTo>
                  <a:pt x="114" y="1179"/>
                </a:lnTo>
                <a:lnTo>
                  <a:pt x="110" y="1181"/>
                </a:lnTo>
                <a:lnTo>
                  <a:pt x="196" y="1175"/>
                </a:lnTo>
                <a:lnTo>
                  <a:pt x="196" y="1175"/>
                </a:lnTo>
                <a:lnTo>
                  <a:pt x="190" y="1175"/>
                </a:lnTo>
                <a:lnTo>
                  <a:pt x="170" y="1177"/>
                </a:lnTo>
                <a:lnTo>
                  <a:pt x="239" y="1173"/>
                </a:lnTo>
                <a:lnTo>
                  <a:pt x="221" y="1173"/>
                </a:lnTo>
                <a:lnTo>
                  <a:pt x="221" y="1173"/>
                </a:lnTo>
                <a:lnTo>
                  <a:pt x="285" y="1169"/>
                </a:lnTo>
                <a:lnTo>
                  <a:pt x="343" y="1165"/>
                </a:lnTo>
                <a:lnTo>
                  <a:pt x="343" y="1165"/>
                </a:lnTo>
                <a:lnTo>
                  <a:pt x="317" y="1167"/>
                </a:lnTo>
                <a:lnTo>
                  <a:pt x="277" y="1171"/>
                </a:lnTo>
                <a:lnTo>
                  <a:pt x="277" y="1171"/>
                </a:lnTo>
                <a:lnTo>
                  <a:pt x="291" y="1171"/>
                </a:lnTo>
                <a:lnTo>
                  <a:pt x="301" y="1169"/>
                </a:lnTo>
                <a:lnTo>
                  <a:pt x="335" y="1167"/>
                </a:lnTo>
                <a:lnTo>
                  <a:pt x="335" y="1167"/>
                </a:lnTo>
                <a:lnTo>
                  <a:pt x="341" y="1167"/>
                </a:lnTo>
                <a:lnTo>
                  <a:pt x="341" y="1169"/>
                </a:lnTo>
                <a:lnTo>
                  <a:pt x="373" y="1165"/>
                </a:lnTo>
                <a:lnTo>
                  <a:pt x="373" y="1165"/>
                </a:lnTo>
                <a:lnTo>
                  <a:pt x="379" y="1165"/>
                </a:lnTo>
                <a:lnTo>
                  <a:pt x="373" y="1165"/>
                </a:lnTo>
                <a:lnTo>
                  <a:pt x="373" y="1165"/>
                </a:lnTo>
                <a:lnTo>
                  <a:pt x="399" y="1163"/>
                </a:lnTo>
                <a:lnTo>
                  <a:pt x="403" y="1163"/>
                </a:lnTo>
                <a:lnTo>
                  <a:pt x="449" y="1159"/>
                </a:lnTo>
                <a:lnTo>
                  <a:pt x="449" y="1159"/>
                </a:lnTo>
                <a:lnTo>
                  <a:pt x="407" y="1161"/>
                </a:lnTo>
                <a:lnTo>
                  <a:pt x="371" y="1163"/>
                </a:lnTo>
                <a:lnTo>
                  <a:pt x="371" y="1163"/>
                </a:lnTo>
                <a:lnTo>
                  <a:pt x="365" y="1163"/>
                </a:lnTo>
                <a:lnTo>
                  <a:pt x="369" y="1163"/>
                </a:lnTo>
                <a:lnTo>
                  <a:pt x="385" y="1161"/>
                </a:lnTo>
                <a:lnTo>
                  <a:pt x="425" y="1159"/>
                </a:lnTo>
                <a:lnTo>
                  <a:pt x="425" y="1159"/>
                </a:lnTo>
                <a:lnTo>
                  <a:pt x="467" y="1157"/>
                </a:lnTo>
                <a:lnTo>
                  <a:pt x="515" y="1155"/>
                </a:lnTo>
                <a:lnTo>
                  <a:pt x="515" y="1155"/>
                </a:lnTo>
                <a:lnTo>
                  <a:pt x="497" y="1157"/>
                </a:lnTo>
                <a:lnTo>
                  <a:pt x="467" y="1159"/>
                </a:lnTo>
                <a:lnTo>
                  <a:pt x="467" y="1159"/>
                </a:lnTo>
                <a:lnTo>
                  <a:pt x="457" y="1161"/>
                </a:lnTo>
                <a:lnTo>
                  <a:pt x="465" y="1161"/>
                </a:lnTo>
                <a:lnTo>
                  <a:pt x="487" y="1161"/>
                </a:lnTo>
                <a:lnTo>
                  <a:pt x="487" y="1161"/>
                </a:lnTo>
                <a:lnTo>
                  <a:pt x="491" y="1159"/>
                </a:lnTo>
                <a:lnTo>
                  <a:pt x="491" y="1159"/>
                </a:lnTo>
                <a:lnTo>
                  <a:pt x="513" y="1157"/>
                </a:lnTo>
                <a:lnTo>
                  <a:pt x="511" y="1157"/>
                </a:lnTo>
                <a:lnTo>
                  <a:pt x="567" y="1153"/>
                </a:lnTo>
                <a:lnTo>
                  <a:pt x="567" y="1153"/>
                </a:lnTo>
                <a:lnTo>
                  <a:pt x="654" y="1149"/>
                </a:lnTo>
                <a:lnTo>
                  <a:pt x="692" y="1145"/>
                </a:lnTo>
                <a:lnTo>
                  <a:pt x="724" y="1145"/>
                </a:lnTo>
                <a:lnTo>
                  <a:pt x="716" y="1143"/>
                </a:lnTo>
                <a:lnTo>
                  <a:pt x="716" y="1143"/>
                </a:lnTo>
                <a:lnTo>
                  <a:pt x="820" y="1137"/>
                </a:lnTo>
                <a:lnTo>
                  <a:pt x="820" y="1137"/>
                </a:lnTo>
                <a:lnTo>
                  <a:pt x="802" y="1139"/>
                </a:lnTo>
                <a:lnTo>
                  <a:pt x="770" y="1141"/>
                </a:lnTo>
                <a:lnTo>
                  <a:pt x="770" y="1141"/>
                </a:lnTo>
                <a:lnTo>
                  <a:pt x="854" y="1137"/>
                </a:lnTo>
                <a:lnTo>
                  <a:pt x="922" y="1131"/>
                </a:lnTo>
                <a:lnTo>
                  <a:pt x="922" y="1131"/>
                </a:lnTo>
                <a:lnTo>
                  <a:pt x="860" y="1131"/>
                </a:lnTo>
                <a:lnTo>
                  <a:pt x="860" y="1131"/>
                </a:lnTo>
                <a:lnTo>
                  <a:pt x="886" y="1129"/>
                </a:lnTo>
                <a:lnTo>
                  <a:pt x="904" y="1129"/>
                </a:lnTo>
                <a:lnTo>
                  <a:pt x="926" y="1129"/>
                </a:lnTo>
                <a:lnTo>
                  <a:pt x="956" y="1127"/>
                </a:lnTo>
                <a:lnTo>
                  <a:pt x="956" y="1127"/>
                </a:lnTo>
                <a:lnTo>
                  <a:pt x="956" y="1127"/>
                </a:lnTo>
                <a:lnTo>
                  <a:pt x="952" y="1129"/>
                </a:lnTo>
                <a:lnTo>
                  <a:pt x="950" y="1129"/>
                </a:lnTo>
                <a:lnTo>
                  <a:pt x="954" y="1131"/>
                </a:lnTo>
                <a:lnTo>
                  <a:pt x="954" y="1131"/>
                </a:lnTo>
                <a:lnTo>
                  <a:pt x="1034" y="1123"/>
                </a:lnTo>
                <a:lnTo>
                  <a:pt x="1034" y="1123"/>
                </a:lnTo>
                <a:lnTo>
                  <a:pt x="1036" y="1125"/>
                </a:lnTo>
                <a:lnTo>
                  <a:pt x="1028" y="1125"/>
                </a:lnTo>
                <a:lnTo>
                  <a:pt x="972" y="1131"/>
                </a:lnTo>
                <a:lnTo>
                  <a:pt x="972" y="1131"/>
                </a:lnTo>
                <a:lnTo>
                  <a:pt x="912" y="1133"/>
                </a:lnTo>
                <a:lnTo>
                  <a:pt x="858" y="1137"/>
                </a:lnTo>
                <a:lnTo>
                  <a:pt x="878" y="1137"/>
                </a:lnTo>
                <a:lnTo>
                  <a:pt x="878" y="1137"/>
                </a:lnTo>
                <a:lnTo>
                  <a:pt x="782" y="1143"/>
                </a:lnTo>
                <a:lnTo>
                  <a:pt x="784" y="1143"/>
                </a:lnTo>
                <a:lnTo>
                  <a:pt x="766" y="1145"/>
                </a:lnTo>
                <a:lnTo>
                  <a:pt x="784" y="1145"/>
                </a:lnTo>
                <a:lnTo>
                  <a:pt x="784" y="1145"/>
                </a:lnTo>
                <a:lnTo>
                  <a:pt x="724" y="1151"/>
                </a:lnTo>
                <a:lnTo>
                  <a:pt x="724" y="1151"/>
                </a:lnTo>
                <a:lnTo>
                  <a:pt x="758" y="1149"/>
                </a:lnTo>
                <a:lnTo>
                  <a:pt x="778" y="1145"/>
                </a:lnTo>
                <a:lnTo>
                  <a:pt x="810" y="1141"/>
                </a:lnTo>
                <a:lnTo>
                  <a:pt x="810" y="1141"/>
                </a:lnTo>
                <a:lnTo>
                  <a:pt x="868" y="1139"/>
                </a:lnTo>
                <a:lnTo>
                  <a:pt x="890" y="1139"/>
                </a:lnTo>
                <a:lnTo>
                  <a:pt x="914" y="1137"/>
                </a:lnTo>
                <a:lnTo>
                  <a:pt x="914" y="1137"/>
                </a:lnTo>
                <a:lnTo>
                  <a:pt x="926" y="1137"/>
                </a:lnTo>
                <a:lnTo>
                  <a:pt x="930" y="1137"/>
                </a:lnTo>
                <a:lnTo>
                  <a:pt x="922" y="1139"/>
                </a:lnTo>
                <a:lnTo>
                  <a:pt x="922" y="1139"/>
                </a:lnTo>
                <a:lnTo>
                  <a:pt x="888" y="1141"/>
                </a:lnTo>
                <a:lnTo>
                  <a:pt x="872" y="1143"/>
                </a:lnTo>
                <a:lnTo>
                  <a:pt x="872" y="1143"/>
                </a:lnTo>
                <a:lnTo>
                  <a:pt x="934" y="1139"/>
                </a:lnTo>
                <a:lnTo>
                  <a:pt x="934" y="1139"/>
                </a:lnTo>
                <a:lnTo>
                  <a:pt x="962" y="1135"/>
                </a:lnTo>
                <a:lnTo>
                  <a:pt x="1008" y="1131"/>
                </a:lnTo>
                <a:lnTo>
                  <a:pt x="1008" y="1131"/>
                </a:lnTo>
                <a:lnTo>
                  <a:pt x="1111" y="1123"/>
                </a:lnTo>
                <a:lnTo>
                  <a:pt x="1111" y="1123"/>
                </a:lnTo>
                <a:lnTo>
                  <a:pt x="1067" y="1127"/>
                </a:lnTo>
                <a:lnTo>
                  <a:pt x="1055" y="1129"/>
                </a:lnTo>
                <a:lnTo>
                  <a:pt x="1051" y="1129"/>
                </a:lnTo>
                <a:lnTo>
                  <a:pt x="1053" y="1131"/>
                </a:lnTo>
                <a:lnTo>
                  <a:pt x="1053" y="1131"/>
                </a:lnTo>
                <a:lnTo>
                  <a:pt x="1093" y="1127"/>
                </a:lnTo>
                <a:lnTo>
                  <a:pt x="1107" y="1127"/>
                </a:lnTo>
                <a:lnTo>
                  <a:pt x="1111" y="1127"/>
                </a:lnTo>
                <a:lnTo>
                  <a:pt x="1109" y="1125"/>
                </a:lnTo>
                <a:lnTo>
                  <a:pt x="1109" y="1125"/>
                </a:lnTo>
                <a:lnTo>
                  <a:pt x="1177" y="1121"/>
                </a:lnTo>
                <a:lnTo>
                  <a:pt x="1205" y="1121"/>
                </a:lnTo>
                <a:lnTo>
                  <a:pt x="1217" y="1121"/>
                </a:lnTo>
                <a:lnTo>
                  <a:pt x="1217" y="1121"/>
                </a:lnTo>
                <a:lnTo>
                  <a:pt x="1113" y="1127"/>
                </a:lnTo>
                <a:lnTo>
                  <a:pt x="1113" y="1127"/>
                </a:lnTo>
                <a:lnTo>
                  <a:pt x="1125" y="1127"/>
                </a:lnTo>
                <a:lnTo>
                  <a:pt x="1127" y="1127"/>
                </a:lnTo>
                <a:lnTo>
                  <a:pt x="1125" y="1127"/>
                </a:lnTo>
                <a:lnTo>
                  <a:pt x="1079" y="1131"/>
                </a:lnTo>
                <a:lnTo>
                  <a:pt x="1079" y="1131"/>
                </a:lnTo>
                <a:lnTo>
                  <a:pt x="1113" y="1129"/>
                </a:lnTo>
                <a:lnTo>
                  <a:pt x="1153" y="1127"/>
                </a:lnTo>
                <a:lnTo>
                  <a:pt x="1153" y="1127"/>
                </a:lnTo>
                <a:lnTo>
                  <a:pt x="1149" y="1127"/>
                </a:lnTo>
                <a:lnTo>
                  <a:pt x="1185" y="1125"/>
                </a:lnTo>
                <a:lnTo>
                  <a:pt x="1185" y="1127"/>
                </a:lnTo>
                <a:lnTo>
                  <a:pt x="1185" y="1127"/>
                </a:lnTo>
                <a:lnTo>
                  <a:pt x="1255" y="1121"/>
                </a:lnTo>
                <a:lnTo>
                  <a:pt x="1345" y="1115"/>
                </a:lnTo>
                <a:lnTo>
                  <a:pt x="1339" y="1117"/>
                </a:lnTo>
                <a:lnTo>
                  <a:pt x="1339" y="1117"/>
                </a:lnTo>
                <a:lnTo>
                  <a:pt x="1369" y="1115"/>
                </a:lnTo>
                <a:lnTo>
                  <a:pt x="1391" y="1111"/>
                </a:lnTo>
                <a:lnTo>
                  <a:pt x="1445" y="1105"/>
                </a:lnTo>
                <a:lnTo>
                  <a:pt x="1445" y="1105"/>
                </a:lnTo>
                <a:lnTo>
                  <a:pt x="1435" y="1107"/>
                </a:lnTo>
                <a:lnTo>
                  <a:pt x="1439" y="1109"/>
                </a:lnTo>
                <a:lnTo>
                  <a:pt x="1439" y="1109"/>
                </a:lnTo>
                <a:lnTo>
                  <a:pt x="1474" y="1107"/>
                </a:lnTo>
                <a:lnTo>
                  <a:pt x="1506" y="1105"/>
                </a:lnTo>
                <a:lnTo>
                  <a:pt x="1506" y="1105"/>
                </a:lnTo>
                <a:lnTo>
                  <a:pt x="1496" y="1105"/>
                </a:lnTo>
                <a:lnTo>
                  <a:pt x="1502" y="1103"/>
                </a:lnTo>
                <a:lnTo>
                  <a:pt x="1510" y="1103"/>
                </a:lnTo>
                <a:lnTo>
                  <a:pt x="1506" y="1103"/>
                </a:lnTo>
                <a:lnTo>
                  <a:pt x="1506" y="1103"/>
                </a:lnTo>
                <a:lnTo>
                  <a:pt x="1514" y="1101"/>
                </a:lnTo>
                <a:lnTo>
                  <a:pt x="1534" y="1099"/>
                </a:lnTo>
                <a:lnTo>
                  <a:pt x="1586" y="1095"/>
                </a:lnTo>
                <a:lnTo>
                  <a:pt x="1586" y="1095"/>
                </a:lnTo>
                <a:lnTo>
                  <a:pt x="1588" y="1095"/>
                </a:lnTo>
                <a:lnTo>
                  <a:pt x="1586" y="1095"/>
                </a:lnTo>
                <a:lnTo>
                  <a:pt x="1580" y="1097"/>
                </a:lnTo>
                <a:lnTo>
                  <a:pt x="1554" y="1099"/>
                </a:lnTo>
                <a:lnTo>
                  <a:pt x="1534" y="1101"/>
                </a:lnTo>
                <a:lnTo>
                  <a:pt x="1532" y="1101"/>
                </a:lnTo>
                <a:lnTo>
                  <a:pt x="1542" y="1101"/>
                </a:lnTo>
                <a:lnTo>
                  <a:pt x="1542" y="1101"/>
                </a:lnTo>
                <a:lnTo>
                  <a:pt x="1566" y="1099"/>
                </a:lnTo>
                <a:lnTo>
                  <a:pt x="1556" y="1099"/>
                </a:lnTo>
                <a:lnTo>
                  <a:pt x="1556" y="1099"/>
                </a:lnTo>
                <a:lnTo>
                  <a:pt x="1616" y="1095"/>
                </a:lnTo>
                <a:lnTo>
                  <a:pt x="1670" y="1093"/>
                </a:lnTo>
                <a:lnTo>
                  <a:pt x="1670" y="1093"/>
                </a:lnTo>
                <a:lnTo>
                  <a:pt x="1718" y="1087"/>
                </a:lnTo>
                <a:lnTo>
                  <a:pt x="1754" y="1083"/>
                </a:lnTo>
                <a:lnTo>
                  <a:pt x="1754" y="1083"/>
                </a:lnTo>
                <a:lnTo>
                  <a:pt x="1730" y="1085"/>
                </a:lnTo>
                <a:lnTo>
                  <a:pt x="1702" y="1087"/>
                </a:lnTo>
                <a:lnTo>
                  <a:pt x="1732" y="1083"/>
                </a:lnTo>
                <a:lnTo>
                  <a:pt x="1732" y="1083"/>
                </a:lnTo>
                <a:lnTo>
                  <a:pt x="1834" y="1077"/>
                </a:lnTo>
                <a:lnTo>
                  <a:pt x="1804" y="1081"/>
                </a:lnTo>
                <a:lnTo>
                  <a:pt x="1806" y="1081"/>
                </a:lnTo>
                <a:lnTo>
                  <a:pt x="1806" y="1081"/>
                </a:lnTo>
                <a:lnTo>
                  <a:pt x="1778" y="1083"/>
                </a:lnTo>
                <a:lnTo>
                  <a:pt x="1762" y="1085"/>
                </a:lnTo>
                <a:lnTo>
                  <a:pt x="1762" y="1085"/>
                </a:lnTo>
                <a:lnTo>
                  <a:pt x="1798" y="1081"/>
                </a:lnTo>
                <a:lnTo>
                  <a:pt x="1844" y="1077"/>
                </a:lnTo>
                <a:lnTo>
                  <a:pt x="1842" y="1079"/>
                </a:lnTo>
                <a:lnTo>
                  <a:pt x="1842" y="1079"/>
                </a:lnTo>
                <a:lnTo>
                  <a:pt x="1923" y="1073"/>
                </a:lnTo>
                <a:lnTo>
                  <a:pt x="1957" y="1069"/>
                </a:lnTo>
                <a:lnTo>
                  <a:pt x="1987" y="1067"/>
                </a:lnTo>
                <a:lnTo>
                  <a:pt x="1987" y="1067"/>
                </a:lnTo>
                <a:lnTo>
                  <a:pt x="1967" y="1067"/>
                </a:lnTo>
                <a:lnTo>
                  <a:pt x="1961" y="1067"/>
                </a:lnTo>
                <a:lnTo>
                  <a:pt x="1959" y="1067"/>
                </a:lnTo>
                <a:lnTo>
                  <a:pt x="1961" y="1067"/>
                </a:lnTo>
                <a:lnTo>
                  <a:pt x="1961" y="1067"/>
                </a:lnTo>
                <a:lnTo>
                  <a:pt x="1991" y="1065"/>
                </a:lnTo>
                <a:lnTo>
                  <a:pt x="2011" y="1063"/>
                </a:lnTo>
                <a:lnTo>
                  <a:pt x="1999" y="1065"/>
                </a:lnTo>
                <a:lnTo>
                  <a:pt x="1999" y="1065"/>
                </a:lnTo>
                <a:lnTo>
                  <a:pt x="2067" y="1059"/>
                </a:lnTo>
                <a:lnTo>
                  <a:pt x="2067" y="1059"/>
                </a:lnTo>
                <a:lnTo>
                  <a:pt x="2073" y="1057"/>
                </a:lnTo>
                <a:lnTo>
                  <a:pt x="2091" y="1055"/>
                </a:lnTo>
                <a:lnTo>
                  <a:pt x="2091" y="1055"/>
                </a:lnTo>
                <a:lnTo>
                  <a:pt x="2113" y="1053"/>
                </a:lnTo>
                <a:lnTo>
                  <a:pt x="2107" y="1055"/>
                </a:lnTo>
                <a:lnTo>
                  <a:pt x="2097" y="1057"/>
                </a:lnTo>
                <a:lnTo>
                  <a:pt x="2109" y="1057"/>
                </a:lnTo>
                <a:lnTo>
                  <a:pt x="2165" y="1051"/>
                </a:lnTo>
                <a:lnTo>
                  <a:pt x="2177" y="1051"/>
                </a:lnTo>
                <a:lnTo>
                  <a:pt x="2177" y="1051"/>
                </a:lnTo>
                <a:lnTo>
                  <a:pt x="2239" y="1047"/>
                </a:lnTo>
                <a:lnTo>
                  <a:pt x="2295" y="1041"/>
                </a:lnTo>
                <a:lnTo>
                  <a:pt x="2418" y="1029"/>
                </a:lnTo>
                <a:lnTo>
                  <a:pt x="2418" y="1029"/>
                </a:lnTo>
                <a:lnTo>
                  <a:pt x="2408" y="1031"/>
                </a:lnTo>
                <a:lnTo>
                  <a:pt x="2384" y="1033"/>
                </a:lnTo>
                <a:lnTo>
                  <a:pt x="2332" y="1039"/>
                </a:lnTo>
                <a:lnTo>
                  <a:pt x="2332" y="1039"/>
                </a:lnTo>
                <a:lnTo>
                  <a:pt x="2382" y="1035"/>
                </a:lnTo>
                <a:lnTo>
                  <a:pt x="2438" y="1031"/>
                </a:lnTo>
                <a:lnTo>
                  <a:pt x="2438" y="1031"/>
                </a:lnTo>
                <a:lnTo>
                  <a:pt x="2482" y="1027"/>
                </a:lnTo>
                <a:lnTo>
                  <a:pt x="2492" y="1025"/>
                </a:lnTo>
                <a:lnTo>
                  <a:pt x="2494" y="1023"/>
                </a:lnTo>
                <a:lnTo>
                  <a:pt x="2494" y="1023"/>
                </a:lnTo>
                <a:lnTo>
                  <a:pt x="2494" y="1023"/>
                </a:lnTo>
                <a:lnTo>
                  <a:pt x="2526" y="1021"/>
                </a:lnTo>
                <a:lnTo>
                  <a:pt x="2530" y="1021"/>
                </a:lnTo>
                <a:lnTo>
                  <a:pt x="2530" y="1021"/>
                </a:lnTo>
                <a:lnTo>
                  <a:pt x="2574" y="1017"/>
                </a:lnTo>
                <a:lnTo>
                  <a:pt x="2632" y="1011"/>
                </a:lnTo>
                <a:lnTo>
                  <a:pt x="2634" y="1013"/>
                </a:lnTo>
                <a:lnTo>
                  <a:pt x="2688" y="1007"/>
                </a:lnTo>
                <a:lnTo>
                  <a:pt x="2688" y="1007"/>
                </a:lnTo>
                <a:lnTo>
                  <a:pt x="2682" y="1007"/>
                </a:lnTo>
                <a:lnTo>
                  <a:pt x="2686" y="1005"/>
                </a:lnTo>
                <a:lnTo>
                  <a:pt x="2700" y="1005"/>
                </a:lnTo>
                <a:lnTo>
                  <a:pt x="2700" y="1005"/>
                </a:lnTo>
                <a:lnTo>
                  <a:pt x="2658" y="1007"/>
                </a:lnTo>
                <a:lnTo>
                  <a:pt x="2614" y="1011"/>
                </a:lnTo>
                <a:lnTo>
                  <a:pt x="2570" y="1015"/>
                </a:lnTo>
                <a:lnTo>
                  <a:pt x="2526" y="1017"/>
                </a:lnTo>
                <a:lnTo>
                  <a:pt x="2526" y="1017"/>
                </a:lnTo>
                <a:lnTo>
                  <a:pt x="2532" y="1017"/>
                </a:lnTo>
                <a:lnTo>
                  <a:pt x="2532" y="1017"/>
                </a:lnTo>
                <a:lnTo>
                  <a:pt x="2530" y="1015"/>
                </a:lnTo>
                <a:lnTo>
                  <a:pt x="2538" y="1015"/>
                </a:lnTo>
                <a:lnTo>
                  <a:pt x="2538" y="1015"/>
                </a:lnTo>
                <a:lnTo>
                  <a:pt x="2556" y="1015"/>
                </a:lnTo>
                <a:lnTo>
                  <a:pt x="2556" y="1015"/>
                </a:lnTo>
                <a:lnTo>
                  <a:pt x="2570" y="1011"/>
                </a:lnTo>
                <a:lnTo>
                  <a:pt x="2556" y="1013"/>
                </a:lnTo>
                <a:lnTo>
                  <a:pt x="2556" y="1013"/>
                </a:lnTo>
                <a:lnTo>
                  <a:pt x="2568" y="1011"/>
                </a:lnTo>
                <a:lnTo>
                  <a:pt x="2592" y="1007"/>
                </a:lnTo>
                <a:lnTo>
                  <a:pt x="2656" y="1001"/>
                </a:lnTo>
                <a:lnTo>
                  <a:pt x="2656" y="1001"/>
                </a:lnTo>
                <a:lnTo>
                  <a:pt x="2664" y="1001"/>
                </a:lnTo>
                <a:lnTo>
                  <a:pt x="2650" y="1005"/>
                </a:lnTo>
                <a:lnTo>
                  <a:pt x="2606" y="1009"/>
                </a:lnTo>
                <a:lnTo>
                  <a:pt x="2606" y="1009"/>
                </a:lnTo>
                <a:lnTo>
                  <a:pt x="2630" y="1007"/>
                </a:lnTo>
                <a:lnTo>
                  <a:pt x="2656" y="1005"/>
                </a:lnTo>
                <a:lnTo>
                  <a:pt x="2652" y="1007"/>
                </a:lnTo>
                <a:lnTo>
                  <a:pt x="2652" y="1007"/>
                </a:lnTo>
                <a:lnTo>
                  <a:pt x="2682" y="1003"/>
                </a:lnTo>
                <a:lnTo>
                  <a:pt x="2678" y="1003"/>
                </a:lnTo>
                <a:lnTo>
                  <a:pt x="2676" y="1001"/>
                </a:lnTo>
                <a:lnTo>
                  <a:pt x="2678" y="1001"/>
                </a:lnTo>
                <a:lnTo>
                  <a:pt x="2678" y="1001"/>
                </a:lnTo>
                <a:lnTo>
                  <a:pt x="2694" y="999"/>
                </a:lnTo>
                <a:lnTo>
                  <a:pt x="2712" y="997"/>
                </a:lnTo>
                <a:lnTo>
                  <a:pt x="2745" y="995"/>
                </a:lnTo>
                <a:lnTo>
                  <a:pt x="2728" y="997"/>
                </a:lnTo>
                <a:lnTo>
                  <a:pt x="2728" y="997"/>
                </a:lnTo>
                <a:lnTo>
                  <a:pt x="2775" y="993"/>
                </a:lnTo>
                <a:lnTo>
                  <a:pt x="2819" y="989"/>
                </a:lnTo>
                <a:lnTo>
                  <a:pt x="2839" y="989"/>
                </a:lnTo>
                <a:lnTo>
                  <a:pt x="2839" y="989"/>
                </a:lnTo>
                <a:lnTo>
                  <a:pt x="2807" y="991"/>
                </a:lnTo>
                <a:lnTo>
                  <a:pt x="2787" y="993"/>
                </a:lnTo>
                <a:lnTo>
                  <a:pt x="2769" y="995"/>
                </a:lnTo>
                <a:lnTo>
                  <a:pt x="2751" y="997"/>
                </a:lnTo>
                <a:lnTo>
                  <a:pt x="2751" y="997"/>
                </a:lnTo>
                <a:lnTo>
                  <a:pt x="2779" y="997"/>
                </a:lnTo>
                <a:lnTo>
                  <a:pt x="2767" y="999"/>
                </a:lnTo>
                <a:lnTo>
                  <a:pt x="2712" y="1005"/>
                </a:lnTo>
                <a:lnTo>
                  <a:pt x="2712" y="1005"/>
                </a:lnTo>
                <a:lnTo>
                  <a:pt x="2789" y="1001"/>
                </a:lnTo>
                <a:lnTo>
                  <a:pt x="2789" y="1001"/>
                </a:lnTo>
                <a:lnTo>
                  <a:pt x="2823" y="997"/>
                </a:lnTo>
                <a:lnTo>
                  <a:pt x="2857" y="995"/>
                </a:lnTo>
                <a:lnTo>
                  <a:pt x="2891" y="991"/>
                </a:lnTo>
                <a:lnTo>
                  <a:pt x="2925" y="987"/>
                </a:lnTo>
                <a:lnTo>
                  <a:pt x="2925" y="987"/>
                </a:lnTo>
                <a:lnTo>
                  <a:pt x="2933" y="987"/>
                </a:lnTo>
                <a:lnTo>
                  <a:pt x="2927" y="989"/>
                </a:lnTo>
                <a:lnTo>
                  <a:pt x="2921" y="989"/>
                </a:lnTo>
                <a:lnTo>
                  <a:pt x="2929" y="989"/>
                </a:lnTo>
                <a:lnTo>
                  <a:pt x="2929" y="989"/>
                </a:lnTo>
                <a:lnTo>
                  <a:pt x="3073" y="977"/>
                </a:lnTo>
                <a:lnTo>
                  <a:pt x="3073" y="977"/>
                </a:lnTo>
                <a:lnTo>
                  <a:pt x="3093" y="975"/>
                </a:lnTo>
                <a:lnTo>
                  <a:pt x="3101" y="977"/>
                </a:lnTo>
                <a:lnTo>
                  <a:pt x="3101" y="977"/>
                </a:lnTo>
                <a:lnTo>
                  <a:pt x="3180" y="971"/>
                </a:lnTo>
                <a:lnTo>
                  <a:pt x="3246" y="965"/>
                </a:lnTo>
                <a:lnTo>
                  <a:pt x="3316" y="959"/>
                </a:lnTo>
                <a:lnTo>
                  <a:pt x="3402" y="953"/>
                </a:lnTo>
                <a:lnTo>
                  <a:pt x="3382" y="955"/>
                </a:lnTo>
                <a:lnTo>
                  <a:pt x="3382" y="955"/>
                </a:lnTo>
                <a:lnTo>
                  <a:pt x="3420" y="953"/>
                </a:lnTo>
                <a:lnTo>
                  <a:pt x="3446" y="949"/>
                </a:lnTo>
                <a:lnTo>
                  <a:pt x="3446" y="949"/>
                </a:lnTo>
                <a:lnTo>
                  <a:pt x="3480" y="949"/>
                </a:lnTo>
                <a:lnTo>
                  <a:pt x="3524" y="945"/>
                </a:lnTo>
                <a:lnTo>
                  <a:pt x="3571" y="941"/>
                </a:lnTo>
                <a:lnTo>
                  <a:pt x="3611" y="939"/>
                </a:lnTo>
                <a:lnTo>
                  <a:pt x="3611" y="939"/>
                </a:lnTo>
                <a:lnTo>
                  <a:pt x="3669" y="933"/>
                </a:lnTo>
                <a:lnTo>
                  <a:pt x="3717" y="929"/>
                </a:lnTo>
                <a:lnTo>
                  <a:pt x="3717" y="929"/>
                </a:lnTo>
                <a:lnTo>
                  <a:pt x="3713" y="929"/>
                </a:lnTo>
                <a:lnTo>
                  <a:pt x="3727" y="929"/>
                </a:lnTo>
                <a:lnTo>
                  <a:pt x="3727" y="929"/>
                </a:lnTo>
                <a:lnTo>
                  <a:pt x="4178" y="890"/>
                </a:lnTo>
                <a:lnTo>
                  <a:pt x="4178" y="890"/>
                </a:lnTo>
                <a:lnTo>
                  <a:pt x="4164" y="892"/>
                </a:lnTo>
                <a:lnTo>
                  <a:pt x="4164" y="892"/>
                </a:lnTo>
                <a:lnTo>
                  <a:pt x="4322" y="876"/>
                </a:lnTo>
                <a:lnTo>
                  <a:pt x="4467" y="862"/>
                </a:lnTo>
                <a:lnTo>
                  <a:pt x="4467" y="862"/>
                </a:lnTo>
                <a:lnTo>
                  <a:pt x="4505" y="856"/>
                </a:lnTo>
                <a:lnTo>
                  <a:pt x="4519" y="854"/>
                </a:lnTo>
                <a:lnTo>
                  <a:pt x="4521" y="854"/>
                </a:lnTo>
                <a:lnTo>
                  <a:pt x="4517" y="854"/>
                </a:lnTo>
                <a:lnTo>
                  <a:pt x="4517" y="854"/>
                </a:lnTo>
                <a:lnTo>
                  <a:pt x="4499" y="856"/>
                </a:lnTo>
                <a:lnTo>
                  <a:pt x="4495" y="854"/>
                </a:lnTo>
                <a:lnTo>
                  <a:pt x="4495" y="854"/>
                </a:lnTo>
                <a:lnTo>
                  <a:pt x="4495" y="854"/>
                </a:lnTo>
                <a:lnTo>
                  <a:pt x="4535" y="850"/>
                </a:lnTo>
                <a:lnTo>
                  <a:pt x="4551" y="848"/>
                </a:lnTo>
                <a:lnTo>
                  <a:pt x="4561" y="848"/>
                </a:lnTo>
                <a:lnTo>
                  <a:pt x="4587" y="846"/>
                </a:lnTo>
                <a:lnTo>
                  <a:pt x="4587" y="846"/>
                </a:lnTo>
                <a:lnTo>
                  <a:pt x="4591" y="846"/>
                </a:lnTo>
                <a:lnTo>
                  <a:pt x="4589" y="848"/>
                </a:lnTo>
                <a:lnTo>
                  <a:pt x="4577" y="850"/>
                </a:lnTo>
                <a:lnTo>
                  <a:pt x="4561" y="852"/>
                </a:lnTo>
                <a:lnTo>
                  <a:pt x="4553" y="854"/>
                </a:lnTo>
                <a:lnTo>
                  <a:pt x="4631" y="844"/>
                </a:lnTo>
                <a:lnTo>
                  <a:pt x="4631" y="844"/>
                </a:lnTo>
                <a:lnTo>
                  <a:pt x="4693" y="838"/>
                </a:lnTo>
                <a:lnTo>
                  <a:pt x="4753" y="832"/>
                </a:lnTo>
                <a:lnTo>
                  <a:pt x="4753" y="832"/>
                </a:lnTo>
                <a:lnTo>
                  <a:pt x="4741" y="834"/>
                </a:lnTo>
                <a:lnTo>
                  <a:pt x="4721" y="836"/>
                </a:lnTo>
                <a:lnTo>
                  <a:pt x="4721" y="836"/>
                </a:lnTo>
                <a:lnTo>
                  <a:pt x="4725" y="836"/>
                </a:lnTo>
                <a:lnTo>
                  <a:pt x="4725" y="836"/>
                </a:lnTo>
                <a:lnTo>
                  <a:pt x="4677" y="840"/>
                </a:lnTo>
                <a:lnTo>
                  <a:pt x="4635" y="846"/>
                </a:lnTo>
                <a:lnTo>
                  <a:pt x="4635" y="846"/>
                </a:lnTo>
                <a:lnTo>
                  <a:pt x="4797" y="828"/>
                </a:lnTo>
                <a:lnTo>
                  <a:pt x="4797" y="828"/>
                </a:lnTo>
                <a:lnTo>
                  <a:pt x="4795" y="828"/>
                </a:lnTo>
                <a:lnTo>
                  <a:pt x="4799" y="828"/>
                </a:lnTo>
                <a:lnTo>
                  <a:pt x="4813" y="826"/>
                </a:lnTo>
                <a:lnTo>
                  <a:pt x="4846" y="822"/>
                </a:lnTo>
                <a:lnTo>
                  <a:pt x="4848" y="822"/>
                </a:lnTo>
                <a:lnTo>
                  <a:pt x="4848" y="822"/>
                </a:lnTo>
                <a:lnTo>
                  <a:pt x="4884" y="816"/>
                </a:lnTo>
                <a:lnTo>
                  <a:pt x="4896" y="816"/>
                </a:lnTo>
                <a:lnTo>
                  <a:pt x="4896" y="816"/>
                </a:lnTo>
                <a:lnTo>
                  <a:pt x="4902" y="816"/>
                </a:lnTo>
                <a:lnTo>
                  <a:pt x="4910" y="814"/>
                </a:lnTo>
                <a:lnTo>
                  <a:pt x="4910" y="814"/>
                </a:lnTo>
                <a:lnTo>
                  <a:pt x="4984" y="806"/>
                </a:lnTo>
                <a:lnTo>
                  <a:pt x="5022" y="802"/>
                </a:lnTo>
                <a:lnTo>
                  <a:pt x="5042" y="800"/>
                </a:lnTo>
                <a:lnTo>
                  <a:pt x="5042" y="800"/>
                </a:lnTo>
                <a:lnTo>
                  <a:pt x="5120" y="790"/>
                </a:lnTo>
                <a:lnTo>
                  <a:pt x="5120" y="790"/>
                </a:lnTo>
                <a:lnTo>
                  <a:pt x="5108" y="792"/>
                </a:lnTo>
                <a:lnTo>
                  <a:pt x="5108" y="792"/>
                </a:lnTo>
                <a:lnTo>
                  <a:pt x="5341" y="766"/>
                </a:lnTo>
                <a:lnTo>
                  <a:pt x="5341" y="766"/>
                </a:lnTo>
                <a:lnTo>
                  <a:pt x="5419" y="754"/>
                </a:lnTo>
                <a:lnTo>
                  <a:pt x="5483" y="744"/>
                </a:lnTo>
                <a:lnTo>
                  <a:pt x="5483" y="744"/>
                </a:lnTo>
                <a:lnTo>
                  <a:pt x="5451" y="748"/>
                </a:lnTo>
                <a:lnTo>
                  <a:pt x="5441" y="750"/>
                </a:lnTo>
                <a:lnTo>
                  <a:pt x="5451" y="748"/>
                </a:lnTo>
                <a:lnTo>
                  <a:pt x="5451" y="748"/>
                </a:lnTo>
                <a:lnTo>
                  <a:pt x="5513" y="738"/>
                </a:lnTo>
                <a:lnTo>
                  <a:pt x="5513" y="738"/>
                </a:lnTo>
                <a:lnTo>
                  <a:pt x="5535" y="736"/>
                </a:lnTo>
                <a:lnTo>
                  <a:pt x="5543" y="736"/>
                </a:lnTo>
                <a:lnTo>
                  <a:pt x="5525" y="738"/>
                </a:lnTo>
                <a:lnTo>
                  <a:pt x="5525" y="738"/>
                </a:lnTo>
                <a:lnTo>
                  <a:pt x="5545" y="736"/>
                </a:lnTo>
                <a:lnTo>
                  <a:pt x="5581" y="732"/>
                </a:lnTo>
                <a:lnTo>
                  <a:pt x="5611" y="728"/>
                </a:lnTo>
                <a:lnTo>
                  <a:pt x="5625" y="726"/>
                </a:lnTo>
                <a:lnTo>
                  <a:pt x="5625" y="726"/>
                </a:lnTo>
                <a:lnTo>
                  <a:pt x="5672" y="720"/>
                </a:lnTo>
                <a:lnTo>
                  <a:pt x="5730" y="710"/>
                </a:lnTo>
                <a:lnTo>
                  <a:pt x="5730" y="710"/>
                </a:lnTo>
                <a:lnTo>
                  <a:pt x="5714" y="714"/>
                </a:lnTo>
                <a:lnTo>
                  <a:pt x="5694" y="718"/>
                </a:lnTo>
                <a:lnTo>
                  <a:pt x="5724" y="712"/>
                </a:lnTo>
                <a:lnTo>
                  <a:pt x="5724" y="714"/>
                </a:lnTo>
                <a:lnTo>
                  <a:pt x="5724" y="714"/>
                </a:lnTo>
                <a:lnTo>
                  <a:pt x="5784" y="704"/>
                </a:lnTo>
                <a:lnTo>
                  <a:pt x="5826" y="696"/>
                </a:lnTo>
                <a:lnTo>
                  <a:pt x="5826" y="696"/>
                </a:lnTo>
                <a:lnTo>
                  <a:pt x="5848" y="692"/>
                </a:lnTo>
                <a:lnTo>
                  <a:pt x="5822" y="698"/>
                </a:lnTo>
                <a:lnTo>
                  <a:pt x="5822" y="698"/>
                </a:lnTo>
                <a:lnTo>
                  <a:pt x="5920" y="682"/>
                </a:lnTo>
                <a:lnTo>
                  <a:pt x="5924" y="682"/>
                </a:lnTo>
                <a:lnTo>
                  <a:pt x="5948" y="676"/>
                </a:lnTo>
                <a:lnTo>
                  <a:pt x="5948" y="676"/>
                </a:lnTo>
                <a:lnTo>
                  <a:pt x="5946" y="678"/>
                </a:lnTo>
                <a:lnTo>
                  <a:pt x="5946" y="678"/>
                </a:lnTo>
                <a:lnTo>
                  <a:pt x="5996" y="668"/>
                </a:lnTo>
                <a:lnTo>
                  <a:pt x="6044" y="660"/>
                </a:lnTo>
                <a:lnTo>
                  <a:pt x="6044" y="660"/>
                </a:lnTo>
                <a:lnTo>
                  <a:pt x="6068" y="658"/>
                </a:lnTo>
                <a:lnTo>
                  <a:pt x="6097" y="652"/>
                </a:lnTo>
                <a:lnTo>
                  <a:pt x="6093" y="656"/>
                </a:lnTo>
                <a:lnTo>
                  <a:pt x="6093" y="656"/>
                </a:lnTo>
                <a:lnTo>
                  <a:pt x="6054" y="660"/>
                </a:lnTo>
                <a:lnTo>
                  <a:pt x="6014" y="666"/>
                </a:lnTo>
                <a:lnTo>
                  <a:pt x="6014" y="666"/>
                </a:lnTo>
                <a:lnTo>
                  <a:pt x="6060" y="662"/>
                </a:lnTo>
                <a:lnTo>
                  <a:pt x="6123" y="652"/>
                </a:lnTo>
                <a:lnTo>
                  <a:pt x="6257" y="630"/>
                </a:lnTo>
                <a:lnTo>
                  <a:pt x="6257" y="630"/>
                </a:lnTo>
                <a:lnTo>
                  <a:pt x="6371" y="610"/>
                </a:lnTo>
                <a:lnTo>
                  <a:pt x="6423" y="600"/>
                </a:lnTo>
                <a:lnTo>
                  <a:pt x="6455" y="592"/>
                </a:lnTo>
                <a:lnTo>
                  <a:pt x="6449" y="596"/>
                </a:lnTo>
                <a:lnTo>
                  <a:pt x="6558" y="576"/>
                </a:lnTo>
                <a:lnTo>
                  <a:pt x="6558" y="576"/>
                </a:lnTo>
                <a:lnTo>
                  <a:pt x="6694" y="550"/>
                </a:lnTo>
                <a:lnTo>
                  <a:pt x="6814" y="524"/>
                </a:lnTo>
                <a:lnTo>
                  <a:pt x="6834" y="522"/>
                </a:lnTo>
                <a:lnTo>
                  <a:pt x="6834" y="522"/>
                </a:lnTo>
                <a:lnTo>
                  <a:pt x="6902" y="506"/>
                </a:lnTo>
                <a:lnTo>
                  <a:pt x="6989" y="486"/>
                </a:lnTo>
                <a:lnTo>
                  <a:pt x="6989" y="486"/>
                </a:lnTo>
                <a:lnTo>
                  <a:pt x="7071" y="466"/>
                </a:lnTo>
                <a:lnTo>
                  <a:pt x="7125" y="449"/>
                </a:lnTo>
                <a:lnTo>
                  <a:pt x="7125" y="449"/>
                </a:lnTo>
                <a:lnTo>
                  <a:pt x="7141" y="447"/>
                </a:lnTo>
                <a:lnTo>
                  <a:pt x="7135" y="449"/>
                </a:lnTo>
                <a:lnTo>
                  <a:pt x="7109" y="457"/>
                </a:lnTo>
                <a:lnTo>
                  <a:pt x="7109" y="457"/>
                </a:lnTo>
                <a:lnTo>
                  <a:pt x="7165" y="443"/>
                </a:lnTo>
                <a:lnTo>
                  <a:pt x="7193" y="435"/>
                </a:lnTo>
                <a:lnTo>
                  <a:pt x="7219" y="429"/>
                </a:lnTo>
                <a:lnTo>
                  <a:pt x="7219" y="429"/>
                </a:lnTo>
                <a:lnTo>
                  <a:pt x="7199" y="435"/>
                </a:lnTo>
                <a:lnTo>
                  <a:pt x="7191" y="437"/>
                </a:lnTo>
                <a:lnTo>
                  <a:pt x="7195" y="437"/>
                </a:lnTo>
                <a:lnTo>
                  <a:pt x="7195" y="437"/>
                </a:lnTo>
                <a:lnTo>
                  <a:pt x="7223" y="429"/>
                </a:lnTo>
                <a:lnTo>
                  <a:pt x="7251" y="423"/>
                </a:lnTo>
                <a:lnTo>
                  <a:pt x="7251" y="423"/>
                </a:lnTo>
                <a:lnTo>
                  <a:pt x="7249" y="423"/>
                </a:lnTo>
                <a:lnTo>
                  <a:pt x="7253" y="421"/>
                </a:lnTo>
                <a:lnTo>
                  <a:pt x="7271" y="415"/>
                </a:lnTo>
                <a:lnTo>
                  <a:pt x="7325" y="401"/>
                </a:lnTo>
                <a:lnTo>
                  <a:pt x="7325" y="401"/>
                </a:lnTo>
                <a:lnTo>
                  <a:pt x="7317" y="403"/>
                </a:lnTo>
                <a:lnTo>
                  <a:pt x="7317" y="403"/>
                </a:lnTo>
                <a:lnTo>
                  <a:pt x="7327" y="399"/>
                </a:lnTo>
                <a:lnTo>
                  <a:pt x="7354" y="393"/>
                </a:lnTo>
                <a:lnTo>
                  <a:pt x="7354" y="393"/>
                </a:lnTo>
                <a:lnTo>
                  <a:pt x="7347" y="395"/>
                </a:lnTo>
                <a:lnTo>
                  <a:pt x="7347" y="395"/>
                </a:lnTo>
                <a:lnTo>
                  <a:pt x="7492" y="355"/>
                </a:lnTo>
                <a:lnTo>
                  <a:pt x="7642" y="309"/>
                </a:lnTo>
                <a:lnTo>
                  <a:pt x="7793" y="261"/>
                </a:lnTo>
                <a:lnTo>
                  <a:pt x="7941" y="211"/>
                </a:lnTo>
                <a:lnTo>
                  <a:pt x="7905" y="225"/>
                </a:lnTo>
                <a:lnTo>
                  <a:pt x="7997" y="191"/>
                </a:lnTo>
                <a:lnTo>
                  <a:pt x="7993" y="191"/>
                </a:lnTo>
                <a:lnTo>
                  <a:pt x="7993" y="191"/>
                </a:lnTo>
                <a:lnTo>
                  <a:pt x="8023" y="181"/>
                </a:lnTo>
                <a:lnTo>
                  <a:pt x="8045" y="171"/>
                </a:lnTo>
                <a:lnTo>
                  <a:pt x="8065" y="163"/>
                </a:lnTo>
                <a:lnTo>
                  <a:pt x="8089" y="153"/>
                </a:lnTo>
                <a:lnTo>
                  <a:pt x="8081" y="157"/>
                </a:lnTo>
                <a:lnTo>
                  <a:pt x="8081" y="157"/>
                </a:lnTo>
                <a:lnTo>
                  <a:pt x="8159" y="123"/>
                </a:lnTo>
                <a:lnTo>
                  <a:pt x="8196" y="107"/>
                </a:lnTo>
                <a:lnTo>
                  <a:pt x="8236" y="87"/>
                </a:lnTo>
                <a:lnTo>
                  <a:pt x="8236" y="87"/>
                </a:lnTo>
                <a:lnTo>
                  <a:pt x="8276" y="67"/>
                </a:lnTo>
                <a:lnTo>
                  <a:pt x="8308" y="51"/>
                </a:lnTo>
                <a:lnTo>
                  <a:pt x="8308" y="51"/>
                </a:lnTo>
                <a:lnTo>
                  <a:pt x="8334" y="33"/>
                </a:lnTo>
                <a:lnTo>
                  <a:pt x="8344" y="25"/>
                </a:lnTo>
                <a:lnTo>
                  <a:pt x="8332" y="33"/>
                </a:lnTo>
                <a:lnTo>
                  <a:pt x="8332" y="33"/>
                </a:lnTo>
                <a:lnTo>
                  <a:pt x="8330" y="35"/>
                </a:lnTo>
                <a:lnTo>
                  <a:pt x="8332" y="33"/>
                </a:lnTo>
                <a:lnTo>
                  <a:pt x="8342" y="25"/>
                </a:lnTo>
                <a:lnTo>
                  <a:pt x="8360" y="13"/>
                </a:lnTo>
                <a:lnTo>
                  <a:pt x="8374" y="0"/>
                </a:lnTo>
                <a:lnTo>
                  <a:pt x="8374" y="0"/>
                </a:lnTo>
                <a:lnTo>
                  <a:pt x="8366" y="4"/>
                </a:lnTo>
                <a:lnTo>
                  <a:pt x="8360" y="9"/>
                </a:lnTo>
                <a:lnTo>
                  <a:pt x="8360" y="9"/>
                </a:lnTo>
                <a:lnTo>
                  <a:pt x="8316" y="33"/>
                </a:lnTo>
                <a:lnTo>
                  <a:pt x="8316" y="33"/>
                </a:lnTo>
                <a:lnTo>
                  <a:pt x="8294" y="47"/>
                </a:lnTo>
                <a:lnTo>
                  <a:pt x="8278" y="55"/>
                </a:lnTo>
                <a:lnTo>
                  <a:pt x="8278" y="55"/>
                </a:lnTo>
                <a:lnTo>
                  <a:pt x="8236" y="75"/>
                </a:lnTo>
                <a:lnTo>
                  <a:pt x="8236" y="75"/>
                </a:lnTo>
                <a:lnTo>
                  <a:pt x="8216" y="87"/>
                </a:lnTo>
                <a:lnTo>
                  <a:pt x="8189" y="99"/>
                </a:lnTo>
                <a:lnTo>
                  <a:pt x="8133" y="125"/>
                </a:lnTo>
                <a:lnTo>
                  <a:pt x="8133" y="125"/>
                </a:lnTo>
                <a:lnTo>
                  <a:pt x="8137" y="123"/>
                </a:lnTo>
                <a:lnTo>
                  <a:pt x="8133" y="123"/>
                </a:lnTo>
                <a:lnTo>
                  <a:pt x="8121" y="129"/>
                </a:lnTo>
                <a:lnTo>
                  <a:pt x="8109" y="133"/>
                </a:lnTo>
                <a:lnTo>
                  <a:pt x="8119" y="129"/>
                </a:lnTo>
                <a:lnTo>
                  <a:pt x="8119" y="129"/>
                </a:lnTo>
                <a:lnTo>
                  <a:pt x="8065" y="151"/>
                </a:lnTo>
                <a:lnTo>
                  <a:pt x="8029" y="167"/>
                </a:lnTo>
                <a:lnTo>
                  <a:pt x="7999" y="177"/>
                </a:lnTo>
                <a:lnTo>
                  <a:pt x="7999" y="177"/>
                </a:lnTo>
                <a:lnTo>
                  <a:pt x="8011" y="173"/>
                </a:lnTo>
                <a:lnTo>
                  <a:pt x="8011" y="173"/>
                </a:lnTo>
                <a:lnTo>
                  <a:pt x="7973" y="187"/>
                </a:lnTo>
                <a:lnTo>
                  <a:pt x="7945" y="197"/>
                </a:lnTo>
                <a:lnTo>
                  <a:pt x="7947" y="197"/>
                </a:lnTo>
                <a:lnTo>
                  <a:pt x="7947" y="197"/>
                </a:lnTo>
                <a:lnTo>
                  <a:pt x="7917" y="207"/>
                </a:lnTo>
                <a:lnTo>
                  <a:pt x="7917" y="207"/>
                </a:lnTo>
                <a:lnTo>
                  <a:pt x="7935" y="203"/>
                </a:lnTo>
                <a:lnTo>
                  <a:pt x="7939" y="201"/>
                </a:lnTo>
                <a:lnTo>
                  <a:pt x="7937" y="203"/>
                </a:lnTo>
                <a:lnTo>
                  <a:pt x="7937" y="203"/>
                </a:lnTo>
                <a:lnTo>
                  <a:pt x="7891" y="221"/>
                </a:lnTo>
                <a:lnTo>
                  <a:pt x="7891" y="221"/>
                </a:lnTo>
                <a:lnTo>
                  <a:pt x="7911" y="211"/>
                </a:lnTo>
                <a:lnTo>
                  <a:pt x="7911" y="211"/>
                </a:lnTo>
                <a:lnTo>
                  <a:pt x="7891" y="219"/>
                </a:lnTo>
                <a:lnTo>
                  <a:pt x="7871" y="225"/>
                </a:lnTo>
                <a:lnTo>
                  <a:pt x="7871" y="225"/>
                </a:lnTo>
                <a:lnTo>
                  <a:pt x="7913" y="209"/>
                </a:lnTo>
                <a:lnTo>
                  <a:pt x="7913" y="209"/>
                </a:lnTo>
                <a:lnTo>
                  <a:pt x="7889" y="217"/>
                </a:lnTo>
                <a:lnTo>
                  <a:pt x="7891" y="215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1" y="219"/>
                </a:lnTo>
                <a:lnTo>
                  <a:pt x="7863" y="225"/>
                </a:lnTo>
                <a:lnTo>
                  <a:pt x="7817" y="241"/>
                </a:lnTo>
                <a:lnTo>
                  <a:pt x="7817" y="241"/>
                </a:lnTo>
                <a:lnTo>
                  <a:pt x="7825" y="239"/>
                </a:lnTo>
                <a:lnTo>
                  <a:pt x="7841" y="233"/>
                </a:lnTo>
                <a:lnTo>
                  <a:pt x="7841" y="233"/>
                </a:lnTo>
                <a:lnTo>
                  <a:pt x="7807" y="243"/>
                </a:lnTo>
                <a:lnTo>
                  <a:pt x="7777" y="253"/>
                </a:lnTo>
                <a:lnTo>
                  <a:pt x="7742" y="265"/>
                </a:lnTo>
                <a:lnTo>
                  <a:pt x="7700" y="279"/>
                </a:lnTo>
                <a:lnTo>
                  <a:pt x="7700" y="279"/>
                </a:lnTo>
                <a:lnTo>
                  <a:pt x="7712" y="273"/>
                </a:lnTo>
                <a:lnTo>
                  <a:pt x="7712" y="273"/>
                </a:lnTo>
                <a:lnTo>
                  <a:pt x="7672" y="287"/>
                </a:lnTo>
                <a:lnTo>
                  <a:pt x="7642" y="297"/>
                </a:lnTo>
                <a:lnTo>
                  <a:pt x="7642" y="297"/>
                </a:lnTo>
                <a:lnTo>
                  <a:pt x="7622" y="301"/>
                </a:lnTo>
                <a:lnTo>
                  <a:pt x="7590" y="309"/>
                </a:lnTo>
                <a:lnTo>
                  <a:pt x="7590" y="309"/>
                </a:lnTo>
                <a:lnTo>
                  <a:pt x="7592" y="309"/>
                </a:lnTo>
                <a:lnTo>
                  <a:pt x="7588" y="311"/>
                </a:lnTo>
                <a:lnTo>
                  <a:pt x="7568" y="317"/>
                </a:lnTo>
                <a:lnTo>
                  <a:pt x="7546" y="323"/>
                </a:lnTo>
                <a:lnTo>
                  <a:pt x="7536" y="327"/>
                </a:lnTo>
                <a:lnTo>
                  <a:pt x="7500" y="335"/>
                </a:lnTo>
                <a:lnTo>
                  <a:pt x="7500" y="335"/>
                </a:lnTo>
                <a:lnTo>
                  <a:pt x="7488" y="341"/>
                </a:lnTo>
                <a:lnTo>
                  <a:pt x="7486" y="343"/>
                </a:lnTo>
                <a:lnTo>
                  <a:pt x="7478" y="345"/>
                </a:lnTo>
                <a:lnTo>
                  <a:pt x="7450" y="353"/>
                </a:lnTo>
                <a:lnTo>
                  <a:pt x="7450" y="353"/>
                </a:lnTo>
                <a:lnTo>
                  <a:pt x="7426" y="359"/>
                </a:lnTo>
                <a:lnTo>
                  <a:pt x="7424" y="359"/>
                </a:lnTo>
                <a:lnTo>
                  <a:pt x="7426" y="357"/>
                </a:lnTo>
                <a:lnTo>
                  <a:pt x="7432" y="355"/>
                </a:lnTo>
                <a:lnTo>
                  <a:pt x="7422" y="357"/>
                </a:lnTo>
                <a:lnTo>
                  <a:pt x="7408" y="361"/>
                </a:lnTo>
                <a:lnTo>
                  <a:pt x="7380" y="367"/>
                </a:lnTo>
                <a:lnTo>
                  <a:pt x="7384" y="367"/>
                </a:lnTo>
                <a:lnTo>
                  <a:pt x="7384" y="367"/>
                </a:lnTo>
                <a:lnTo>
                  <a:pt x="7337" y="377"/>
                </a:lnTo>
                <a:lnTo>
                  <a:pt x="7337" y="377"/>
                </a:lnTo>
                <a:lnTo>
                  <a:pt x="7362" y="371"/>
                </a:lnTo>
                <a:lnTo>
                  <a:pt x="7362" y="371"/>
                </a:lnTo>
                <a:lnTo>
                  <a:pt x="7333" y="379"/>
                </a:lnTo>
                <a:lnTo>
                  <a:pt x="7293" y="387"/>
                </a:lnTo>
                <a:lnTo>
                  <a:pt x="7255" y="397"/>
                </a:lnTo>
                <a:lnTo>
                  <a:pt x="7225" y="405"/>
                </a:lnTo>
                <a:lnTo>
                  <a:pt x="7225" y="405"/>
                </a:lnTo>
                <a:lnTo>
                  <a:pt x="7195" y="413"/>
                </a:lnTo>
                <a:lnTo>
                  <a:pt x="7181" y="415"/>
                </a:lnTo>
                <a:lnTo>
                  <a:pt x="7181" y="415"/>
                </a:lnTo>
                <a:lnTo>
                  <a:pt x="7137" y="425"/>
                </a:lnTo>
                <a:lnTo>
                  <a:pt x="7087" y="437"/>
                </a:lnTo>
                <a:lnTo>
                  <a:pt x="7087" y="437"/>
                </a:lnTo>
                <a:lnTo>
                  <a:pt x="7077" y="439"/>
                </a:lnTo>
                <a:lnTo>
                  <a:pt x="7053" y="445"/>
                </a:lnTo>
                <a:lnTo>
                  <a:pt x="7053" y="445"/>
                </a:lnTo>
                <a:lnTo>
                  <a:pt x="7063" y="443"/>
                </a:lnTo>
                <a:lnTo>
                  <a:pt x="7047" y="447"/>
                </a:lnTo>
                <a:lnTo>
                  <a:pt x="7047" y="447"/>
                </a:lnTo>
                <a:lnTo>
                  <a:pt x="7001" y="457"/>
                </a:lnTo>
                <a:lnTo>
                  <a:pt x="6965" y="466"/>
                </a:lnTo>
                <a:lnTo>
                  <a:pt x="6965" y="466"/>
                </a:lnTo>
                <a:lnTo>
                  <a:pt x="6943" y="472"/>
                </a:lnTo>
                <a:lnTo>
                  <a:pt x="6943" y="472"/>
                </a:lnTo>
                <a:lnTo>
                  <a:pt x="6941" y="474"/>
                </a:lnTo>
                <a:lnTo>
                  <a:pt x="6941" y="474"/>
                </a:lnTo>
                <a:lnTo>
                  <a:pt x="6892" y="484"/>
                </a:lnTo>
                <a:lnTo>
                  <a:pt x="6872" y="486"/>
                </a:lnTo>
                <a:lnTo>
                  <a:pt x="6868" y="488"/>
                </a:lnTo>
                <a:lnTo>
                  <a:pt x="6868" y="486"/>
                </a:lnTo>
                <a:lnTo>
                  <a:pt x="6868" y="486"/>
                </a:lnTo>
                <a:lnTo>
                  <a:pt x="6900" y="480"/>
                </a:lnTo>
                <a:lnTo>
                  <a:pt x="6914" y="476"/>
                </a:lnTo>
                <a:lnTo>
                  <a:pt x="6916" y="476"/>
                </a:lnTo>
                <a:lnTo>
                  <a:pt x="6914" y="476"/>
                </a:lnTo>
                <a:lnTo>
                  <a:pt x="6914" y="476"/>
                </a:lnTo>
                <a:lnTo>
                  <a:pt x="6894" y="480"/>
                </a:lnTo>
                <a:lnTo>
                  <a:pt x="6876" y="486"/>
                </a:lnTo>
                <a:lnTo>
                  <a:pt x="6876" y="486"/>
                </a:lnTo>
                <a:lnTo>
                  <a:pt x="6868" y="486"/>
                </a:lnTo>
                <a:lnTo>
                  <a:pt x="6862" y="486"/>
                </a:lnTo>
                <a:lnTo>
                  <a:pt x="6862" y="486"/>
                </a:lnTo>
                <a:lnTo>
                  <a:pt x="6804" y="498"/>
                </a:lnTo>
                <a:lnTo>
                  <a:pt x="6804" y="498"/>
                </a:lnTo>
                <a:lnTo>
                  <a:pt x="6816" y="496"/>
                </a:lnTo>
                <a:lnTo>
                  <a:pt x="6810" y="498"/>
                </a:lnTo>
                <a:lnTo>
                  <a:pt x="6800" y="500"/>
                </a:lnTo>
                <a:lnTo>
                  <a:pt x="6804" y="500"/>
                </a:lnTo>
                <a:lnTo>
                  <a:pt x="6836" y="492"/>
                </a:lnTo>
                <a:lnTo>
                  <a:pt x="6836" y="492"/>
                </a:lnTo>
                <a:lnTo>
                  <a:pt x="6856" y="488"/>
                </a:lnTo>
                <a:lnTo>
                  <a:pt x="6854" y="490"/>
                </a:lnTo>
                <a:lnTo>
                  <a:pt x="6860" y="488"/>
                </a:lnTo>
                <a:lnTo>
                  <a:pt x="6860" y="488"/>
                </a:lnTo>
                <a:lnTo>
                  <a:pt x="6798" y="504"/>
                </a:lnTo>
                <a:lnTo>
                  <a:pt x="6738" y="518"/>
                </a:lnTo>
                <a:lnTo>
                  <a:pt x="6698" y="524"/>
                </a:lnTo>
                <a:lnTo>
                  <a:pt x="6698" y="524"/>
                </a:lnTo>
                <a:lnTo>
                  <a:pt x="6714" y="520"/>
                </a:lnTo>
                <a:lnTo>
                  <a:pt x="6702" y="522"/>
                </a:lnTo>
                <a:lnTo>
                  <a:pt x="6702" y="522"/>
                </a:lnTo>
                <a:lnTo>
                  <a:pt x="6676" y="526"/>
                </a:lnTo>
                <a:lnTo>
                  <a:pt x="6652" y="532"/>
                </a:lnTo>
                <a:lnTo>
                  <a:pt x="6606" y="538"/>
                </a:lnTo>
                <a:lnTo>
                  <a:pt x="6606" y="538"/>
                </a:lnTo>
                <a:lnTo>
                  <a:pt x="6622" y="536"/>
                </a:lnTo>
                <a:lnTo>
                  <a:pt x="6610" y="540"/>
                </a:lnTo>
                <a:lnTo>
                  <a:pt x="6610" y="540"/>
                </a:lnTo>
                <a:lnTo>
                  <a:pt x="6570" y="548"/>
                </a:lnTo>
                <a:lnTo>
                  <a:pt x="6568" y="548"/>
                </a:lnTo>
                <a:lnTo>
                  <a:pt x="6558" y="548"/>
                </a:lnTo>
                <a:lnTo>
                  <a:pt x="6558" y="548"/>
                </a:lnTo>
                <a:lnTo>
                  <a:pt x="6431" y="570"/>
                </a:lnTo>
                <a:lnTo>
                  <a:pt x="6319" y="590"/>
                </a:lnTo>
                <a:lnTo>
                  <a:pt x="6357" y="586"/>
                </a:lnTo>
                <a:lnTo>
                  <a:pt x="6369" y="582"/>
                </a:lnTo>
                <a:lnTo>
                  <a:pt x="6369" y="582"/>
                </a:lnTo>
                <a:lnTo>
                  <a:pt x="6381" y="582"/>
                </a:lnTo>
                <a:lnTo>
                  <a:pt x="6375" y="584"/>
                </a:lnTo>
                <a:lnTo>
                  <a:pt x="6347" y="590"/>
                </a:lnTo>
                <a:lnTo>
                  <a:pt x="6347" y="590"/>
                </a:lnTo>
                <a:lnTo>
                  <a:pt x="6323" y="594"/>
                </a:lnTo>
                <a:lnTo>
                  <a:pt x="6311" y="596"/>
                </a:lnTo>
                <a:lnTo>
                  <a:pt x="6315" y="596"/>
                </a:lnTo>
                <a:lnTo>
                  <a:pt x="6269" y="604"/>
                </a:lnTo>
                <a:lnTo>
                  <a:pt x="6269" y="604"/>
                </a:lnTo>
                <a:lnTo>
                  <a:pt x="6287" y="602"/>
                </a:lnTo>
                <a:lnTo>
                  <a:pt x="6291" y="600"/>
                </a:lnTo>
                <a:lnTo>
                  <a:pt x="6283" y="602"/>
                </a:lnTo>
                <a:lnTo>
                  <a:pt x="6283" y="602"/>
                </a:lnTo>
                <a:lnTo>
                  <a:pt x="6249" y="608"/>
                </a:lnTo>
                <a:lnTo>
                  <a:pt x="6241" y="608"/>
                </a:lnTo>
                <a:lnTo>
                  <a:pt x="6251" y="606"/>
                </a:lnTo>
                <a:lnTo>
                  <a:pt x="6251" y="606"/>
                </a:lnTo>
                <a:lnTo>
                  <a:pt x="6213" y="612"/>
                </a:lnTo>
                <a:lnTo>
                  <a:pt x="6199" y="616"/>
                </a:lnTo>
                <a:lnTo>
                  <a:pt x="6199" y="616"/>
                </a:lnTo>
                <a:lnTo>
                  <a:pt x="6183" y="618"/>
                </a:lnTo>
                <a:lnTo>
                  <a:pt x="6189" y="616"/>
                </a:lnTo>
                <a:lnTo>
                  <a:pt x="6221" y="610"/>
                </a:lnTo>
                <a:lnTo>
                  <a:pt x="6221" y="610"/>
                </a:lnTo>
                <a:lnTo>
                  <a:pt x="6197" y="612"/>
                </a:lnTo>
                <a:lnTo>
                  <a:pt x="6203" y="610"/>
                </a:lnTo>
                <a:lnTo>
                  <a:pt x="6159" y="618"/>
                </a:lnTo>
                <a:lnTo>
                  <a:pt x="6159" y="618"/>
                </a:lnTo>
                <a:lnTo>
                  <a:pt x="6177" y="614"/>
                </a:lnTo>
                <a:lnTo>
                  <a:pt x="6177" y="614"/>
                </a:lnTo>
                <a:lnTo>
                  <a:pt x="6139" y="620"/>
                </a:lnTo>
                <a:lnTo>
                  <a:pt x="6103" y="626"/>
                </a:lnTo>
                <a:lnTo>
                  <a:pt x="6093" y="628"/>
                </a:lnTo>
                <a:lnTo>
                  <a:pt x="6093" y="628"/>
                </a:lnTo>
                <a:lnTo>
                  <a:pt x="5946" y="650"/>
                </a:lnTo>
                <a:lnTo>
                  <a:pt x="5958" y="650"/>
                </a:lnTo>
                <a:lnTo>
                  <a:pt x="5958" y="650"/>
                </a:lnTo>
                <a:lnTo>
                  <a:pt x="5926" y="654"/>
                </a:lnTo>
                <a:lnTo>
                  <a:pt x="5908" y="656"/>
                </a:lnTo>
                <a:lnTo>
                  <a:pt x="5884" y="660"/>
                </a:lnTo>
                <a:lnTo>
                  <a:pt x="5842" y="666"/>
                </a:lnTo>
                <a:lnTo>
                  <a:pt x="5842" y="666"/>
                </a:lnTo>
                <a:lnTo>
                  <a:pt x="5790" y="674"/>
                </a:lnTo>
                <a:lnTo>
                  <a:pt x="5778" y="676"/>
                </a:lnTo>
                <a:lnTo>
                  <a:pt x="5776" y="678"/>
                </a:lnTo>
                <a:lnTo>
                  <a:pt x="5776" y="678"/>
                </a:lnTo>
                <a:lnTo>
                  <a:pt x="5776" y="678"/>
                </a:lnTo>
                <a:lnTo>
                  <a:pt x="5752" y="682"/>
                </a:lnTo>
                <a:lnTo>
                  <a:pt x="5736" y="684"/>
                </a:lnTo>
                <a:lnTo>
                  <a:pt x="5736" y="684"/>
                </a:lnTo>
                <a:lnTo>
                  <a:pt x="5694" y="690"/>
                </a:lnTo>
                <a:lnTo>
                  <a:pt x="5643" y="698"/>
                </a:lnTo>
                <a:lnTo>
                  <a:pt x="5702" y="688"/>
                </a:lnTo>
                <a:lnTo>
                  <a:pt x="5702" y="688"/>
                </a:lnTo>
                <a:lnTo>
                  <a:pt x="5661" y="694"/>
                </a:lnTo>
                <a:lnTo>
                  <a:pt x="5601" y="700"/>
                </a:lnTo>
                <a:lnTo>
                  <a:pt x="5469" y="724"/>
                </a:lnTo>
                <a:lnTo>
                  <a:pt x="5469" y="724"/>
                </a:lnTo>
                <a:lnTo>
                  <a:pt x="5477" y="724"/>
                </a:lnTo>
                <a:lnTo>
                  <a:pt x="5479" y="724"/>
                </a:lnTo>
                <a:lnTo>
                  <a:pt x="5477" y="724"/>
                </a:lnTo>
                <a:lnTo>
                  <a:pt x="5445" y="732"/>
                </a:lnTo>
                <a:lnTo>
                  <a:pt x="5445" y="732"/>
                </a:lnTo>
                <a:lnTo>
                  <a:pt x="5419" y="734"/>
                </a:lnTo>
                <a:lnTo>
                  <a:pt x="5371" y="738"/>
                </a:lnTo>
                <a:lnTo>
                  <a:pt x="5371" y="738"/>
                </a:lnTo>
                <a:lnTo>
                  <a:pt x="5373" y="738"/>
                </a:lnTo>
                <a:lnTo>
                  <a:pt x="5369" y="738"/>
                </a:lnTo>
                <a:lnTo>
                  <a:pt x="5355" y="740"/>
                </a:lnTo>
                <a:lnTo>
                  <a:pt x="5349" y="740"/>
                </a:lnTo>
                <a:lnTo>
                  <a:pt x="5367" y="736"/>
                </a:lnTo>
                <a:lnTo>
                  <a:pt x="5367" y="736"/>
                </a:lnTo>
                <a:lnTo>
                  <a:pt x="5387" y="734"/>
                </a:lnTo>
                <a:lnTo>
                  <a:pt x="5411" y="732"/>
                </a:lnTo>
                <a:lnTo>
                  <a:pt x="5411" y="732"/>
                </a:lnTo>
                <a:lnTo>
                  <a:pt x="5331" y="740"/>
                </a:lnTo>
                <a:lnTo>
                  <a:pt x="5331" y="740"/>
                </a:lnTo>
                <a:lnTo>
                  <a:pt x="5369" y="734"/>
                </a:lnTo>
                <a:lnTo>
                  <a:pt x="5369" y="734"/>
                </a:lnTo>
                <a:lnTo>
                  <a:pt x="5363" y="734"/>
                </a:lnTo>
                <a:lnTo>
                  <a:pt x="5367" y="734"/>
                </a:lnTo>
              </a:path>
            </a:pathLst>
          </a:custGeom>
          <a:solidFill>
            <a:schemeClr val="bg1">
              <a:alpha val="6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20" name="Freeform 132"/>
          <p:cNvSpPr>
            <a:spLocks/>
          </p:cNvSpPr>
          <p:nvPr userDrawn="1"/>
        </p:nvSpPr>
        <p:spPr bwMode="auto">
          <a:xfrm>
            <a:off x="-6673850" y="5165726"/>
            <a:ext cx="13300075" cy="1725613"/>
          </a:xfrm>
          <a:custGeom>
            <a:avLst/>
            <a:gdLst>
              <a:gd name="T0" fmla="*/ 3402 w 8378"/>
              <a:gd name="T1" fmla="*/ 904 h 1087"/>
              <a:gd name="T2" fmla="*/ 3603 w 8378"/>
              <a:gd name="T3" fmla="*/ 886 h 1087"/>
              <a:gd name="T4" fmla="*/ 3679 w 8378"/>
              <a:gd name="T5" fmla="*/ 876 h 1087"/>
              <a:gd name="T6" fmla="*/ 3783 w 8378"/>
              <a:gd name="T7" fmla="*/ 870 h 1087"/>
              <a:gd name="T8" fmla="*/ 4174 w 8378"/>
              <a:gd name="T9" fmla="*/ 830 h 1087"/>
              <a:gd name="T10" fmla="*/ 4396 w 8378"/>
              <a:gd name="T11" fmla="*/ 806 h 1087"/>
              <a:gd name="T12" fmla="*/ 4545 w 8378"/>
              <a:gd name="T13" fmla="*/ 790 h 1087"/>
              <a:gd name="T14" fmla="*/ 4838 w 8378"/>
              <a:gd name="T15" fmla="*/ 752 h 1087"/>
              <a:gd name="T16" fmla="*/ 4924 w 8378"/>
              <a:gd name="T17" fmla="*/ 746 h 1087"/>
              <a:gd name="T18" fmla="*/ 5142 w 8378"/>
              <a:gd name="T19" fmla="*/ 718 h 1087"/>
              <a:gd name="T20" fmla="*/ 5459 w 8378"/>
              <a:gd name="T21" fmla="*/ 678 h 1087"/>
              <a:gd name="T22" fmla="*/ 5627 w 8378"/>
              <a:gd name="T23" fmla="*/ 654 h 1087"/>
              <a:gd name="T24" fmla="*/ 5860 w 8378"/>
              <a:gd name="T25" fmla="*/ 618 h 1087"/>
              <a:gd name="T26" fmla="*/ 5962 w 8378"/>
              <a:gd name="T27" fmla="*/ 603 h 1087"/>
              <a:gd name="T28" fmla="*/ 6103 w 8378"/>
              <a:gd name="T29" fmla="*/ 583 h 1087"/>
              <a:gd name="T30" fmla="*/ 6576 w 8378"/>
              <a:gd name="T31" fmla="*/ 495 h 1087"/>
              <a:gd name="T32" fmla="*/ 6840 w 8378"/>
              <a:gd name="T33" fmla="*/ 453 h 1087"/>
              <a:gd name="T34" fmla="*/ 6832 w 8378"/>
              <a:gd name="T35" fmla="*/ 447 h 1087"/>
              <a:gd name="T36" fmla="*/ 7033 w 8378"/>
              <a:gd name="T37" fmla="*/ 403 h 1087"/>
              <a:gd name="T38" fmla="*/ 7237 w 8378"/>
              <a:gd name="T39" fmla="*/ 367 h 1087"/>
              <a:gd name="T40" fmla="*/ 7295 w 8378"/>
              <a:gd name="T41" fmla="*/ 349 h 1087"/>
              <a:gd name="T42" fmla="*/ 7642 w 8378"/>
              <a:gd name="T43" fmla="*/ 269 h 1087"/>
              <a:gd name="T44" fmla="*/ 7823 w 8378"/>
              <a:gd name="T45" fmla="*/ 219 h 1087"/>
              <a:gd name="T46" fmla="*/ 8031 w 8378"/>
              <a:gd name="T47" fmla="*/ 150 h 1087"/>
              <a:gd name="T48" fmla="*/ 8143 w 8378"/>
              <a:gd name="T49" fmla="*/ 106 h 1087"/>
              <a:gd name="T50" fmla="*/ 7873 w 8378"/>
              <a:gd name="T51" fmla="*/ 195 h 1087"/>
              <a:gd name="T52" fmla="*/ 8230 w 8378"/>
              <a:gd name="T53" fmla="*/ 74 h 1087"/>
              <a:gd name="T54" fmla="*/ 8376 w 8378"/>
              <a:gd name="T55" fmla="*/ 0 h 1087"/>
              <a:gd name="T56" fmla="*/ 8368 w 8378"/>
              <a:gd name="T57" fmla="*/ 6 h 1087"/>
              <a:gd name="T58" fmla="*/ 8167 w 8378"/>
              <a:gd name="T59" fmla="*/ 90 h 1087"/>
              <a:gd name="T60" fmla="*/ 8328 w 8378"/>
              <a:gd name="T61" fmla="*/ 14 h 1087"/>
              <a:gd name="T62" fmla="*/ 8129 w 8378"/>
              <a:gd name="T63" fmla="*/ 98 h 1087"/>
              <a:gd name="T64" fmla="*/ 7991 w 8378"/>
              <a:gd name="T65" fmla="*/ 152 h 1087"/>
              <a:gd name="T66" fmla="*/ 7660 w 8378"/>
              <a:gd name="T67" fmla="*/ 249 h 1087"/>
              <a:gd name="T68" fmla="*/ 7556 w 8378"/>
              <a:gd name="T69" fmla="*/ 275 h 1087"/>
              <a:gd name="T70" fmla="*/ 7500 w 8378"/>
              <a:gd name="T71" fmla="*/ 283 h 1087"/>
              <a:gd name="T72" fmla="*/ 7313 w 8378"/>
              <a:gd name="T73" fmla="*/ 327 h 1087"/>
              <a:gd name="T74" fmla="*/ 6943 w 8378"/>
              <a:gd name="T75" fmla="*/ 405 h 1087"/>
              <a:gd name="T76" fmla="*/ 6782 w 8378"/>
              <a:gd name="T77" fmla="*/ 437 h 1087"/>
              <a:gd name="T78" fmla="*/ 6469 w 8378"/>
              <a:gd name="T79" fmla="*/ 495 h 1087"/>
              <a:gd name="T80" fmla="*/ 6044 w 8378"/>
              <a:gd name="T81" fmla="*/ 567 h 1087"/>
              <a:gd name="T82" fmla="*/ 5764 w 8378"/>
              <a:gd name="T83" fmla="*/ 611 h 1087"/>
              <a:gd name="T84" fmla="*/ 5834 w 8378"/>
              <a:gd name="T85" fmla="*/ 603 h 1087"/>
              <a:gd name="T86" fmla="*/ 5698 w 8378"/>
              <a:gd name="T87" fmla="*/ 622 h 1087"/>
              <a:gd name="T88" fmla="*/ 5088 w 8378"/>
              <a:gd name="T89" fmla="*/ 700 h 1087"/>
              <a:gd name="T90" fmla="*/ 3969 w 8378"/>
              <a:gd name="T91" fmla="*/ 824 h 1087"/>
              <a:gd name="T92" fmla="*/ 3733 w 8378"/>
              <a:gd name="T93" fmla="*/ 846 h 1087"/>
              <a:gd name="T94" fmla="*/ 3432 w 8378"/>
              <a:gd name="T95" fmla="*/ 872 h 1087"/>
              <a:gd name="T96" fmla="*/ 2847 w 8378"/>
              <a:gd name="T97" fmla="*/ 920 h 1087"/>
              <a:gd name="T98" fmla="*/ 2426 w 8378"/>
              <a:gd name="T99" fmla="*/ 954 h 1087"/>
              <a:gd name="T100" fmla="*/ 1385 w 8378"/>
              <a:gd name="T101" fmla="*/ 1016 h 1087"/>
              <a:gd name="T102" fmla="*/ 1131 w 8378"/>
              <a:gd name="T103" fmla="*/ 1032 h 1087"/>
              <a:gd name="T104" fmla="*/ 82 w 8378"/>
              <a:gd name="T105" fmla="*/ 1077 h 1087"/>
              <a:gd name="T106" fmla="*/ 267 w 8378"/>
              <a:gd name="T107" fmla="*/ 1081 h 1087"/>
              <a:gd name="T108" fmla="*/ 509 w 8378"/>
              <a:gd name="T109" fmla="*/ 1073 h 1087"/>
              <a:gd name="T110" fmla="*/ 716 w 8378"/>
              <a:gd name="T111" fmla="*/ 1068 h 1087"/>
              <a:gd name="T112" fmla="*/ 1020 w 8378"/>
              <a:gd name="T113" fmla="*/ 1056 h 1087"/>
              <a:gd name="T114" fmla="*/ 1405 w 8378"/>
              <a:gd name="T115" fmla="*/ 1038 h 1087"/>
              <a:gd name="T116" fmla="*/ 1652 w 8378"/>
              <a:gd name="T117" fmla="*/ 1028 h 1087"/>
              <a:gd name="T118" fmla="*/ 1850 w 8378"/>
              <a:gd name="T119" fmla="*/ 1012 h 1087"/>
              <a:gd name="T120" fmla="*/ 2225 w 8378"/>
              <a:gd name="T121" fmla="*/ 986 h 1087"/>
              <a:gd name="T122" fmla="*/ 2562 w 8378"/>
              <a:gd name="T123" fmla="*/ 968 h 1087"/>
              <a:gd name="T124" fmla="*/ 3027 w 8378"/>
              <a:gd name="T125" fmla="*/ 926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78" h="1087">
                <a:moveTo>
                  <a:pt x="3105" y="926"/>
                </a:moveTo>
                <a:lnTo>
                  <a:pt x="3105" y="926"/>
                </a:lnTo>
                <a:lnTo>
                  <a:pt x="3081" y="928"/>
                </a:lnTo>
                <a:lnTo>
                  <a:pt x="3087" y="928"/>
                </a:lnTo>
                <a:lnTo>
                  <a:pt x="3105" y="928"/>
                </a:lnTo>
                <a:lnTo>
                  <a:pt x="3111" y="928"/>
                </a:lnTo>
                <a:lnTo>
                  <a:pt x="3111" y="928"/>
                </a:lnTo>
                <a:lnTo>
                  <a:pt x="3141" y="926"/>
                </a:lnTo>
                <a:lnTo>
                  <a:pt x="3152" y="924"/>
                </a:lnTo>
                <a:lnTo>
                  <a:pt x="3147" y="924"/>
                </a:lnTo>
                <a:lnTo>
                  <a:pt x="3147" y="924"/>
                </a:lnTo>
                <a:lnTo>
                  <a:pt x="3178" y="924"/>
                </a:lnTo>
                <a:lnTo>
                  <a:pt x="3214" y="920"/>
                </a:lnTo>
                <a:lnTo>
                  <a:pt x="3252" y="916"/>
                </a:lnTo>
                <a:lnTo>
                  <a:pt x="3284" y="914"/>
                </a:lnTo>
                <a:lnTo>
                  <a:pt x="3284" y="914"/>
                </a:lnTo>
                <a:lnTo>
                  <a:pt x="3278" y="914"/>
                </a:lnTo>
                <a:lnTo>
                  <a:pt x="3290" y="912"/>
                </a:lnTo>
                <a:lnTo>
                  <a:pt x="3290" y="912"/>
                </a:lnTo>
                <a:lnTo>
                  <a:pt x="3324" y="910"/>
                </a:lnTo>
                <a:lnTo>
                  <a:pt x="3340" y="910"/>
                </a:lnTo>
                <a:lnTo>
                  <a:pt x="3340" y="910"/>
                </a:lnTo>
                <a:lnTo>
                  <a:pt x="3402" y="904"/>
                </a:lnTo>
                <a:lnTo>
                  <a:pt x="3402" y="904"/>
                </a:lnTo>
                <a:lnTo>
                  <a:pt x="3410" y="902"/>
                </a:lnTo>
                <a:lnTo>
                  <a:pt x="3402" y="902"/>
                </a:lnTo>
                <a:lnTo>
                  <a:pt x="3398" y="900"/>
                </a:lnTo>
                <a:lnTo>
                  <a:pt x="3410" y="898"/>
                </a:lnTo>
                <a:lnTo>
                  <a:pt x="3410" y="898"/>
                </a:lnTo>
                <a:lnTo>
                  <a:pt x="3450" y="894"/>
                </a:lnTo>
                <a:lnTo>
                  <a:pt x="3494" y="892"/>
                </a:lnTo>
                <a:lnTo>
                  <a:pt x="3494" y="892"/>
                </a:lnTo>
                <a:lnTo>
                  <a:pt x="3502" y="890"/>
                </a:lnTo>
                <a:lnTo>
                  <a:pt x="3488" y="892"/>
                </a:lnTo>
                <a:lnTo>
                  <a:pt x="3446" y="896"/>
                </a:lnTo>
                <a:lnTo>
                  <a:pt x="3540" y="888"/>
                </a:lnTo>
                <a:lnTo>
                  <a:pt x="3540" y="888"/>
                </a:lnTo>
                <a:lnTo>
                  <a:pt x="3550" y="888"/>
                </a:lnTo>
                <a:lnTo>
                  <a:pt x="3542" y="888"/>
                </a:lnTo>
                <a:lnTo>
                  <a:pt x="3500" y="892"/>
                </a:lnTo>
                <a:lnTo>
                  <a:pt x="3500" y="892"/>
                </a:lnTo>
                <a:lnTo>
                  <a:pt x="3560" y="888"/>
                </a:lnTo>
                <a:lnTo>
                  <a:pt x="3599" y="882"/>
                </a:lnTo>
                <a:lnTo>
                  <a:pt x="3599" y="882"/>
                </a:lnTo>
                <a:lnTo>
                  <a:pt x="3657" y="878"/>
                </a:lnTo>
                <a:lnTo>
                  <a:pt x="3657" y="878"/>
                </a:lnTo>
                <a:lnTo>
                  <a:pt x="3635" y="882"/>
                </a:lnTo>
                <a:lnTo>
                  <a:pt x="3603" y="886"/>
                </a:lnTo>
                <a:lnTo>
                  <a:pt x="3603" y="886"/>
                </a:lnTo>
                <a:lnTo>
                  <a:pt x="3581" y="888"/>
                </a:lnTo>
                <a:lnTo>
                  <a:pt x="3585" y="888"/>
                </a:lnTo>
                <a:lnTo>
                  <a:pt x="3591" y="886"/>
                </a:lnTo>
                <a:lnTo>
                  <a:pt x="3575" y="886"/>
                </a:lnTo>
                <a:lnTo>
                  <a:pt x="3571" y="888"/>
                </a:lnTo>
                <a:lnTo>
                  <a:pt x="3571" y="888"/>
                </a:lnTo>
                <a:lnTo>
                  <a:pt x="3540" y="892"/>
                </a:lnTo>
                <a:lnTo>
                  <a:pt x="3510" y="894"/>
                </a:lnTo>
                <a:lnTo>
                  <a:pt x="3510" y="894"/>
                </a:lnTo>
                <a:lnTo>
                  <a:pt x="3504" y="894"/>
                </a:lnTo>
                <a:lnTo>
                  <a:pt x="3508" y="894"/>
                </a:lnTo>
                <a:lnTo>
                  <a:pt x="3520" y="892"/>
                </a:lnTo>
                <a:lnTo>
                  <a:pt x="3520" y="892"/>
                </a:lnTo>
                <a:lnTo>
                  <a:pt x="3466" y="898"/>
                </a:lnTo>
                <a:lnTo>
                  <a:pt x="3418" y="902"/>
                </a:lnTo>
                <a:lnTo>
                  <a:pt x="3418" y="902"/>
                </a:lnTo>
                <a:lnTo>
                  <a:pt x="3510" y="894"/>
                </a:lnTo>
                <a:lnTo>
                  <a:pt x="3579" y="890"/>
                </a:lnTo>
                <a:lnTo>
                  <a:pt x="3687" y="878"/>
                </a:lnTo>
                <a:lnTo>
                  <a:pt x="3687" y="878"/>
                </a:lnTo>
                <a:lnTo>
                  <a:pt x="3671" y="878"/>
                </a:lnTo>
                <a:lnTo>
                  <a:pt x="3667" y="878"/>
                </a:lnTo>
                <a:lnTo>
                  <a:pt x="3679" y="876"/>
                </a:lnTo>
                <a:lnTo>
                  <a:pt x="3679" y="876"/>
                </a:lnTo>
                <a:lnTo>
                  <a:pt x="3711" y="876"/>
                </a:lnTo>
                <a:lnTo>
                  <a:pt x="3765" y="870"/>
                </a:lnTo>
                <a:lnTo>
                  <a:pt x="3765" y="870"/>
                </a:lnTo>
                <a:lnTo>
                  <a:pt x="3763" y="870"/>
                </a:lnTo>
                <a:lnTo>
                  <a:pt x="3769" y="870"/>
                </a:lnTo>
                <a:lnTo>
                  <a:pt x="3791" y="866"/>
                </a:lnTo>
                <a:lnTo>
                  <a:pt x="3811" y="864"/>
                </a:lnTo>
                <a:lnTo>
                  <a:pt x="3815" y="864"/>
                </a:lnTo>
                <a:lnTo>
                  <a:pt x="3811" y="864"/>
                </a:lnTo>
                <a:lnTo>
                  <a:pt x="3811" y="864"/>
                </a:lnTo>
                <a:lnTo>
                  <a:pt x="3789" y="866"/>
                </a:lnTo>
                <a:lnTo>
                  <a:pt x="3779" y="866"/>
                </a:lnTo>
                <a:lnTo>
                  <a:pt x="3779" y="866"/>
                </a:lnTo>
                <a:lnTo>
                  <a:pt x="3797" y="864"/>
                </a:lnTo>
                <a:lnTo>
                  <a:pt x="3799" y="862"/>
                </a:lnTo>
                <a:lnTo>
                  <a:pt x="3799" y="862"/>
                </a:lnTo>
                <a:lnTo>
                  <a:pt x="3807" y="862"/>
                </a:lnTo>
                <a:lnTo>
                  <a:pt x="3807" y="862"/>
                </a:lnTo>
                <a:lnTo>
                  <a:pt x="3841" y="858"/>
                </a:lnTo>
                <a:lnTo>
                  <a:pt x="3875" y="856"/>
                </a:lnTo>
                <a:lnTo>
                  <a:pt x="3875" y="856"/>
                </a:lnTo>
                <a:lnTo>
                  <a:pt x="3783" y="870"/>
                </a:lnTo>
                <a:lnTo>
                  <a:pt x="3783" y="870"/>
                </a:lnTo>
                <a:lnTo>
                  <a:pt x="3839" y="864"/>
                </a:lnTo>
                <a:lnTo>
                  <a:pt x="3839" y="864"/>
                </a:lnTo>
                <a:lnTo>
                  <a:pt x="3831" y="864"/>
                </a:lnTo>
                <a:lnTo>
                  <a:pt x="3835" y="864"/>
                </a:lnTo>
                <a:lnTo>
                  <a:pt x="3841" y="862"/>
                </a:lnTo>
                <a:lnTo>
                  <a:pt x="3837" y="862"/>
                </a:lnTo>
                <a:lnTo>
                  <a:pt x="3837" y="862"/>
                </a:lnTo>
                <a:lnTo>
                  <a:pt x="4034" y="840"/>
                </a:lnTo>
                <a:lnTo>
                  <a:pt x="4034" y="840"/>
                </a:lnTo>
                <a:lnTo>
                  <a:pt x="4010" y="844"/>
                </a:lnTo>
                <a:lnTo>
                  <a:pt x="3971" y="850"/>
                </a:lnTo>
                <a:lnTo>
                  <a:pt x="3941" y="854"/>
                </a:lnTo>
                <a:lnTo>
                  <a:pt x="3933" y="854"/>
                </a:lnTo>
                <a:lnTo>
                  <a:pt x="3937" y="856"/>
                </a:lnTo>
                <a:lnTo>
                  <a:pt x="3937" y="856"/>
                </a:lnTo>
                <a:lnTo>
                  <a:pt x="3969" y="852"/>
                </a:lnTo>
                <a:lnTo>
                  <a:pt x="4000" y="848"/>
                </a:lnTo>
                <a:lnTo>
                  <a:pt x="4000" y="848"/>
                </a:lnTo>
                <a:lnTo>
                  <a:pt x="4054" y="844"/>
                </a:lnTo>
                <a:lnTo>
                  <a:pt x="4128" y="836"/>
                </a:lnTo>
                <a:lnTo>
                  <a:pt x="4108" y="836"/>
                </a:lnTo>
                <a:lnTo>
                  <a:pt x="4108" y="836"/>
                </a:lnTo>
                <a:lnTo>
                  <a:pt x="4180" y="830"/>
                </a:lnTo>
                <a:lnTo>
                  <a:pt x="4174" y="830"/>
                </a:lnTo>
                <a:lnTo>
                  <a:pt x="4194" y="828"/>
                </a:lnTo>
                <a:lnTo>
                  <a:pt x="4194" y="828"/>
                </a:lnTo>
                <a:lnTo>
                  <a:pt x="4198" y="828"/>
                </a:lnTo>
                <a:lnTo>
                  <a:pt x="4198" y="828"/>
                </a:lnTo>
                <a:lnTo>
                  <a:pt x="4322" y="814"/>
                </a:lnTo>
                <a:lnTo>
                  <a:pt x="4322" y="814"/>
                </a:lnTo>
                <a:lnTo>
                  <a:pt x="4298" y="816"/>
                </a:lnTo>
                <a:lnTo>
                  <a:pt x="4258" y="822"/>
                </a:lnTo>
                <a:lnTo>
                  <a:pt x="4258" y="822"/>
                </a:lnTo>
                <a:lnTo>
                  <a:pt x="4236" y="822"/>
                </a:lnTo>
                <a:lnTo>
                  <a:pt x="4226" y="822"/>
                </a:lnTo>
                <a:lnTo>
                  <a:pt x="4232" y="822"/>
                </a:lnTo>
                <a:lnTo>
                  <a:pt x="4232" y="822"/>
                </a:lnTo>
                <a:lnTo>
                  <a:pt x="4384" y="804"/>
                </a:lnTo>
                <a:lnTo>
                  <a:pt x="4364" y="806"/>
                </a:lnTo>
                <a:lnTo>
                  <a:pt x="4364" y="806"/>
                </a:lnTo>
                <a:lnTo>
                  <a:pt x="4439" y="798"/>
                </a:lnTo>
                <a:lnTo>
                  <a:pt x="4439" y="798"/>
                </a:lnTo>
                <a:lnTo>
                  <a:pt x="4457" y="796"/>
                </a:lnTo>
                <a:lnTo>
                  <a:pt x="4445" y="798"/>
                </a:lnTo>
                <a:lnTo>
                  <a:pt x="4429" y="802"/>
                </a:lnTo>
                <a:lnTo>
                  <a:pt x="4433" y="802"/>
                </a:lnTo>
                <a:lnTo>
                  <a:pt x="4433" y="802"/>
                </a:lnTo>
                <a:lnTo>
                  <a:pt x="4396" y="806"/>
                </a:lnTo>
                <a:lnTo>
                  <a:pt x="4370" y="810"/>
                </a:lnTo>
                <a:lnTo>
                  <a:pt x="4404" y="808"/>
                </a:lnTo>
                <a:lnTo>
                  <a:pt x="4404" y="808"/>
                </a:lnTo>
                <a:lnTo>
                  <a:pt x="4447" y="804"/>
                </a:lnTo>
                <a:lnTo>
                  <a:pt x="4483" y="800"/>
                </a:lnTo>
                <a:lnTo>
                  <a:pt x="4461" y="802"/>
                </a:lnTo>
                <a:lnTo>
                  <a:pt x="4461" y="802"/>
                </a:lnTo>
                <a:lnTo>
                  <a:pt x="4477" y="798"/>
                </a:lnTo>
                <a:lnTo>
                  <a:pt x="4495" y="798"/>
                </a:lnTo>
                <a:lnTo>
                  <a:pt x="4481" y="796"/>
                </a:lnTo>
                <a:lnTo>
                  <a:pt x="4481" y="796"/>
                </a:lnTo>
                <a:lnTo>
                  <a:pt x="4441" y="802"/>
                </a:lnTo>
                <a:lnTo>
                  <a:pt x="4406" y="804"/>
                </a:lnTo>
                <a:lnTo>
                  <a:pt x="4406" y="804"/>
                </a:lnTo>
                <a:lnTo>
                  <a:pt x="4457" y="798"/>
                </a:lnTo>
                <a:lnTo>
                  <a:pt x="4513" y="792"/>
                </a:lnTo>
                <a:lnTo>
                  <a:pt x="4513" y="792"/>
                </a:lnTo>
                <a:lnTo>
                  <a:pt x="4507" y="792"/>
                </a:lnTo>
                <a:lnTo>
                  <a:pt x="4495" y="794"/>
                </a:lnTo>
                <a:lnTo>
                  <a:pt x="4495" y="794"/>
                </a:lnTo>
                <a:lnTo>
                  <a:pt x="4529" y="790"/>
                </a:lnTo>
                <a:lnTo>
                  <a:pt x="4575" y="784"/>
                </a:lnTo>
                <a:lnTo>
                  <a:pt x="4575" y="784"/>
                </a:lnTo>
                <a:lnTo>
                  <a:pt x="4545" y="790"/>
                </a:lnTo>
                <a:lnTo>
                  <a:pt x="4539" y="790"/>
                </a:lnTo>
                <a:lnTo>
                  <a:pt x="4549" y="790"/>
                </a:lnTo>
                <a:lnTo>
                  <a:pt x="4567" y="786"/>
                </a:lnTo>
                <a:lnTo>
                  <a:pt x="4567" y="786"/>
                </a:lnTo>
                <a:lnTo>
                  <a:pt x="4585" y="786"/>
                </a:lnTo>
                <a:lnTo>
                  <a:pt x="4585" y="786"/>
                </a:lnTo>
                <a:lnTo>
                  <a:pt x="4595" y="784"/>
                </a:lnTo>
                <a:lnTo>
                  <a:pt x="4595" y="784"/>
                </a:lnTo>
                <a:lnTo>
                  <a:pt x="4617" y="780"/>
                </a:lnTo>
                <a:lnTo>
                  <a:pt x="4617" y="780"/>
                </a:lnTo>
                <a:lnTo>
                  <a:pt x="4629" y="780"/>
                </a:lnTo>
                <a:lnTo>
                  <a:pt x="4629" y="780"/>
                </a:lnTo>
                <a:lnTo>
                  <a:pt x="4661" y="776"/>
                </a:lnTo>
                <a:lnTo>
                  <a:pt x="4689" y="772"/>
                </a:lnTo>
                <a:lnTo>
                  <a:pt x="4689" y="772"/>
                </a:lnTo>
                <a:lnTo>
                  <a:pt x="4669" y="774"/>
                </a:lnTo>
                <a:lnTo>
                  <a:pt x="4661" y="774"/>
                </a:lnTo>
                <a:lnTo>
                  <a:pt x="4669" y="772"/>
                </a:lnTo>
                <a:lnTo>
                  <a:pt x="4689" y="770"/>
                </a:lnTo>
                <a:lnTo>
                  <a:pt x="4689" y="770"/>
                </a:lnTo>
                <a:lnTo>
                  <a:pt x="4757" y="762"/>
                </a:lnTo>
                <a:lnTo>
                  <a:pt x="4813" y="756"/>
                </a:lnTo>
                <a:lnTo>
                  <a:pt x="4838" y="752"/>
                </a:lnTo>
                <a:lnTo>
                  <a:pt x="4838" y="752"/>
                </a:lnTo>
                <a:lnTo>
                  <a:pt x="4836" y="754"/>
                </a:lnTo>
                <a:lnTo>
                  <a:pt x="4838" y="754"/>
                </a:lnTo>
                <a:lnTo>
                  <a:pt x="4852" y="752"/>
                </a:lnTo>
                <a:lnTo>
                  <a:pt x="4888" y="748"/>
                </a:lnTo>
                <a:lnTo>
                  <a:pt x="4888" y="748"/>
                </a:lnTo>
                <a:lnTo>
                  <a:pt x="4878" y="750"/>
                </a:lnTo>
                <a:lnTo>
                  <a:pt x="4850" y="752"/>
                </a:lnTo>
                <a:lnTo>
                  <a:pt x="4821" y="756"/>
                </a:lnTo>
                <a:lnTo>
                  <a:pt x="4809" y="760"/>
                </a:lnTo>
                <a:lnTo>
                  <a:pt x="4809" y="760"/>
                </a:lnTo>
                <a:lnTo>
                  <a:pt x="4829" y="758"/>
                </a:lnTo>
                <a:lnTo>
                  <a:pt x="4817" y="760"/>
                </a:lnTo>
                <a:lnTo>
                  <a:pt x="4817" y="760"/>
                </a:lnTo>
                <a:lnTo>
                  <a:pt x="4836" y="758"/>
                </a:lnTo>
                <a:lnTo>
                  <a:pt x="4840" y="756"/>
                </a:lnTo>
                <a:lnTo>
                  <a:pt x="4842" y="756"/>
                </a:lnTo>
                <a:lnTo>
                  <a:pt x="4848" y="754"/>
                </a:lnTo>
                <a:lnTo>
                  <a:pt x="4848" y="754"/>
                </a:lnTo>
                <a:lnTo>
                  <a:pt x="4878" y="750"/>
                </a:lnTo>
                <a:lnTo>
                  <a:pt x="4892" y="750"/>
                </a:lnTo>
                <a:lnTo>
                  <a:pt x="4894" y="750"/>
                </a:lnTo>
                <a:lnTo>
                  <a:pt x="4890" y="750"/>
                </a:lnTo>
                <a:lnTo>
                  <a:pt x="4890" y="750"/>
                </a:lnTo>
                <a:lnTo>
                  <a:pt x="4924" y="746"/>
                </a:lnTo>
                <a:lnTo>
                  <a:pt x="4950" y="742"/>
                </a:lnTo>
                <a:lnTo>
                  <a:pt x="4950" y="742"/>
                </a:lnTo>
                <a:lnTo>
                  <a:pt x="4946" y="744"/>
                </a:lnTo>
                <a:lnTo>
                  <a:pt x="4944" y="744"/>
                </a:lnTo>
                <a:lnTo>
                  <a:pt x="4946" y="746"/>
                </a:lnTo>
                <a:lnTo>
                  <a:pt x="4946" y="746"/>
                </a:lnTo>
                <a:lnTo>
                  <a:pt x="4984" y="740"/>
                </a:lnTo>
                <a:lnTo>
                  <a:pt x="4984" y="740"/>
                </a:lnTo>
                <a:lnTo>
                  <a:pt x="4982" y="740"/>
                </a:lnTo>
                <a:lnTo>
                  <a:pt x="4984" y="740"/>
                </a:lnTo>
                <a:lnTo>
                  <a:pt x="4968" y="742"/>
                </a:lnTo>
                <a:lnTo>
                  <a:pt x="4968" y="742"/>
                </a:lnTo>
                <a:lnTo>
                  <a:pt x="5002" y="736"/>
                </a:lnTo>
                <a:lnTo>
                  <a:pt x="5030" y="732"/>
                </a:lnTo>
                <a:lnTo>
                  <a:pt x="5030" y="732"/>
                </a:lnTo>
                <a:lnTo>
                  <a:pt x="5066" y="730"/>
                </a:lnTo>
                <a:lnTo>
                  <a:pt x="5120" y="724"/>
                </a:lnTo>
                <a:lnTo>
                  <a:pt x="5120" y="724"/>
                </a:lnTo>
                <a:lnTo>
                  <a:pt x="5110" y="722"/>
                </a:lnTo>
                <a:lnTo>
                  <a:pt x="5090" y="726"/>
                </a:lnTo>
                <a:lnTo>
                  <a:pt x="5070" y="728"/>
                </a:lnTo>
                <a:lnTo>
                  <a:pt x="5056" y="730"/>
                </a:lnTo>
                <a:lnTo>
                  <a:pt x="5056" y="730"/>
                </a:lnTo>
                <a:lnTo>
                  <a:pt x="5142" y="718"/>
                </a:lnTo>
                <a:lnTo>
                  <a:pt x="5248" y="704"/>
                </a:lnTo>
                <a:lnTo>
                  <a:pt x="5248" y="704"/>
                </a:lnTo>
                <a:lnTo>
                  <a:pt x="5271" y="702"/>
                </a:lnTo>
                <a:lnTo>
                  <a:pt x="5273" y="702"/>
                </a:lnTo>
                <a:lnTo>
                  <a:pt x="5269" y="702"/>
                </a:lnTo>
                <a:lnTo>
                  <a:pt x="5261" y="704"/>
                </a:lnTo>
                <a:lnTo>
                  <a:pt x="5259" y="704"/>
                </a:lnTo>
                <a:lnTo>
                  <a:pt x="5259" y="704"/>
                </a:lnTo>
                <a:lnTo>
                  <a:pt x="5259" y="704"/>
                </a:lnTo>
                <a:lnTo>
                  <a:pt x="5154" y="718"/>
                </a:lnTo>
                <a:lnTo>
                  <a:pt x="5154" y="718"/>
                </a:lnTo>
                <a:lnTo>
                  <a:pt x="5238" y="708"/>
                </a:lnTo>
                <a:lnTo>
                  <a:pt x="5313" y="698"/>
                </a:lnTo>
                <a:lnTo>
                  <a:pt x="5313" y="698"/>
                </a:lnTo>
                <a:lnTo>
                  <a:pt x="5345" y="694"/>
                </a:lnTo>
                <a:lnTo>
                  <a:pt x="5369" y="692"/>
                </a:lnTo>
                <a:lnTo>
                  <a:pt x="5395" y="690"/>
                </a:lnTo>
                <a:lnTo>
                  <a:pt x="5433" y="684"/>
                </a:lnTo>
                <a:lnTo>
                  <a:pt x="5433" y="684"/>
                </a:lnTo>
                <a:lnTo>
                  <a:pt x="5423" y="684"/>
                </a:lnTo>
                <a:lnTo>
                  <a:pt x="5407" y="686"/>
                </a:lnTo>
                <a:lnTo>
                  <a:pt x="5407" y="686"/>
                </a:lnTo>
                <a:lnTo>
                  <a:pt x="5459" y="678"/>
                </a:lnTo>
                <a:lnTo>
                  <a:pt x="5459" y="678"/>
                </a:lnTo>
                <a:lnTo>
                  <a:pt x="5461" y="678"/>
                </a:lnTo>
                <a:lnTo>
                  <a:pt x="5461" y="678"/>
                </a:lnTo>
                <a:lnTo>
                  <a:pt x="5453" y="678"/>
                </a:lnTo>
                <a:lnTo>
                  <a:pt x="5449" y="680"/>
                </a:lnTo>
                <a:lnTo>
                  <a:pt x="5457" y="678"/>
                </a:lnTo>
                <a:lnTo>
                  <a:pt x="5457" y="678"/>
                </a:lnTo>
                <a:lnTo>
                  <a:pt x="5475" y="676"/>
                </a:lnTo>
                <a:lnTo>
                  <a:pt x="5483" y="676"/>
                </a:lnTo>
                <a:lnTo>
                  <a:pt x="5479" y="676"/>
                </a:lnTo>
                <a:lnTo>
                  <a:pt x="5479" y="676"/>
                </a:lnTo>
                <a:lnTo>
                  <a:pt x="5511" y="672"/>
                </a:lnTo>
                <a:lnTo>
                  <a:pt x="5529" y="670"/>
                </a:lnTo>
                <a:lnTo>
                  <a:pt x="5545" y="668"/>
                </a:lnTo>
                <a:lnTo>
                  <a:pt x="5573" y="664"/>
                </a:lnTo>
                <a:lnTo>
                  <a:pt x="5573" y="664"/>
                </a:lnTo>
                <a:lnTo>
                  <a:pt x="5545" y="668"/>
                </a:lnTo>
                <a:lnTo>
                  <a:pt x="5545" y="668"/>
                </a:lnTo>
                <a:lnTo>
                  <a:pt x="5543" y="668"/>
                </a:lnTo>
                <a:lnTo>
                  <a:pt x="5545" y="666"/>
                </a:lnTo>
                <a:lnTo>
                  <a:pt x="5555" y="664"/>
                </a:lnTo>
                <a:lnTo>
                  <a:pt x="5591" y="658"/>
                </a:lnTo>
                <a:lnTo>
                  <a:pt x="5591" y="658"/>
                </a:lnTo>
                <a:lnTo>
                  <a:pt x="5601" y="658"/>
                </a:lnTo>
                <a:lnTo>
                  <a:pt x="5627" y="654"/>
                </a:lnTo>
                <a:lnTo>
                  <a:pt x="5627" y="654"/>
                </a:lnTo>
                <a:lnTo>
                  <a:pt x="5629" y="654"/>
                </a:lnTo>
                <a:lnTo>
                  <a:pt x="5625" y="654"/>
                </a:lnTo>
                <a:lnTo>
                  <a:pt x="5611" y="656"/>
                </a:lnTo>
                <a:lnTo>
                  <a:pt x="5579" y="662"/>
                </a:lnTo>
                <a:lnTo>
                  <a:pt x="5623" y="656"/>
                </a:lnTo>
                <a:lnTo>
                  <a:pt x="5615" y="656"/>
                </a:lnTo>
                <a:lnTo>
                  <a:pt x="5663" y="648"/>
                </a:lnTo>
                <a:lnTo>
                  <a:pt x="5663" y="648"/>
                </a:lnTo>
                <a:lnTo>
                  <a:pt x="5647" y="650"/>
                </a:lnTo>
                <a:lnTo>
                  <a:pt x="5645" y="650"/>
                </a:lnTo>
                <a:lnTo>
                  <a:pt x="5663" y="648"/>
                </a:lnTo>
                <a:lnTo>
                  <a:pt x="5663" y="648"/>
                </a:lnTo>
                <a:lnTo>
                  <a:pt x="5710" y="640"/>
                </a:lnTo>
                <a:lnTo>
                  <a:pt x="5724" y="640"/>
                </a:lnTo>
                <a:lnTo>
                  <a:pt x="5728" y="640"/>
                </a:lnTo>
                <a:lnTo>
                  <a:pt x="5728" y="640"/>
                </a:lnTo>
                <a:lnTo>
                  <a:pt x="5756" y="634"/>
                </a:lnTo>
                <a:lnTo>
                  <a:pt x="5804" y="626"/>
                </a:lnTo>
                <a:lnTo>
                  <a:pt x="5804" y="626"/>
                </a:lnTo>
                <a:lnTo>
                  <a:pt x="5790" y="628"/>
                </a:lnTo>
                <a:lnTo>
                  <a:pt x="5792" y="628"/>
                </a:lnTo>
                <a:lnTo>
                  <a:pt x="5810" y="624"/>
                </a:lnTo>
                <a:lnTo>
                  <a:pt x="5860" y="618"/>
                </a:lnTo>
                <a:lnTo>
                  <a:pt x="5860" y="618"/>
                </a:lnTo>
                <a:lnTo>
                  <a:pt x="5840" y="622"/>
                </a:lnTo>
                <a:lnTo>
                  <a:pt x="5844" y="622"/>
                </a:lnTo>
                <a:lnTo>
                  <a:pt x="5856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26" y="626"/>
                </a:lnTo>
                <a:lnTo>
                  <a:pt x="5784" y="632"/>
                </a:lnTo>
                <a:lnTo>
                  <a:pt x="5784" y="632"/>
                </a:lnTo>
                <a:lnTo>
                  <a:pt x="5820" y="628"/>
                </a:lnTo>
                <a:lnTo>
                  <a:pt x="5848" y="624"/>
                </a:lnTo>
                <a:lnTo>
                  <a:pt x="5876" y="618"/>
                </a:lnTo>
                <a:lnTo>
                  <a:pt x="5908" y="613"/>
                </a:lnTo>
                <a:lnTo>
                  <a:pt x="5908" y="613"/>
                </a:lnTo>
                <a:lnTo>
                  <a:pt x="5902" y="615"/>
                </a:lnTo>
                <a:lnTo>
                  <a:pt x="5882" y="620"/>
                </a:lnTo>
                <a:lnTo>
                  <a:pt x="5882" y="620"/>
                </a:lnTo>
                <a:lnTo>
                  <a:pt x="5912" y="613"/>
                </a:lnTo>
                <a:lnTo>
                  <a:pt x="5958" y="607"/>
                </a:lnTo>
                <a:lnTo>
                  <a:pt x="5958" y="607"/>
                </a:lnTo>
                <a:lnTo>
                  <a:pt x="5944" y="607"/>
                </a:lnTo>
                <a:lnTo>
                  <a:pt x="5946" y="607"/>
                </a:lnTo>
                <a:lnTo>
                  <a:pt x="5962" y="603"/>
                </a:lnTo>
                <a:lnTo>
                  <a:pt x="6004" y="599"/>
                </a:lnTo>
                <a:lnTo>
                  <a:pt x="6004" y="599"/>
                </a:lnTo>
                <a:lnTo>
                  <a:pt x="6028" y="595"/>
                </a:lnTo>
                <a:lnTo>
                  <a:pt x="6034" y="593"/>
                </a:lnTo>
                <a:lnTo>
                  <a:pt x="6040" y="591"/>
                </a:lnTo>
                <a:lnTo>
                  <a:pt x="6060" y="587"/>
                </a:lnTo>
                <a:lnTo>
                  <a:pt x="6034" y="591"/>
                </a:lnTo>
                <a:lnTo>
                  <a:pt x="6034" y="591"/>
                </a:lnTo>
                <a:lnTo>
                  <a:pt x="6062" y="585"/>
                </a:lnTo>
                <a:lnTo>
                  <a:pt x="6080" y="581"/>
                </a:lnTo>
                <a:lnTo>
                  <a:pt x="6088" y="579"/>
                </a:lnTo>
                <a:lnTo>
                  <a:pt x="6088" y="579"/>
                </a:lnTo>
                <a:lnTo>
                  <a:pt x="6024" y="591"/>
                </a:lnTo>
                <a:lnTo>
                  <a:pt x="6024" y="591"/>
                </a:lnTo>
                <a:lnTo>
                  <a:pt x="6022" y="591"/>
                </a:lnTo>
                <a:lnTo>
                  <a:pt x="6024" y="589"/>
                </a:lnTo>
                <a:lnTo>
                  <a:pt x="6038" y="587"/>
                </a:lnTo>
                <a:lnTo>
                  <a:pt x="6072" y="581"/>
                </a:lnTo>
                <a:lnTo>
                  <a:pt x="6072" y="581"/>
                </a:lnTo>
                <a:lnTo>
                  <a:pt x="6155" y="571"/>
                </a:lnTo>
                <a:lnTo>
                  <a:pt x="6155" y="571"/>
                </a:lnTo>
                <a:lnTo>
                  <a:pt x="6145" y="573"/>
                </a:lnTo>
                <a:lnTo>
                  <a:pt x="6125" y="579"/>
                </a:lnTo>
                <a:lnTo>
                  <a:pt x="6103" y="583"/>
                </a:lnTo>
                <a:lnTo>
                  <a:pt x="6099" y="585"/>
                </a:lnTo>
                <a:lnTo>
                  <a:pt x="6097" y="585"/>
                </a:lnTo>
                <a:lnTo>
                  <a:pt x="6099" y="585"/>
                </a:lnTo>
                <a:lnTo>
                  <a:pt x="6099" y="585"/>
                </a:lnTo>
                <a:lnTo>
                  <a:pt x="6187" y="571"/>
                </a:lnTo>
                <a:lnTo>
                  <a:pt x="6261" y="559"/>
                </a:lnTo>
                <a:lnTo>
                  <a:pt x="6261" y="559"/>
                </a:lnTo>
                <a:lnTo>
                  <a:pt x="6299" y="551"/>
                </a:lnTo>
                <a:lnTo>
                  <a:pt x="6301" y="551"/>
                </a:lnTo>
                <a:lnTo>
                  <a:pt x="6299" y="549"/>
                </a:lnTo>
                <a:lnTo>
                  <a:pt x="6295" y="549"/>
                </a:lnTo>
                <a:lnTo>
                  <a:pt x="6295" y="549"/>
                </a:lnTo>
                <a:lnTo>
                  <a:pt x="6337" y="543"/>
                </a:lnTo>
                <a:lnTo>
                  <a:pt x="6315" y="547"/>
                </a:lnTo>
                <a:lnTo>
                  <a:pt x="6315" y="547"/>
                </a:lnTo>
                <a:lnTo>
                  <a:pt x="6465" y="519"/>
                </a:lnTo>
                <a:lnTo>
                  <a:pt x="6465" y="519"/>
                </a:lnTo>
                <a:lnTo>
                  <a:pt x="6487" y="515"/>
                </a:lnTo>
                <a:lnTo>
                  <a:pt x="6477" y="515"/>
                </a:lnTo>
                <a:lnTo>
                  <a:pt x="6516" y="507"/>
                </a:lnTo>
                <a:lnTo>
                  <a:pt x="6509" y="509"/>
                </a:lnTo>
                <a:lnTo>
                  <a:pt x="6509" y="509"/>
                </a:lnTo>
                <a:lnTo>
                  <a:pt x="6536" y="503"/>
                </a:lnTo>
                <a:lnTo>
                  <a:pt x="6576" y="495"/>
                </a:lnTo>
                <a:lnTo>
                  <a:pt x="6576" y="495"/>
                </a:lnTo>
                <a:lnTo>
                  <a:pt x="6562" y="499"/>
                </a:lnTo>
                <a:lnTo>
                  <a:pt x="6562" y="499"/>
                </a:lnTo>
                <a:lnTo>
                  <a:pt x="6634" y="487"/>
                </a:lnTo>
                <a:lnTo>
                  <a:pt x="6634" y="487"/>
                </a:lnTo>
                <a:lnTo>
                  <a:pt x="6624" y="489"/>
                </a:lnTo>
                <a:lnTo>
                  <a:pt x="6594" y="495"/>
                </a:lnTo>
                <a:lnTo>
                  <a:pt x="6594" y="495"/>
                </a:lnTo>
                <a:lnTo>
                  <a:pt x="6590" y="495"/>
                </a:lnTo>
                <a:lnTo>
                  <a:pt x="6546" y="505"/>
                </a:lnTo>
                <a:lnTo>
                  <a:pt x="6546" y="505"/>
                </a:lnTo>
                <a:lnTo>
                  <a:pt x="6606" y="493"/>
                </a:lnTo>
                <a:lnTo>
                  <a:pt x="6622" y="491"/>
                </a:lnTo>
                <a:lnTo>
                  <a:pt x="6626" y="493"/>
                </a:lnTo>
                <a:lnTo>
                  <a:pt x="6626" y="493"/>
                </a:lnTo>
                <a:lnTo>
                  <a:pt x="6642" y="489"/>
                </a:lnTo>
                <a:lnTo>
                  <a:pt x="6632" y="489"/>
                </a:lnTo>
                <a:lnTo>
                  <a:pt x="6624" y="491"/>
                </a:lnTo>
                <a:lnTo>
                  <a:pt x="6644" y="487"/>
                </a:lnTo>
                <a:lnTo>
                  <a:pt x="6644" y="487"/>
                </a:lnTo>
                <a:lnTo>
                  <a:pt x="6702" y="477"/>
                </a:lnTo>
                <a:lnTo>
                  <a:pt x="6756" y="467"/>
                </a:lnTo>
                <a:lnTo>
                  <a:pt x="6802" y="459"/>
                </a:lnTo>
                <a:lnTo>
                  <a:pt x="6840" y="453"/>
                </a:lnTo>
                <a:lnTo>
                  <a:pt x="6840" y="453"/>
                </a:lnTo>
                <a:lnTo>
                  <a:pt x="6979" y="423"/>
                </a:lnTo>
                <a:lnTo>
                  <a:pt x="6979" y="423"/>
                </a:lnTo>
                <a:lnTo>
                  <a:pt x="6997" y="419"/>
                </a:lnTo>
                <a:lnTo>
                  <a:pt x="7007" y="415"/>
                </a:lnTo>
                <a:lnTo>
                  <a:pt x="7011" y="415"/>
                </a:lnTo>
                <a:lnTo>
                  <a:pt x="7011" y="415"/>
                </a:lnTo>
                <a:lnTo>
                  <a:pt x="7011" y="415"/>
                </a:lnTo>
                <a:lnTo>
                  <a:pt x="6971" y="421"/>
                </a:lnTo>
                <a:lnTo>
                  <a:pt x="6933" y="431"/>
                </a:lnTo>
                <a:lnTo>
                  <a:pt x="6896" y="437"/>
                </a:lnTo>
                <a:lnTo>
                  <a:pt x="6864" y="443"/>
                </a:lnTo>
                <a:lnTo>
                  <a:pt x="6864" y="443"/>
                </a:lnTo>
                <a:lnTo>
                  <a:pt x="6844" y="449"/>
                </a:lnTo>
                <a:lnTo>
                  <a:pt x="6836" y="451"/>
                </a:lnTo>
                <a:lnTo>
                  <a:pt x="6836" y="451"/>
                </a:lnTo>
                <a:lnTo>
                  <a:pt x="6792" y="459"/>
                </a:lnTo>
                <a:lnTo>
                  <a:pt x="6792" y="459"/>
                </a:lnTo>
                <a:lnTo>
                  <a:pt x="6816" y="453"/>
                </a:lnTo>
                <a:lnTo>
                  <a:pt x="6824" y="451"/>
                </a:lnTo>
                <a:lnTo>
                  <a:pt x="6836" y="447"/>
                </a:lnTo>
                <a:lnTo>
                  <a:pt x="6868" y="441"/>
                </a:lnTo>
                <a:lnTo>
                  <a:pt x="6868" y="441"/>
                </a:lnTo>
                <a:lnTo>
                  <a:pt x="6832" y="447"/>
                </a:lnTo>
                <a:lnTo>
                  <a:pt x="6784" y="457"/>
                </a:lnTo>
                <a:lnTo>
                  <a:pt x="6784" y="457"/>
                </a:lnTo>
                <a:lnTo>
                  <a:pt x="6788" y="455"/>
                </a:lnTo>
                <a:lnTo>
                  <a:pt x="6786" y="455"/>
                </a:lnTo>
                <a:lnTo>
                  <a:pt x="6770" y="457"/>
                </a:lnTo>
                <a:lnTo>
                  <a:pt x="6770" y="457"/>
                </a:lnTo>
                <a:lnTo>
                  <a:pt x="6840" y="441"/>
                </a:lnTo>
                <a:lnTo>
                  <a:pt x="6840" y="441"/>
                </a:lnTo>
                <a:lnTo>
                  <a:pt x="6838" y="441"/>
                </a:lnTo>
                <a:lnTo>
                  <a:pt x="6840" y="441"/>
                </a:lnTo>
                <a:lnTo>
                  <a:pt x="6842" y="441"/>
                </a:lnTo>
                <a:lnTo>
                  <a:pt x="6842" y="441"/>
                </a:lnTo>
                <a:lnTo>
                  <a:pt x="6908" y="427"/>
                </a:lnTo>
                <a:lnTo>
                  <a:pt x="6908" y="427"/>
                </a:lnTo>
                <a:lnTo>
                  <a:pt x="6928" y="423"/>
                </a:lnTo>
                <a:lnTo>
                  <a:pt x="6928" y="425"/>
                </a:lnTo>
                <a:lnTo>
                  <a:pt x="6924" y="425"/>
                </a:lnTo>
                <a:lnTo>
                  <a:pt x="6924" y="425"/>
                </a:lnTo>
                <a:lnTo>
                  <a:pt x="6987" y="413"/>
                </a:lnTo>
                <a:lnTo>
                  <a:pt x="7013" y="407"/>
                </a:lnTo>
                <a:lnTo>
                  <a:pt x="7025" y="407"/>
                </a:lnTo>
                <a:lnTo>
                  <a:pt x="7025" y="407"/>
                </a:lnTo>
                <a:lnTo>
                  <a:pt x="7041" y="403"/>
                </a:lnTo>
                <a:lnTo>
                  <a:pt x="7033" y="403"/>
                </a:lnTo>
                <a:lnTo>
                  <a:pt x="7005" y="409"/>
                </a:lnTo>
                <a:lnTo>
                  <a:pt x="7009" y="407"/>
                </a:lnTo>
                <a:lnTo>
                  <a:pt x="6959" y="417"/>
                </a:lnTo>
                <a:lnTo>
                  <a:pt x="6959" y="417"/>
                </a:lnTo>
                <a:lnTo>
                  <a:pt x="6965" y="415"/>
                </a:lnTo>
                <a:lnTo>
                  <a:pt x="6985" y="411"/>
                </a:lnTo>
                <a:lnTo>
                  <a:pt x="7009" y="407"/>
                </a:lnTo>
                <a:lnTo>
                  <a:pt x="7023" y="403"/>
                </a:lnTo>
                <a:lnTo>
                  <a:pt x="7023" y="403"/>
                </a:lnTo>
                <a:lnTo>
                  <a:pt x="7029" y="401"/>
                </a:lnTo>
                <a:lnTo>
                  <a:pt x="7037" y="399"/>
                </a:lnTo>
                <a:lnTo>
                  <a:pt x="7065" y="393"/>
                </a:lnTo>
                <a:lnTo>
                  <a:pt x="7099" y="387"/>
                </a:lnTo>
                <a:lnTo>
                  <a:pt x="7129" y="381"/>
                </a:lnTo>
                <a:lnTo>
                  <a:pt x="7089" y="393"/>
                </a:lnTo>
                <a:lnTo>
                  <a:pt x="7125" y="385"/>
                </a:lnTo>
                <a:lnTo>
                  <a:pt x="7125" y="385"/>
                </a:lnTo>
                <a:lnTo>
                  <a:pt x="7103" y="391"/>
                </a:lnTo>
                <a:lnTo>
                  <a:pt x="7075" y="399"/>
                </a:lnTo>
                <a:lnTo>
                  <a:pt x="7075" y="399"/>
                </a:lnTo>
                <a:lnTo>
                  <a:pt x="7155" y="383"/>
                </a:lnTo>
                <a:lnTo>
                  <a:pt x="7223" y="367"/>
                </a:lnTo>
                <a:lnTo>
                  <a:pt x="7223" y="367"/>
                </a:lnTo>
                <a:lnTo>
                  <a:pt x="7237" y="367"/>
                </a:lnTo>
                <a:lnTo>
                  <a:pt x="7239" y="367"/>
                </a:lnTo>
                <a:lnTo>
                  <a:pt x="7237" y="369"/>
                </a:lnTo>
                <a:lnTo>
                  <a:pt x="7237" y="369"/>
                </a:lnTo>
                <a:lnTo>
                  <a:pt x="7269" y="359"/>
                </a:lnTo>
                <a:lnTo>
                  <a:pt x="7299" y="353"/>
                </a:lnTo>
                <a:lnTo>
                  <a:pt x="7356" y="341"/>
                </a:lnTo>
                <a:lnTo>
                  <a:pt x="7356" y="341"/>
                </a:lnTo>
                <a:lnTo>
                  <a:pt x="7368" y="339"/>
                </a:lnTo>
                <a:lnTo>
                  <a:pt x="7354" y="341"/>
                </a:lnTo>
                <a:lnTo>
                  <a:pt x="7337" y="343"/>
                </a:lnTo>
                <a:lnTo>
                  <a:pt x="7335" y="343"/>
                </a:lnTo>
                <a:lnTo>
                  <a:pt x="7343" y="341"/>
                </a:lnTo>
                <a:lnTo>
                  <a:pt x="7343" y="341"/>
                </a:lnTo>
                <a:lnTo>
                  <a:pt x="7368" y="337"/>
                </a:lnTo>
                <a:lnTo>
                  <a:pt x="7394" y="329"/>
                </a:lnTo>
                <a:lnTo>
                  <a:pt x="7394" y="329"/>
                </a:lnTo>
                <a:lnTo>
                  <a:pt x="7354" y="339"/>
                </a:lnTo>
                <a:lnTo>
                  <a:pt x="7299" y="351"/>
                </a:lnTo>
                <a:lnTo>
                  <a:pt x="7299" y="351"/>
                </a:lnTo>
                <a:lnTo>
                  <a:pt x="7319" y="345"/>
                </a:lnTo>
                <a:lnTo>
                  <a:pt x="7327" y="343"/>
                </a:lnTo>
                <a:lnTo>
                  <a:pt x="7285" y="351"/>
                </a:lnTo>
                <a:lnTo>
                  <a:pt x="7285" y="351"/>
                </a:lnTo>
                <a:lnTo>
                  <a:pt x="7295" y="349"/>
                </a:lnTo>
                <a:lnTo>
                  <a:pt x="7313" y="343"/>
                </a:lnTo>
                <a:lnTo>
                  <a:pt x="7356" y="335"/>
                </a:lnTo>
                <a:lnTo>
                  <a:pt x="7356" y="335"/>
                </a:lnTo>
                <a:lnTo>
                  <a:pt x="7337" y="341"/>
                </a:lnTo>
                <a:lnTo>
                  <a:pt x="7337" y="341"/>
                </a:lnTo>
                <a:lnTo>
                  <a:pt x="7456" y="313"/>
                </a:lnTo>
                <a:lnTo>
                  <a:pt x="7456" y="313"/>
                </a:lnTo>
                <a:lnTo>
                  <a:pt x="7462" y="313"/>
                </a:lnTo>
                <a:lnTo>
                  <a:pt x="7454" y="315"/>
                </a:lnTo>
                <a:lnTo>
                  <a:pt x="7432" y="321"/>
                </a:lnTo>
                <a:lnTo>
                  <a:pt x="7432" y="321"/>
                </a:lnTo>
                <a:lnTo>
                  <a:pt x="7454" y="315"/>
                </a:lnTo>
                <a:lnTo>
                  <a:pt x="7474" y="311"/>
                </a:lnTo>
                <a:lnTo>
                  <a:pt x="7474" y="311"/>
                </a:lnTo>
                <a:lnTo>
                  <a:pt x="7460" y="315"/>
                </a:lnTo>
                <a:lnTo>
                  <a:pt x="7442" y="321"/>
                </a:lnTo>
                <a:lnTo>
                  <a:pt x="7544" y="295"/>
                </a:lnTo>
                <a:lnTo>
                  <a:pt x="7544" y="295"/>
                </a:lnTo>
                <a:lnTo>
                  <a:pt x="7502" y="307"/>
                </a:lnTo>
                <a:lnTo>
                  <a:pt x="7502" y="307"/>
                </a:lnTo>
                <a:lnTo>
                  <a:pt x="7546" y="295"/>
                </a:lnTo>
                <a:lnTo>
                  <a:pt x="7592" y="281"/>
                </a:lnTo>
                <a:lnTo>
                  <a:pt x="7592" y="281"/>
                </a:lnTo>
                <a:lnTo>
                  <a:pt x="7642" y="269"/>
                </a:lnTo>
                <a:lnTo>
                  <a:pt x="7656" y="267"/>
                </a:lnTo>
                <a:lnTo>
                  <a:pt x="7658" y="267"/>
                </a:lnTo>
                <a:lnTo>
                  <a:pt x="7656" y="267"/>
                </a:lnTo>
                <a:lnTo>
                  <a:pt x="7656" y="267"/>
                </a:lnTo>
                <a:lnTo>
                  <a:pt x="7664" y="263"/>
                </a:lnTo>
                <a:lnTo>
                  <a:pt x="7662" y="265"/>
                </a:lnTo>
                <a:lnTo>
                  <a:pt x="7662" y="265"/>
                </a:lnTo>
                <a:lnTo>
                  <a:pt x="7708" y="251"/>
                </a:lnTo>
                <a:lnTo>
                  <a:pt x="7742" y="239"/>
                </a:lnTo>
                <a:lnTo>
                  <a:pt x="7720" y="245"/>
                </a:lnTo>
                <a:lnTo>
                  <a:pt x="7720" y="245"/>
                </a:lnTo>
                <a:lnTo>
                  <a:pt x="7740" y="239"/>
                </a:lnTo>
                <a:lnTo>
                  <a:pt x="7746" y="237"/>
                </a:lnTo>
                <a:lnTo>
                  <a:pt x="7752" y="235"/>
                </a:lnTo>
                <a:lnTo>
                  <a:pt x="7771" y="229"/>
                </a:lnTo>
                <a:lnTo>
                  <a:pt x="7771" y="229"/>
                </a:lnTo>
                <a:lnTo>
                  <a:pt x="7766" y="231"/>
                </a:lnTo>
                <a:lnTo>
                  <a:pt x="7766" y="233"/>
                </a:lnTo>
                <a:lnTo>
                  <a:pt x="7775" y="233"/>
                </a:lnTo>
                <a:lnTo>
                  <a:pt x="7775" y="233"/>
                </a:lnTo>
                <a:lnTo>
                  <a:pt x="7795" y="227"/>
                </a:lnTo>
                <a:lnTo>
                  <a:pt x="7825" y="219"/>
                </a:lnTo>
                <a:lnTo>
                  <a:pt x="7825" y="219"/>
                </a:lnTo>
                <a:lnTo>
                  <a:pt x="7823" y="219"/>
                </a:lnTo>
                <a:lnTo>
                  <a:pt x="7825" y="217"/>
                </a:lnTo>
                <a:lnTo>
                  <a:pt x="7835" y="213"/>
                </a:lnTo>
                <a:lnTo>
                  <a:pt x="7843" y="211"/>
                </a:lnTo>
                <a:lnTo>
                  <a:pt x="7833" y="213"/>
                </a:lnTo>
                <a:lnTo>
                  <a:pt x="7833" y="213"/>
                </a:lnTo>
                <a:lnTo>
                  <a:pt x="7881" y="199"/>
                </a:lnTo>
                <a:lnTo>
                  <a:pt x="7921" y="185"/>
                </a:lnTo>
                <a:lnTo>
                  <a:pt x="7921" y="185"/>
                </a:lnTo>
                <a:lnTo>
                  <a:pt x="7917" y="187"/>
                </a:lnTo>
                <a:lnTo>
                  <a:pt x="7929" y="183"/>
                </a:lnTo>
                <a:lnTo>
                  <a:pt x="7939" y="177"/>
                </a:lnTo>
                <a:lnTo>
                  <a:pt x="7941" y="177"/>
                </a:lnTo>
                <a:lnTo>
                  <a:pt x="7939" y="177"/>
                </a:lnTo>
                <a:lnTo>
                  <a:pt x="7939" y="177"/>
                </a:lnTo>
                <a:lnTo>
                  <a:pt x="7985" y="162"/>
                </a:lnTo>
                <a:lnTo>
                  <a:pt x="7995" y="160"/>
                </a:lnTo>
                <a:lnTo>
                  <a:pt x="7997" y="160"/>
                </a:lnTo>
                <a:lnTo>
                  <a:pt x="7993" y="162"/>
                </a:lnTo>
                <a:lnTo>
                  <a:pt x="7993" y="162"/>
                </a:lnTo>
                <a:lnTo>
                  <a:pt x="7971" y="169"/>
                </a:lnTo>
                <a:lnTo>
                  <a:pt x="7961" y="173"/>
                </a:lnTo>
                <a:lnTo>
                  <a:pt x="7961" y="173"/>
                </a:lnTo>
                <a:lnTo>
                  <a:pt x="8031" y="150"/>
                </a:lnTo>
                <a:lnTo>
                  <a:pt x="8031" y="150"/>
                </a:lnTo>
                <a:lnTo>
                  <a:pt x="8057" y="142"/>
                </a:lnTo>
                <a:lnTo>
                  <a:pt x="8075" y="138"/>
                </a:lnTo>
                <a:lnTo>
                  <a:pt x="8075" y="138"/>
                </a:lnTo>
                <a:lnTo>
                  <a:pt x="8117" y="122"/>
                </a:lnTo>
                <a:lnTo>
                  <a:pt x="8139" y="114"/>
                </a:lnTo>
                <a:lnTo>
                  <a:pt x="8157" y="108"/>
                </a:lnTo>
                <a:lnTo>
                  <a:pt x="8157" y="108"/>
                </a:lnTo>
                <a:lnTo>
                  <a:pt x="8125" y="118"/>
                </a:lnTo>
                <a:lnTo>
                  <a:pt x="8105" y="126"/>
                </a:lnTo>
                <a:lnTo>
                  <a:pt x="8115" y="122"/>
                </a:lnTo>
                <a:lnTo>
                  <a:pt x="8111" y="124"/>
                </a:lnTo>
                <a:lnTo>
                  <a:pt x="8139" y="110"/>
                </a:lnTo>
                <a:lnTo>
                  <a:pt x="8139" y="110"/>
                </a:lnTo>
                <a:lnTo>
                  <a:pt x="8125" y="114"/>
                </a:lnTo>
                <a:lnTo>
                  <a:pt x="8121" y="116"/>
                </a:lnTo>
                <a:lnTo>
                  <a:pt x="8115" y="120"/>
                </a:lnTo>
                <a:lnTo>
                  <a:pt x="8095" y="128"/>
                </a:lnTo>
                <a:lnTo>
                  <a:pt x="8095" y="128"/>
                </a:lnTo>
                <a:lnTo>
                  <a:pt x="8087" y="130"/>
                </a:lnTo>
                <a:lnTo>
                  <a:pt x="8091" y="128"/>
                </a:lnTo>
                <a:lnTo>
                  <a:pt x="8115" y="118"/>
                </a:lnTo>
                <a:lnTo>
                  <a:pt x="8115" y="118"/>
                </a:lnTo>
                <a:lnTo>
                  <a:pt x="8139" y="108"/>
                </a:lnTo>
                <a:lnTo>
                  <a:pt x="8143" y="106"/>
                </a:lnTo>
                <a:lnTo>
                  <a:pt x="8135" y="108"/>
                </a:lnTo>
                <a:lnTo>
                  <a:pt x="8135" y="108"/>
                </a:lnTo>
                <a:lnTo>
                  <a:pt x="8109" y="118"/>
                </a:lnTo>
                <a:lnTo>
                  <a:pt x="8087" y="128"/>
                </a:lnTo>
                <a:lnTo>
                  <a:pt x="8093" y="126"/>
                </a:lnTo>
                <a:lnTo>
                  <a:pt x="8037" y="146"/>
                </a:lnTo>
                <a:lnTo>
                  <a:pt x="8037" y="146"/>
                </a:lnTo>
                <a:lnTo>
                  <a:pt x="8043" y="142"/>
                </a:lnTo>
                <a:lnTo>
                  <a:pt x="8051" y="140"/>
                </a:lnTo>
                <a:lnTo>
                  <a:pt x="8051" y="140"/>
                </a:lnTo>
                <a:lnTo>
                  <a:pt x="7975" y="165"/>
                </a:lnTo>
                <a:lnTo>
                  <a:pt x="7897" y="189"/>
                </a:lnTo>
                <a:lnTo>
                  <a:pt x="7897" y="189"/>
                </a:lnTo>
                <a:lnTo>
                  <a:pt x="7905" y="187"/>
                </a:lnTo>
                <a:lnTo>
                  <a:pt x="7901" y="189"/>
                </a:lnTo>
                <a:lnTo>
                  <a:pt x="7885" y="195"/>
                </a:lnTo>
                <a:lnTo>
                  <a:pt x="7885" y="195"/>
                </a:lnTo>
                <a:lnTo>
                  <a:pt x="7859" y="203"/>
                </a:lnTo>
                <a:lnTo>
                  <a:pt x="7837" y="209"/>
                </a:lnTo>
                <a:lnTo>
                  <a:pt x="7837" y="209"/>
                </a:lnTo>
                <a:lnTo>
                  <a:pt x="7855" y="203"/>
                </a:lnTo>
                <a:lnTo>
                  <a:pt x="7875" y="197"/>
                </a:lnTo>
                <a:lnTo>
                  <a:pt x="7873" y="195"/>
                </a:lnTo>
                <a:lnTo>
                  <a:pt x="7873" y="195"/>
                </a:lnTo>
                <a:lnTo>
                  <a:pt x="7917" y="179"/>
                </a:lnTo>
                <a:lnTo>
                  <a:pt x="7975" y="158"/>
                </a:lnTo>
                <a:lnTo>
                  <a:pt x="7975" y="158"/>
                </a:lnTo>
                <a:lnTo>
                  <a:pt x="8009" y="144"/>
                </a:lnTo>
                <a:lnTo>
                  <a:pt x="8073" y="124"/>
                </a:lnTo>
                <a:lnTo>
                  <a:pt x="8053" y="130"/>
                </a:lnTo>
                <a:lnTo>
                  <a:pt x="8053" y="130"/>
                </a:lnTo>
                <a:lnTo>
                  <a:pt x="8073" y="122"/>
                </a:lnTo>
                <a:lnTo>
                  <a:pt x="8079" y="120"/>
                </a:lnTo>
                <a:lnTo>
                  <a:pt x="8089" y="118"/>
                </a:lnTo>
                <a:lnTo>
                  <a:pt x="8115" y="108"/>
                </a:lnTo>
                <a:lnTo>
                  <a:pt x="8115" y="108"/>
                </a:lnTo>
                <a:lnTo>
                  <a:pt x="8151" y="98"/>
                </a:lnTo>
                <a:lnTo>
                  <a:pt x="8159" y="96"/>
                </a:lnTo>
                <a:lnTo>
                  <a:pt x="8149" y="102"/>
                </a:lnTo>
                <a:lnTo>
                  <a:pt x="8149" y="102"/>
                </a:lnTo>
                <a:lnTo>
                  <a:pt x="8194" y="86"/>
                </a:lnTo>
                <a:lnTo>
                  <a:pt x="8234" y="68"/>
                </a:lnTo>
                <a:lnTo>
                  <a:pt x="8234" y="68"/>
                </a:lnTo>
                <a:lnTo>
                  <a:pt x="8242" y="66"/>
                </a:lnTo>
                <a:lnTo>
                  <a:pt x="8238" y="70"/>
                </a:lnTo>
                <a:lnTo>
                  <a:pt x="8232" y="72"/>
                </a:lnTo>
                <a:lnTo>
                  <a:pt x="8230" y="74"/>
                </a:lnTo>
                <a:lnTo>
                  <a:pt x="8230" y="74"/>
                </a:lnTo>
                <a:lnTo>
                  <a:pt x="8230" y="74"/>
                </a:lnTo>
                <a:lnTo>
                  <a:pt x="8264" y="60"/>
                </a:lnTo>
                <a:lnTo>
                  <a:pt x="8272" y="56"/>
                </a:lnTo>
                <a:lnTo>
                  <a:pt x="8266" y="58"/>
                </a:lnTo>
                <a:lnTo>
                  <a:pt x="8266" y="58"/>
                </a:lnTo>
                <a:lnTo>
                  <a:pt x="8312" y="38"/>
                </a:lnTo>
                <a:lnTo>
                  <a:pt x="8312" y="38"/>
                </a:lnTo>
                <a:lnTo>
                  <a:pt x="8290" y="48"/>
                </a:lnTo>
                <a:lnTo>
                  <a:pt x="8290" y="48"/>
                </a:lnTo>
                <a:lnTo>
                  <a:pt x="8324" y="32"/>
                </a:lnTo>
                <a:lnTo>
                  <a:pt x="8352" y="16"/>
                </a:lnTo>
                <a:lnTo>
                  <a:pt x="8352" y="16"/>
                </a:lnTo>
                <a:lnTo>
                  <a:pt x="8332" y="28"/>
                </a:lnTo>
                <a:lnTo>
                  <a:pt x="8332" y="28"/>
                </a:lnTo>
                <a:lnTo>
                  <a:pt x="8364" y="8"/>
                </a:lnTo>
                <a:lnTo>
                  <a:pt x="8364" y="8"/>
                </a:lnTo>
                <a:lnTo>
                  <a:pt x="8372" y="4"/>
                </a:lnTo>
                <a:lnTo>
                  <a:pt x="8372" y="4"/>
                </a:lnTo>
                <a:lnTo>
                  <a:pt x="8374" y="2"/>
                </a:lnTo>
                <a:lnTo>
                  <a:pt x="8374" y="2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8" y="0"/>
                </a:lnTo>
                <a:lnTo>
                  <a:pt x="8378" y="0"/>
                </a:lnTo>
                <a:lnTo>
                  <a:pt x="8376" y="2"/>
                </a:lnTo>
                <a:lnTo>
                  <a:pt x="8376" y="2"/>
                </a:lnTo>
                <a:lnTo>
                  <a:pt x="8374" y="4"/>
                </a:lnTo>
                <a:lnTo>
                  <a:pt x="8374" y="4"/>
                </a:lnTo>
                <a:lnTo>
                  <a:pt x="8372" y="4"/>
                </a:lnTo>
                <a:lnTo>
                  <a:pt x="8372" y="4"/>
                </a:lnTo>
                <a:lnTo>
                  <a:pt x="8376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0"/>
                </a:lnTo>
                <a:lnTo>
                  <a:pt x="8378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68" y="6"/>
                </a:lnTo>
                <a:lnTo>
                  <a:pt x="8368" y="6"/>
                </a:lnTo>
                <a:lnTo>
                  <a:pt x="8356" y="12"/>
                </a:lnTo>
                <a:lnTo>
                  <a:pt x="8356" y="12"/>
                </a:lnTo>
                <a:lnTo>
                  <a:pt x="8328" y="28"/>
                </a:lnTo>
                <a:lnTo>
                  <a:pt x="8328" y="28"/>
                </a:lnTo>
                <a:lnTo>
                  <a:pt x="8334" y="24"/>
                </a:lnTo>
                <a:lnTo>
                  <a:pt x="8348" y="14"/>
                </a:lnTo>
                <a:lnTo>
                  <a:pt x="8348" y="14"/>
                </a:lnTo>
                <a:lnTo>
                  <a:pt x="8314" y="30"/>
                </a:lnTo>
                <a:lnTo>
                  <a:pt x="8290" y="40"/>
                </a:lnTo>
                <a:lnTo>
                  <a:pt x="8290" y="40"/>
                </a:lnTo>
                <a:lnTo>
                  <a:pt x="8316" y="30"/>
                </a:lnTo>
                <a:lnTo>
                  <a:pt x="8328" y="22"/>
                </a:lnTo>
                <a:lnTo>
                  <a:pt x="8262" y="54"/>
                </a:lnTo>
                <a:lnTo>
                  <a:pt x="8262" y="54"/>
                </a:lnTo>
                <a:lnTo>
                  <a:pt x="8250" y="58"/>
                </a:lnTo>
                <a:lnTo>
                  <a:pt x="8228" y="66"/>
                </a:lnTo>
                <a:lnTo>
                  <a:pt x="8210" y="74"/>
                </a:lnTo>
                <a:lnTo>
                  <a:pt x="8208" y="74"/>
                </a:lnTo>
                <a:lnTo>
                  <a:pt x="8214" y="72"/>
                </a:lnTo>
                <a:lnTo>
                  <a:pt x="8214" y="72"/>
                </a:lnTo>
                <a:lnTo>
                  <a:pt x="8194" y="80"/>
                </a:lnTo>
                <a:lnTo>
                  <a:pt x="8167" y="90"/>
                </a:lnTo>
                <a:lnTo>
                  <a:pt x="8167" y="90"/>
                </a:lnTo>
                <a:lnTo>
                  <a:pt x="8220" y="66"/>
                </a:lnTo>
                <a:lnTo>
                  <a:pt x="8220" y="66"/>
                </a:lnTo>
                <a:lnTo>
                  <a:pt x="8250" y="54"/>
                </a:lnTo>
                <a:lnTo>
                  <a:pt x="8252" y="54"/>
                </a:lnTo>
                <a:lnTo>
                  <a:pt x="8248" y="54"/>
                </a:lnTo>
                <a:lnTo>
                  <a:pt x="8236" y="60"/>
                </a:lnTo>
                <a:lnTo>
                  <a:pt x="8234" y="62"/>
                </a:lnTo>
                <a:lnTo>
                  <a:pt x="8236" y="62"/>
                </a:lnTo>
                <a:lnTo>
                  <a:pt x="8236" y="62"/>
                </a:lnTo>
                <a:lnTo>
                  <a:pt x="8290" y="38"/>
                </a:lnTo>
                <a:lnTo>
                  <a:pt x="8290" y="38"/>
                </a:lnTo>
                <a:lnTo>
                  <a:pt x="8294" y="36"/>
                </a:lnTo>
                <a:lnTo>
                  <a:pt x="8276" y="44"/>
                </a:lnTo>
                <a:lnTo>
                  <a:pt x="8276" y="44"/>
                </a:lnTo>
                <a:lnTo>
                  <a:pt x="8352" y="4"/>
                </a:lnTo>
                <a:lnTo>
                  <a:pt x="8352" y="4"/>
                </a:lnTo>
                <a:lnTo>
                  <a:pt x="8348" y="8"/>
                </a:lnTo>
                <a:lnTo>
                  <a:pt x="8334" y="14"/>
                </a:lnTo>
                <a:lnTo>
                  <a:pt x="8334" y="14"/>
                </a:lnTo>
                <a:lnTo>
                  <a:pt x="8348" y="4"/>
                </a:lnTo>
                <a:lnTo>
                  <a:pt x="8350" y="4"/>
                </a:lnTo>
                <a:lnTo>
                  <a:pt x="8348" y="4"/>
                </a:lnTo>
                <a:lnTo>
                  <a:pt x="8328" y="14"/>
                </a:lnTo>
                <a:lnTo>
                  <a:pt x="8328" y="14"/>
                </a:lnTo>
                <a:lnTo>
                  <a:pt x="8330" y="12"/>
                </a:lnTo>
                <a:lnTo>
                  <a:pt x="8326" y="16"/>
                </a:lnTo>
                <a:lnTo>
                  <a:pt x="8322" y="18"/>
                </a:lnTo>
                <a:lnTo>
                  <a:pt x="8330" y="14"/>
                </a:lnTo>
                <a:lnTo>
                  <a:pt x="8330" y="14"/>
                </a:lnTo>
                <a:lnTo>
                  <a:pt x="8294" y="32"/>
                </a:lnTo>
                <a:lnTo>
                  <a:pt x="8280" y="36"/>
                </a:lnTo>
                <a:lnTo>
                  <a:pt x="8280" y="36"/>
                </a:lnTo>
                <a:lnTo>
                  <a:pt x="8284" y="34"/>
                </a:lnTo>
                <a:lnTo>
                  <a:pt x="8284" y="34"/>
                </a:lnTo>
                <a:lnTo>
                  <a:pt x="8204" y="70"/>
                </a:lnTo>
                <a:lnTo>
                  <a:pt x="8204" y="70"/>
                </a:lnTo>
                <a:lnTo>
                  <a:pt x="8210" y="66"/>
                </a:lnTo>
                <a:lnTo>
                  <a:pt x="8228" y="58"/>
                </a:lnTo>
                <a:lnTo>
                  <a:pt x="8228" y="58"/>
                </a:lnTo>
                <a:lnTo>
                  <a:pt x="8163" y="84"/>
                </a:lnTo>
                <a:lnTo>
                  <a:pt x="8181" y="78"/>
                </a:lnTo>
                <a:lnTo>
                  <a:pt x="8181" y="78"/>
                </a:lnTo>
                <a:lnTo>
                  <a:pt x="8121" y="102"/>
                </a:lnTo>
                <a:lnTo>
                  <a:pt x="8069" y="122"/>
                </a:lnTo>
                <a:lnTo>
                  <a:pt x="8069" y="122"/>
                </a:lnTo>
                <a:lnTo>
                  <a:pt x="8091" y="112"/>
                </a:lnTo>
                <a:lnTo>
                  <a:pt x="8129" y="98"/>
                </a:lnTo>
                <a:lnTo>
                  <a:pt x="8129" y="98"/>
                </a:lnTo>
                <a:lnTo>
                  <a:pt x="8115" y="102"/>
                </a:lnTo>
                <a:lnTo>
                  <a:pt x="8107" y="106"/>
                </a:lnTo>
                <a:lnTo>
                  <a:pt x="8095" y="110"/>
                </a:lnTo>
                <a:lnTo>
                  <a:pt x="8075" y="118"/>
                </a:lnTo>
                <a:lnTo>
                  <a:pt x="8075" y="118"/>
                </a:lnTo>
                <a:lnTo>
                  <a:pt x="8069" y="120"/>
                </a:lnTo>
                <a:lnTo>
                  <a:pt x="8069" y="118"/>
                </a:lnTo>
                <a:lnTo>
                  <a:pt x="8039" y="130"/>
                </a:lnTo>
                <a:lnTo>
                  <a:pt x="8039" y="130"/>
                </a:lnTo>
                <a:lnTo>
                  <a:pt x="8033" y="132"/>
                </a:lnTo>
                <a:lnTo>
                  <a:pt x="8039" y="130"/>
                </a:lnTo>
                <a:lnTo>
                  <a:pt x="8039" y="130"/>
                </a:lnTo>
                <a:lnTo>
                  <a:pt x="8015" y="140"/>
                </a:lnTo>
                <a:lnTo>
                  <a:pt x="8011" y="142"/>
                </a:lnTo>
                <a:lnTo>
                  <a:pt x="7969" y="156"/>
                </a:lnTo>
                <a:lnTo>
                  <a:pt x="7969" y="156"/>
                </a:lnTo>
                <a:lnTo>
                  <a:pt x="8007" y="144"/>
                </a:lnTo>
                <a:lnTo>
                  <a:pt x="8041" y="132"/>
                </a:lnTo>
                <a:lnTo>
                  <a:pt x="8041" y="132"/>
                </a:lnTo>
                <a:lnTo>
                  <a:pt x="8047" y="130"/>
                </a:lnTo>
                <a:lnTo>
                  <a:pt x="8045" y="132"/>
                </a:lnTo>
                <a:lnTo>
                  <a:pt x="8029" y="138"/>
                </a:lnTo>
                <a:lnTo>
                  <a:pt x="7991" y="152"/>
                </a:lnTo>
                <a:lnTo>
                  <a:pt x="7991" y="152"/>
                </a:lnTo>
                <a:lnTo>
                  <a:pt x="7951" y="162"/>
                </a:lnTo>
                <a:lnTo>
                  <a:pt x="7905" y="179"/>
                </a:lnTo>
                <a:lnTo>
                  <a:pt x="7905" y="179"/>
                </a:lnTo>
                <a:lnTo>
                  <a:pt x="7923" y="171"/>
                </a:lnTo>
                <a:lnTo>
                  <a:pt x="7951" y="160"/>
                </a:lnTo>
                <a:lnTo>
                  <a:pt x="7951" y="160"/>
                </a:lnTo>
                <a:lnTo>
                  <a:pt x="7959" y="158"/>
                </a:lnTo>
                <a:lnTo>
                  <a:pt x="7953" y="160"/>
                </a:lnTo>
                <a:lnTo>
                  <a:pt x="7931" y="167"/>
                </a:lnTo>
                <a:lnTo>
                  <a:pt x="7931" y="167"/>
                </a:lnTo>
                <a:lnTo>
                  <a:pt x="7927" y="167"/>
                </a:lnTo>
                <a:lnTo>
                  <a:pt x="7927" y="169"/>
                </a:lnTo>
                <a:lnTo>
                  <a:pt x="7907" y="175"/>
                </a:lnTo>
                <a:lnTo>
                  <a:pt x="7909" y="175"/>
                </a:lnTo>
                <a:lnTo>
                  <a:pt x="7855" y="193"/>
                </a:lnTo>
                <a:lnTo>
                  <a:pt x="7855" y="193"/>
                </a:lnTo>
                <a:lnTo>
                  <a:pt x="7773" y="217"/>
                </a:lnTo>
                <a:lnTo>
                  <a:pt x="7734" y="229"/>
                </a:lnTo>
                <a:lnTo>
                  <a:pt x="7704" y="237"/>
                </a:lnTo>
                <a:lnTo>
                  <a:pt x="7712" y="235"/>
                </a:lnTo>
                <a:lnTo>
                  <a:pt x="7612" y="263"/>
                </a:lnTo>
                <a:lnTo>
                  <a:pt x="7612" y="263"/>
                </a:lnTo>
                <a:lnTo>
                  <a:pt x="7630" y="257"/>
                </a:lnTo>
                <a:lnTo>
                  <a:pt x="7660" y="249"/>
                </a:lnTo>
                <a:lnTo>
                  <a:pt x="7660" y="249"/>
                </a:lnTo>
                <a:lnTo>
                  <a:pt x="7514" y="289"/>
                </a:lnTo>
                <a:lnTo>
                  <a:pt x="7514" y="289"/>
                </a:lnTo>
                <a:lnTo>
                  <a:pt x="7574" y="277"/>
                </a:lnTo>
                <a:lnTo>
                  <a:pt x="7574" y="277"/>
                </a:lnTo>
                <a:lnTo>
                  <a:pt x="7550" y="283"/>
                </a:lnTo>
                <a:lnTo>
                  <a:pt x="7530" y="287"/>
                </a:lnTo>
                <a:lnTo>
                  <a:pt x="7510" y="291"/>
                </a:lnTo>
                <a:lnTo>
                  <a:pt x="7480" y="299"/>
                </a:lnTo>
                <a:lnTo>
                  <a:pt x="7480" y="299"/>
                </a:lnTo>
                <a:lnTo>
                  <a:pt x="7482" y="297"/>
                </a:lnTo>
                <a:lnTo>
                  <a:pt x="7486" y="297"/>
                </a:lnTo>
                <a:lnTo>
                  <a:pt x="7486" y="295"/>
                </a:lnTo>
                <a:lnTo>
                  <a:pt x="7482" y="295"/>
                </a:lnTo>
                <a:lnTo>
                  <a:pt x="7482" y="295"/>
                </a:lnTo>
                <a:lnTo>
                  <a:pt x="7406" y="317"/>
                </a:lnTo>
                <a:lnTo>
                  <a:pt x="7406" y="317"/>
                </a:lnTo>
                <a:lnTo>
                  <a:pt x="7402" y="315"/>
                </a:lnTo>
                <a:lnTo>
                  <a:pt x="7412" y="313"/>
                </a:lnTo>
                <a:lnTo>
                  <a:pt x="7464" y="299"/>
                </a:lnTo>
                <a:lnTo>
                  <a:pt x="7464" y="299"/>
                </a:lnTo>
                <a:lnTo>
                  <a:pt x="7522" y="285"/>
                </a:lnTo>
                <a:lnTo>
                  <a:pt x="7574" y="271"/>
                </a:lnTo>
                <a:lnTo>
                  <a:pt x="7556" y="275"/>
                </a:lnTo>
                <a:lnTo>
                  <a:pt x="7556" y="275"/>
                </a:lnTo>
                <a:lnTo>
                  <a:pt x="7648" y="249"/>
                </a:lnTo>
                <a:lnTo>
                  <a:pt x="7646" y="251"/>
                </a:lnTo>
                <a:lnTo>
                  <a:pt x="7662" y="245"/>
                </a:lnTo>
                <a:lnTo>
                  <a:pt x="7644" y="249"/>
                </a:lnTo>
                <a:lnTo>
                  <a:pt x="7644" y="249"/>
                </a:lnTo>
                <a:lnTo>
                  <a:pt x="7704" y="231"/>
                </a:lnTo>
                <a:lnTo>
                  <a:pt x="7704" y="231"/>
                </a:lnTo>
                <a:lnTo>
                  <a:pt x="7652" y="247"/>
                </a:lnTo>
                <a:lnTo>
                  <a:pt x="7622" y="257"/>
                </a:lnTo>
                <a:lnTo>
                  <a:pt x="7622" y="257"/>
                </a:lnTo>
                <a:lnTo>
                  <a:pt x="7566" y="271"/>
                </a:lnTo>
                <a:lnTo>
                  <a:pt x="7544" y="275"/>
                </a:lnTo>
                <a:lnTo>
                  <a:pt x="7522" y="281"/>
                </a:lnTo>
                <a:lnTo>
                  <a:pt x="7522" y="281"/>
                </a:lnTo>
                <a:lnTo>
                  <a:pt x="7508" y="283"/>
                </a:lnTo>
                <a:lnTo>
                  <a:pt x="7504" y="283"/>
                </a:lnTo>
                <a:lnTo>
                  <a:pt x="7512" y="281"/>
                </a:lnTo>
                <a:lnTo>
                  <a:pt x="7512" y="281"/>
                </a:lnTo>
                <a:lnTo>
                  <a:pt x="7546" y="273"/>
                </a:lnTo>
                <a:lnTo>
                  <a:pt x="7560" y="267"/>
                </a:lnTo>
                <a:lnTo>
                  <a:pt x="7560" y="267"/>
                </a:lnTo>
                <a:lnTo>
                  <a:pt x="7500" y="283"/>
                </a:lnTo>
                <a:lnTo>
                  <a:pt x="7500" y="283"/>
                </a:lnTo>
                <a:lnTo>
                  <a:pt x="7474" y="291"/>
                </a:lnTo>
                <a:lnTo>
                  <a:pt x="7430" y="305"/>
                </a:lnTo>
                <a:lnTo>
                  <a:pt x="7430" y="305"/>
                </a:lnTo>
                <a:lnTo>
                  <a:pt x="7378" y="317"/>
                </a:lnTo>
                <a:lnTo>
                  <a:pt x="7329" y="329"/>
                </a:lnTo>
                <a:lnTo>
                  <a:pt x="7329" y="329"/>
                </a:lnTo>
                <a:lnTo>
                  <a:pt x="7372" y="317"/>
                </a:lnTo>
                <a:lnTo>
                  <a:pt x="7386" y="313"/>
                </a:lnTo>
                <a:lnTo>
                  <a:pt x="7388" y="313"/>
                </a:lnTo>
                <a:lnTo>
                  <a:pt x="7386" y="313"/>
                </a:lnTo>
                <a:lnTo>
                  <a:pt x="7386" y="313"/>
                </a:lnTo>
                <a:lnTo>
                  <a:pt x="7347" y="321"/>
                </a:lnTo>
                <a:lnTo>
                  <a:pt x="7333" y="325"/>
                </a:lnTo>
                <a:lnTo>
                  <a:pt x="7329" y="325"/>
                </a:lnTo>
                <a:lnTo>
                  <a:pt x="7331" y="327"/>
                </a:lnTo>
                <a:lnTo>
                  <a:pt x="7331" y="327"/>
                </a:lnTo>
                <a:lnTo>
                  <a:pt x="7265" y="341"/>
                </a:lnTo>
                <a:lnTo>
                  <a:pt x="7237" y="347"/>
                </a:lnTo>
                <a:lnTo>
                  <a:pt x="7225" y="349"/>
                </a:lnTo>
                <a:lnTo>
                  <a:pt x="7225" y="349"/>
                </a:lnTo>
                <a:lnTo>
                  <a:pt x="7325" y="325"/>
                </a:lnTo>
                <a:lnTo>
                  <a:pt x="7325" y="325"/>
                </a:lnTo>
                <a:lnTo>
                  <a:pt x="7315" y="327"/>
                </a:lnTo>
                <a:lnTo>
                  <a:pt x="7313" y="327"/>
                </a:lnTo>
                <a:lnTo>
                  <a:pt x="7313" y="327"/>
                </a:lnTo>
                <a:lnTo>
                  <a:pt x="7360" y="317"/>
                </a:lnTo>
                <a:lnTo>
                  <a:pt x="7360" y="317"/>
                </a:lnTo>
                <a:lnTo>
                  <a:pt x="7327" y="323"/>
                </a:lnTo>
                <a:lnTo>
                  <a:pt x="7287" y="333"/>
                </a:lnTo>
                <a:lnTo>
                  <a:pt x="7287" y="333"/>
                </a:lnTo>
                <a:lnTo>
                  <a:pt x="7291" y="331"/>
                </a:lnTo>
                <a:lnTo>
                  <a:pt x="7257" y="339"/>
                </a:lnTo>
                <a:lnTo>
                  <a:pt x="7255" y="339"/>
                </a:lnTo>
                <a:lnTo>
                  <a:pt x="7255" y="339"/>
                </a:lnTo>
                <a:lnTo>
                  <a:pt x="7187" y="353"/>
                </a:lnTo>
                <a:lnTo>
                  <a:pt x="7101" y="373"/>
                </a:lnTo>
                <a:lnTo>
                  <a:pt x="7105" y="371"/>
                </a:lnTo>
                <a:lnTo>
                  <a:pt x="7105" y="371"/>
                </a:lnTo>
                <a:lnTo>
                  <a:pt x="7077" y="377"/>
                </a:lnTo>
                <a:lnTo>
                  <a:pt x="7055" y="383"/>
                </a:lnTo>
                <a:lnTo>
                  <a:pt x="7035" y="389"/>
                </a:lnTo>
                <a:lnTo>
                  <a:pt x="7003" y="397"/>
                </a:lnTo>
                <a:lnTo>
                  <a:pt x="7003" y="397"/>
                </a:lnTo>
                <a:lnTo>
                  <a:pt x="7011" y="393"/>
                </a:lnTo>
                <a:lnTo>
                  <a:pt x="7007" y="393"/>
                </a:lnTo>
                <a:lnTo>
                  <a:pt x="7007" y="393"/>
                </a:lnTo>
                <a:lnTo>
                  <a:pt x="6975" y="399"/>
                </a:lnTo>
                <a:lnTo>
                  <a:pt x="6943" y="405"/>
                </a:lnTo>
                <a:lnTo>
                  <a:pt x="6943" y="405"/>
                </a:lnTo>
                <a:lnTo>
                  <a:pt x="6953" y="403"/>
                </a:lnTo>
                <a:lnTo>
                  <a:pt x="6947" y="405"/>
                </a:lnTo>
                <a:lnTo>
                  <a:pt x="6939" y="407"/>
                </a:lnTo>
                <a:lnTo>
                  <a:pt x="6945" y="407"/>
                </a:lnTo>
                <a:lnTo>
                  <a:pt x="6945" y="407"/>
                </a:lnTo>
                <a:lnTo>
                  <a:pt x="6937" y="409"/>
                </a:lnTo>
                <a:lnTo>
                  <a:pt x="6914" y="415"/>
                </a:lnTo>
                <a:lnTo>
                  <a:pt x="6864" y="425"/>
                </a:lnTo>
                <a:lnTo>
                  <a:pt x="6864" y="425"/>
                </a:lnTo>
                <a:lnTo>
                  <a:pt x="6862" y="425"/>
                </a:lnTo>
                <a:lnTo>
                  <a:pt x="6864" y="423"/>
                </a:lnTo>
                <a:lnTo>
                  <a:pt x="6870" y="423"/>
                </a:lnTo>
                <a:lnTo>
                  <a:pt x="6896" y="417"/>
                </a:lnTo>
                <a:lnTo>
                  <a:pt x="6916" y="411"/>
                </a:lnTo>
                <a:lnTo>
                  <a:pt x="6916" y="411"/>
                </a:lnTo>
                <a:lnTo>
                  <a:pt x="6908" y="413"/>
                </a:lnTo>
                <a:lnTo>
                  <a:pt x="6908" y="413"/>
                </a:lnTo>
                <a:lnTo>
                  <a:pt x="6882" y="417"/>
                </a:lnTo>
                <a:lnTo>
                  <a:pt x="6892" y="417"/>
                </a:lnTo>
                <a:lnTo>
                  <a:pt x="6892" y="417"/>
                </a:lnTo>
                <a:lnTo>
                  <a:pt x="6834" y="427"/>
                </a:lnTo>
                <a:lnTo>
                  <a:pt x="6782" y="437"/>
                </a:lnTo>
                <a:lnTo>
                  <a:pt x="6782" y="437"/>
                </a:lnTo>
                <a:lnTo>
                  <a:pt x="6734" y="447"/>
                </a:lnTo>
                <a:lnTo>
                  <a:pt x="6698" y="455"/>
                </a:lnTo>
                <a:lnTo>
                  <a:pt x="6698" y="455"/>
                </a:lnTo>
                <a:lnTo>
                  <a:pt x="6722" y="451"/>
                </a:lnTo>
                <a:lnTo>
                  <a:pt x="6750" y="445"/>
                </a:lnTo>
                <a:lnTo>
                  <a:pt x="6720" y="453"/>
                </a:lnTo>
                <a:lnTo>
                  <a:pt x="6720" y="453"/>
                </a:lnTo>
                <a:lnTo>
                  <a:pt x="6666" y="461"/>
                </a:lnTo>
                <a:lnTo>
                  <a:pt x="6620" y="469"/>
                </a:lnTo>
                <a:lnTo>
                  <a:pt x="6650" y="463"/>
                </a:lnTo>
                <a:lnTo>
                  <a:pt x="6648" y="463"/>
                </a:lnTo>
                <a:lnTo>
                  <a:pt x="6648" y="463"/>
                </a:lnTo>
                <a:lnTo>
                  <a:pt x="6676" y="457"/>
                </a:lnTo>
                <a:lnTo>
                  <a:pt x="6692" y="453"/>
                </a:lnTo>
                <a:lnTo>
                  <a:pt x="6692" y="453"/>
                </a:lnTo>
                <a:lnTo>
                  <a:pt x="6654" y="461"/>
                </a:lnTo>
                <a:lnTo>
                  <a:pt x="6612" y="469"/>
                </a:lnTo>
                <a:lnTo>
                  <a:pt x="6612" y="469"/>
                </a:lnTo>
                <a:lnTo>
                  <a:pt x="6612" y="469"/>
                </a:lnTo>
                <a:lnTo>
                  <a:pt x="6570" y="477"/>
                </a:lnTo>
                <a:lnTo>
                  <a:pt x="6532" y="483"/>
                </a:lnTo>
                <a:lnTo>
                  <a:pt x="6499" y="489"/>
                </a:lnTo>
                <a:lnTo>
                  <a:pt x="6469" y="495"/>
                </a:lnTo>
                <a:lnTo>
                  <a:pt x="6469" y="495"/>
                </a:lnTo>
                <a:lnTo>
                  <a:pt x="6489" y="493"/>
                </a:lnTo>
                <a:lnTo>
                  <a:pt x="6495" y="493"/>
                </a:lnTo>
                <a:lnTo>
                  <a:pt x="6497" y="493"/>
                </a:lnTo>
                <a:lnTo>
                  <a:pt x="6495" y="493"/>
                </a:lnTo>
                <a:lnTo>
                  <a:pt x="6495" y="493"/>
                </a:lnTo>
                <a:lnTo>
                  <a:pt x="6465" y="497"/>
                </a:lnTo>
                <a:lnTo>
                  <a:pt x="6445" y="501"/>
                </a:lnTo>
                <a:lnTo>
                  <a:pt x="6459" y="497"/>
                </a:lnTo>
                <a:lnTo>
                  <a:pt x="6459" y="497"/>
                </a:lnTo>
                <a:lnTo>
                  <a:pt x="6391" y="509"/>
                </a:lnTo>
                <a:lnTo>
                  <a:pt x="6391" y="509"/>
                </a:lnTo>
                <a:lnTo>
                  <a:pt x="6385" y="511"/>
                </a:lnTo>
                <a:lnTo>
                  <a:pt x="6367" y="515"/>
                </a:lnTo>
                <a:lnTo>
                  <a:pt x="6367" y="515"/>
                </a:lnTo>
                <a:lnTo>
                  <a:pt x="6345" y="519"/>
                </a:lnTo>
                <a:lnTo>
                  <a:pt x="6351" y="517"/>
                </a:lnTo>
                <a:lnTo>
                  <a:pt x="6361" y="515"/>
                </a:lnTo>
                <a:lnTo>
                  <a:pt x="6349" y="515"/>
                </a:lnTo>
                <a:lnTo>
                  <a:pt x="6293" y="525"/>
                </a:lnTo>
                <a:lnTo>
                  <a:pt x="6281" y="527"/>
                </a:lnTo>
                <a:lnTo>
                  <a:pt x="6281" y="527"/>
                </a:lnTo>
                <a:lnTo>
                  <a:pt x="6165" y="547"/>
                </a:lnTo>
                <a:lnTo>
                  <a:pt x="6044" y="567"/>
                </a:lnTo>
                <a:lnTo>
                  <a:pt x="6044" y="567"/>
                </a:lnTo>
                <a:lnTo>
                  <a:pt x="6052" y="565"/>
                </a:lnTo>
                <a:lnTo>
                  <a:pt x="6076" y="561"/>
                </a:lnTo>
                <a:lnTo>
                  <a:pt x="6129" y="551"/>
                </a:lnTo>
                <a:lnTo>
                  <a:pt x="6129" y="551"/>
                </a:lnTo>
                <a:lnTo>
                  <a:pt x="6080" y="559"/>
                </a:lnTo>
                <a:lnTo>
                  <a:pt x="6024" y="567"/>
                </a:lnTo>
                <a:lnTo>
                  <a:pt x="6024" y="567"/>
                </a:lnTo>
                <a:lnTo>
                  <a:pt x="5980" y="575"/>
                </a:lnTo>
                <a:lnTo>
                  <a:pt x="5970" y="577"/>
                </a:lnTo>
                <a:lnTo>
                  <a:pt x="5968" y="577"/>
                </a:lnTo>
                <a:lnTo>
                  <a:pt x="5968" y="579"/>
                </a:lnTo>
                <a:lnTo>
                  <a:pt x="5968" y="579"/>
                </a:lnTo>
                <a:lnTo>
                  <a:pt x="5936" y="583"/>
                </a:lnTo>
                <a:lnTo>
                  <a:pt x="5932" y="583"/>
                </a:lnTo>
                <a:lnTo>
                  <a:pt x="5932" y="583"/>
                </a:lnTo>
                <a:lnTo>
                  <a:pt x="5890" y="591"/>
                </a:lnTo>
                <a:lnTo>
                  <a:pt x="5832" y="599"/>
                </a:lnTo>
                <a:lnTo>
                  <a:pt x="5830" y="599"/>
                </a:lnTo>
                <a:lnTo>
                  <a:pt x="5776" y="607"/>
                </a:lnTo>
                <a:lnTo>
                  <a:pt x="5776" y="607"/>
                </a:lnTo>
                <a:lnTo>
                  <a:pt x="5782" y="607"/>
                </a:lnTo>
                <a:lnTo>
                  <a:pt x="5778" y="609"/>
                </a:lnTo>
                <a:lnTo>
                  <a:pt x="5764" y="611"/>
                </a:lnTo>
                <a:lnTo>
                  <a:pt x="5764" y="611"/>
                </a:lnTo>
                <a:lnTo>
                  <a:pt x="5806" y="605"/>
                </a:lnTo>
                <a:lnTo>
                  <a:pt x="5850" y="599"/>
                </a:lnTo>
                <a:lnTo>
                  <a:pt x="5894" y="591"/>
                </a:lnTo>
                <a:lnTo>
                  <a:pt x="5936" y="587"/>
                </a:lnTo>
                <a:lnTo>
                  <a:pt x="5936" y="587"/>
                </a:lnTo>
                <a:lnTo>
                  <a:pt x="5930" y="587"/>
                </a:lnTo>
                <a:lnTo>
                  <a:pt x="5930" y="589"/>
                </a:lnTo>
                <a:lnTo>
                  <a:pt x="5932" y="589"/>
                </a:lnTo>
                <a:lnTo>
                  <a:pt x="5926" y="589"/>
                </a:lnTo>
                <a:lnTo>
                  <a:pt x="5926" y="589"/>
                </a:lnTo>
                <a:lnTo>
                  <a:pt x="5908" y="591"/>
                </a:lnTo>
                <a:lnTo>
                  <a:pt x="5908" y="591"/>
                </a:lnTo>
                <a:lnTo>
                  <a:pt x="5894" y="595"/>
                </a:lnTo>
                <a:lnTo>
                  <a:pt x="5906" y="593"/>
                </a:lnTo>
                <a:lnTo>
                  <a:pt x="5906" y="593"/>
                </a:lnTo>
                <a:lnTo>
                  <a:pt x="5896" y="597"/>
                </a:lnTo>
                <a:lnTo>
                  <a:pt x="5872" y="601"/>
                </a:lnTo>
                <a:lnTo>
                  <a:pt x="5808" y="611"/>
                </a:lnTo>
                <a:lnTo>
                  <a:pt x="5808" y="611"/>
                </a:lnTo>
                <a:lnTo>
                  <a:pt x="5800" y="611"/>
                </a:lnTo>
                <a:lnTo>
                  <a:pt x="5814" y="607"/>
                </a:lnTo>
                <a:lnTo>
                  <a:pt x="5856" y="601"/>
                </a:lnTo>
                <a:lnTo>
                  <a:pt x="5856" y="601"/>
                </a:lnTo>
                <a:lnTo>
                  <a:pt x="5834" y="603"/>
                </a:lnTo>
                <a:lnTo>
                  <a:pt x="5808" y="609"/>
                </a:lnTo>
                <a:lnTo>
                  <a:pt x="5812" y="605"/>
                </a:lnTo>
                <a:lnTo>
                  <a:pt x="5812" y="605"/>
                </a:lnTo>
                <a:lnTo>
                  <a:pt x="5782" y="611"/>
                </a:lnTo>
                <a:lnTo>
                  <a:pt x="5788" y="611"/>
                </a:lnTo>
                <a:lnTo>
                  <a:pt x="5788" y="611"/>
                </a:lnTo>
                <a:lnTo>
                  <a:pt x="5786" y="613"/>
                </a:lnTo>
                <a:lnTo>
                  <a:pt x="5786" y="613"/>
                </a:lnTo>
                <a:lnTo>
                  <a:pt x="5772" y="615"/>
                </a:lnTo>
                <a:lnTo>
                  <a:pt x="5754" y="620"/>
                </a:lnTo>
                <a:lnTo>
                  <a:pt x="5720" y="624"/>
                </a:lnTo>
                <a:lnTo>
                  <a:pt x="5738" y="620"/>
                </a:lnTo>
                <a:lnTo>
                  <a:pt x="5738" y="620"/>
                </a:lnTo>
                <a:lnTo>
                  <a:pt x="5690" y="628"/>
                </a:lnTo>
                <a:lnTo>
                  <a:pt x="5645" y="634"/>
                </a:lnTo>
                <a:lnTo>
                  <a:pt x="5627" y="636"/>
                </a:lnTo>
                <a:lnTo>
                  <a:pt x="5627" y="636"/>
                </a:lnTo>
                <a:lnTo>
                  <a:pt x="5657" y="632"/>
                </a:lnTo>
                <a:lnTo>
                  <a:pt x="5680" y="628"/>
                </a:lnTo>
                <a:lnTo>
                  <a:pt x="5696" y="624"/>
                </a:lnTo>
                <a:lnTo>
                  <a:pt x="5714" y="622"/>
                </a:lnTo>
                <a:lnTo>
                  <a:pt x="5714" y="622"/>
                </a:lnTo>
                <a:lnTo>
                  <a:pt x="5688" y="624"/>
                </a:lnTo>
                <a:lnTo>
                  <a:pt x="5698" y="622"/>
                </a:lnTo>
                <a:lnTo>
                  <a:pt x="5752" y="611"/>
                </a:lnTo>
                <a:lnTo>
                  <a:pt x="5752" y="611"/>
                </a:lnTo>
                <a:lnTo>
                  <a:pt x="5676" y="622"/>
                </a:lnTo>
                <a:lnTo>
                  <a:pt x="5676" y="622"/>
                </a:lnTo>
                <a:lnTo>
                  <a:pt x="5643" y="626"/>
                </a:lnTo>
                <a:lnTo>
                  <a:pt x="5607" y="632"/>
                </a:lnTo>
                <a:lnTo>
                  <a:pt x="5573" y="636"/>
                </a:lnTo>
                <a:lnTo>
                  <a:pt x="5541" y="642"/>
                </a:lnTo>
                <a:lnTo>
                  <a:pt x="5541" y="642"/>
                </a:lnTo>
                <a:lnTo>
                  <a:pt x="5533" y="642"/>
                </a:lnTo>
                <a:lnTo>
                  <a:pt x="5539" y="642"/>
                </a:lnTo>
                <a:lnTo>
                  <a:pt x="5545" y="640"/>
                </a:lnTo>
                <a:lnTo>
                  <a:pt x="5537" y="642"/>
                </a:lnTo>
                <a:lnTo>
                  <a:pt x="5537" y="642"/>
                </a:lnTo>
                <a:lnTo>
                  <a:pt x="5395" y="662"/>
                </a:lnTo>
                <a:lnTo>
                  <a:pt x="5395" y="662"/>
                </a:lnTo>
                <a:lnTo>
                  <a:pt x="5375" y="664"/>
                </a:lnTo>
                <a:lnTo>
                  <a:pt x="5367" y="664"/>
                </a:lnTo>
                <a:lnTo>
                  <a:pt x="5367" y="664"/>
                </a:lnTo>
                <a:lnTo>
                  <a:pt x="5289" y="674"/>
                </a:lnTo>
                <a:lnTo>
                  <a:pt x="5222" y="684"/>
                </a:lnTo>
                <a:lnTo>
                  <a:pt x="5154" y="692"/>
                </a:lnTo>
                <a:lnTo>
                  <a:pt x="5068" y="704"/>
                </a:lnTo>
                <a:lnTo>
                  <a:pt x="5088" y="700"/>
                </a:lnTo>
                <a:lnTo>
                  <a:pt x="5088" y="700"/>
                </a:lnTo>
                <a:lnTo>
                  <a:pt x="5050" y="704"/>
                </a:lnTo>
                <a:lnTo>
                  <a:pt x="5022" y="708"/>
                </a:lnTo>
                <a:lnTo>
                  <a:pt x="5022" y="708"/>
                </a:lnTo>
                <a:lnTo>
                  <a:pt x="4988" y="712"/>
                </a:lnTo>
                <a:lnTo>
                  <a:pt x="4946" y="718"/>
                </a:lnTo>
                <a:lnTo>
                  <a:pt x="4900" y="724"/>
                </a:lnTo>
                <a:lnTo>
                  <a:pt x="4860" y="726"/>
                </a:lnTo>
                <a:lnTo>
                  <a:pt x="4860" y="726"/>
                </a:lnTo>
                <a:lnTo>
                  <a:pt x="4803" y="734"/>
                </a:lnTo>
                <a:lnTo>
                  <a:pt x="4753" y="742"/>
                </a:lnTo>
                <a:lnTo>
                  <a:pt x="4753" y="742"/>
                </a:lnTo>
                <a:lnTo>
                  <a:pt x="4757" y="740"/>
                </a:lnTo>
                <a:lnTo>
                  <a:pt x="4743" y="740"/>
                </a:lnTo>
                <a:lnTo>
                  <a:pt x="4743" y="740"/>
                </a:lnTo>
                <a:lnTo>
                  <a:pt x="4525" y="766"/>
                </a:lnTo>
                <a:lnTo>
                  <a:pt x="4294" y="790"/>
                </a:lnTo>
                <a:lnTo>
                  <a:pt x="4294" y="790"/>
                </a:lnTo>
                <a:lnTo>
                  <a:pt x="4308" y="788"/>
                </a:lnTo>
                <a:lnTo>
                  <a:pt x="4308" y="788"/>
                </a:lnTo>
                <a:lnTo>
                  <a:pt x="4152" y="806"/>
                </a:lnTo>
                <a:lnTo>
                  <a:pt x="4008" y="820"/>
                </a:lnTo>
                <a:lnTo>
                  <a:pt x="4008" y="820"/>
                </a:lnTo>
                <a:lnTo>
                  <a:pt x="3969" y="824"/>
                </a:lnTo>
                <a:lnTo>
                  <a:pt x="3955" y="826"/>
                </a:lnTo>
                <a:lnTo>
                  <a:pt x="3953" y="828"/>
                </a:lnTo>
                <a:lnTo>
                  <a:pt x="3957" y="828"/>
                </a:lnTo>
                <a:lnTo>
                  <a:pt x="3957" y="828"/>
                </a:lnTo>
                <a:lnTo>
                  <a:pt x="3975" y="826"/>
                </a:lnTo>
                <a:lnTo>
                  <a:pt x="3979" y="828"/>
                </a:lnTo>
                <a:lnTo>
                  <a:pt x="3979" y="828"/>
                </a:lnTo>
                <a:lnTo>
                  <a:pt x="3979" y="828"/>
                </a:lnTo>
                <a:lnTo>
                  <a:pt x="3939" y="832"/>
                </a:lnTo>
                <a:lnTo>
                  <a:pt x="3923" y="832"/>
                </a:lnTo>
                <a:lnTo>
                  <a:pt x="3913" y="832"/>
                </a:lnTo>
                <a:lnTo>
                  <a:pt x="3887" y="834"/>
                </a:lnTo>
                <a:lnTo>
                  <a:pt x="3887" y="834"/>
                </a:lnTo>
                <a:lnTo>
                  <a:pt x="3883" y="834"/>
                </a:lnTo>
                <a:lnTo>
                  <a:pt x="3885" y="834"/>
                </a:lnTo>
                <a:lnTo>
                  <a:pt x="3897" y="832"/>
                </a:lnTo>
                <a:lnTo>
                  <a:pt x="3913" y="830"/>
                </a:lnTo>
                <a:lnTo>
                  <a:pt x="3919" y="828"/>
                </a:lnTo>
                <a:lnTo>
                  <a:pt x="3843" y="836"/>
                </a:lnTo>
                <a:lnTo>
                  <a:pt x="3843" y="836"/>
                </a:lnTo>
                <a:lnTo>
                  <a:pt x="3781" y="842"/>
                </a:lnTo>
                <a:lnTo>
                  <a:pt x="3721" y="848"/>
                </a:lnTo>
                <a:lnTo>
                  <a:pt x="3721" y="848"/>
                </a:lnTo>
                <a:lnTo>
                  <a:pt x="3733" y="846"/>
                </a:lnTo>
                <a:lnTo>
                  <a:pt x="3753" y="844"/>
                </a:lnTo>
                <a:lnTo>
                  <a:pt x="3753" y="844"/>
                </a:lnTo>
                <a:lnTo>
                  <a:pt x="3749" y="844"/>
                </a:lnTo>
                <a:lnTo>
                  <a:pt x="3749" y="844"/>
                </a:lnTo>
                <a:lnTo>
                  <a:pt x="3797" y="840"/>
                </a:lnTo>
                <a:lnTo>
                  <a:pt x="3839" y="834"/>
                </a:lnTo>
                <a:lnTo>
                  <a:pt x="3839" y="834"/>
                </a:lnTo>
                <a:lnTo>
                  <a:pt x="3677" y="850"/>
                </a:lnTo>
                <a:lnTo>
                  <a:pt x="3677" y="850"/>
                </a:lnTo>
                <a:lnTo>
                  <a:pt x="3679" y="850"/>
                </a:lnTo>
                <a:lnTo>
                  <a:pt x="3675" y="850"/>
                </a:lnTo>
                <a:lnTo>
                  <a:pt x="3661" y="852"/>
                </a:lnTo>
                <a:lnTo>
                  <a:pt x="3629" y="856"/>
                </a:lnTo>
                <a:lnTo>
                  <a:pt x="3627" y="856"/>
                </a:lnTo>
                <a:lnTo>
                  <a:pt x="3627" y="856"/>
                </a:lnTo>
                <a:lnTo>
                  <a:pt x="3591" y="860"/>
                </a:lnTo>
                <a:lnTo>
                  <a:pt x="3579" y="860"/>
                </a:lnTo>
                <a:lnTo>
                  <a:pt x="3579" y="860"/>
                </a:lnTo>
                <a:lnTo>
                  <a:pt x="3573" y="860"/>
                </a:lnTo>
                <a:lnTo>
                  <a:pt x="3564" y="862"/>
                </a:lnTo>
                <a:lnTo>
                  <a:pt x="3564" y="862"/>
                </a:lnTo>
                <a:lnTo>
                  <a:pt x="3490" y="868"/>
                </a:lnTo>
                <a:lnTo>
                  <a:pt x="3452" y="872"/>
                </a:lnTo>
                <a:lnTo>
                  <a:pt x="3432" y="872"/>
                </a:lnTo>
                <a:lnTo>
                  <a:pt x="3432" y="872"/>
                </a:lnTo>
                <a:lnTo>
                  <a:pt x="3354" y="880"/>
                </a:lnTo>
                <a:lnTo>
                  <a:pt x="3354" y="880"/>
                </a:lnTo>
                <a:lnTo>
                  <a:pt x="3366" y="878"/>
                </a:lnTo>
                <a:lnTo>
                  <a:pt x="3366" y="878"/>
                </a:lnTo>
                <a:lnTo>
                  <a:pt x="3248" y="888"/>
                </a:lnTo>
                <a:lnTo>
                  <a:pt x="3131" y="896"/>
                </a:lnTo>
                <a:lnTo>
                  <a:pt x="3131" y="896"/>
                </a:lnTo>
                <a:lnTo>
                  <a:pt x="2991" y="910"/>
                </a:lnTo>
                <a:lnTo>
                  <a:pt x="2991" y="910"/>
                </a:lnTo>
                <a:lnTo>
                  <a:pt x="3023" y="908"/>
                </a:lnTo>
                <a:lnTo>
                  <a:pt x="3031" y="906"/>
                </a:lnTo>
                <a:lnTo>
                  <a:pt x="3023" y="908"/>
                </a:lnTo>
                <a:lnTo>
                  <a:pt x="3023" y="908"/>
                </a:lnTo>
                <a:lnTo>
                  <a:pt x="2961" y="914"/>
                </a:lnTo>
                <a:lnTo>
                  <a:pt x="2961" y="914"/>
                </a:lnTo>
                <a:lnTo>
                  <a:pt x="2939" y="914"/>
                </a:lnTo>
                <a:lnTo>
                  <a:pt x="2931" y="914"/>
                </a:lnTo>
                <a:lnTo>
                  <a:pt x="2947" y="914"/>
                </a:lnTo>
                <a:lnTo>
                  <a:pt x="2947" y="914"/>
                </a:lnTo>
                <a:lnTo>
                  <a:pt x="2927" y="914"/>
                </a:lnTo>
                <a:lnTo>
                  <a:pt x="2893" y="916"/>
                </a:lnTo>
                <a:lnTo>
                  <a:pt x="2861" y="918"/>
                </a:lnTo>
                <a:lnTo>
                  <a:pt x="2847" y="920"/>
                </a:lnTo>
                <a:lnTo>
                  <a:pt x="2847" y="920"/>
                </a:lnTo>
                <a:lnTo>
                  <a:pt x="2801" y="924"/>
                </a:lnTo>
                <a:lnTo>
                  <a:pt x="2743" y="928"/>
                </a:lnTo>
                <a:lnTo>
                  <a:pt x="2743" y="928"/>
                </a:lnTo>
                <a:lnTo>
                  <a:pt x="2759" y="926"/>
                </a:lnTo>
                <a:lnTo>
                  <a:pt x="2779" y="924"/>
                </a:lnTo>
                <a:lnTo>
                  <a:pt x="2749" y="926"/>
                </a:lnTo>
                <a:lnTo>
                  <a:pt x="2749" y="926"/>
                </a:lnTo>
                <a:lnTo>
                  <a:pt x="2749" y="926"/>
                </a:lnTo>
                <a:lnTo>
                  <a:pt x="2688" y="932"/>
                </a:lnTo>
                <a:lnTo>
                  <a:pt x="2644" y="936"/>
                </a:lnTo>
                <a:lnTo>
                  <a:pt x="2646" y="936"/>
                </a:lnTo>
                <a:lnTo>
                  <a:pt x="2622" y="938"/>
                </a:lnTo>
                <a:lnTo>
                  <a:pt x="2650" y="934"/>
                </a:lnTo>
                <a:lnTo>
                  <a:pt x="2650" y="934"/>
                </a:lnTo>
                <a:lnTo>
                  <a:pt x="2552" y="944"/>
                </a:lnTo>
                <a:lnTo>
                  <a:pt x="2546" y="944"/>
                </a:lnTo>
                <a:lnTo>
                  <a:pt x="2522" y="946"/>
                </a:lnTo>
                <a:lnTo>
                  <a:pt x="2522" y="946"/>
                </a:lnTo>
                <a:lnTo>
                  <a:pt x="2524" y="944"/>
                </a:lnTo>
                <a:lnTo>
                  <a:pt x="2524" y="944"/>
                </a:lnTo>
                <a:lnTo>
                  <a:pt x="2474" y="950"/>
                </a:lnTo>
                <a:lnTo>
                  <a:pt x="2426" y="954"/>
                </a:lnTo>
                <a:lnTo>
                  <a:pt x="2426" y="954"/>
                </a:lnTo>
                <a:lnTo>
                  <a:pt x="2400" y="954"/>
                </a:lnTo>
                <a:lnTo>
                  <a:pt x="2372" y="956"/>
                </a:lnTo>
                <a:lnTo>
                  <a:pt x="2376" y="954"/>
                </a:lnTo>
                <a:lnTo>
                  <a:pt x="2376" y="954"/>
                </a:lnTo>
                <a:lnTo>
                  <a:pt x="2414" y="952"/>
                </a:lnTo>
                <a:lnTo>
                  <a:pt x="2456" y="950"/>
                </a:lnTo>
                <a:lnTo>
                  <a:pt x="2456" y="950"/>
                </a:lnTo>
                <a:lnTo>
                  <a:pt x="2410" y="952"/>
                </a:lnTo>
                <a:lnTo>
                  <a:pt x="2346" y="954"/>
                </a:lnTo>
                <a:lnTo>
                  <a:pt x="2209" y="964"/>
                </a:lnTo>
                <a:lnTo>
                  <a:pt x="2209" y="964"/>
                </a:lnTo>
                <a:lnTo>
                  <a:pt x="2095" y="972"/>
                </a:lnTo>
                <a:lnTo>
                  <a:pt x="2043" y="976"/>
                </a:lnTo>
                <a:lnTo>
                  <a:pt x="2009" y="978"/>
                </a:lnTo>
                <a:lnTo>
                  <a:pt x="2017" y="978"/>
                </a:lnTo>
                <a:lnTo>
                  <a:pt x="1907" y="982"/>
                </a:lnTo>
                <a:lnTo>
                  <a:pt x="1907" y="982"/>
                </a:lnTo>
                <a:lnTo>
                  <a:pt x="1768" y="992"/>
                </a:lnTo>
                <a:lnTo>
                  <a:pt x="1646" y="1000"/>
                </a:lnTo>
                <a:lnTo>
                  <a:pt x="1626" y="1000"/>
                </a:lnTo>
                <a:lnTo>
                  <a:pt x="1626" y="1000"/>
                </a:lnTo>
                <a:lnTo>
                  <a:pt x="1556" y="1006"/>
                </a:lnTo>
                <a:lnTo>
                  <a:pt x="1467" y="1010"/>
                </a:lnTo>
                <a:lnTo>
                  <a:pt x="1385" y="1016"/>
                </a:lnTo>
                <a:lnTo>
                  <a:pt x="1327" y="1022"/>
                </a:lnTo>
                <a:lnTo>
                  <a:pt x="1327" y="1022"/>
                </a:lnTo>
                <a:lnTo>
                  <a:pt x="1311" y="1022"/>
                </a:lnTo>
                <a:lnTo>
                  <a:pt x="1319" y="1020"/>
                </a:lnTo>
                <a:lnTo>
                  <a:pt x="1343" y="1018"/>
                </a:lnTo>
                <a:lnTo>
                  <a:pt x="1343" y="1018"/>
                </a:lnTo>
                <a:lnTo>
                  <a:pt x="1287" y="1022"/>
                </a:lnTo>
                <a:lnTo>
                  <a:pt x="1259" y="1024"/>
                </a:lnTo>
                <a:lnTo>
                  <a:pt x="1233" y="1024"/>
                </a:lnTo>
                <a:lnTo>
                  <a:pt x="1233" y="1024"/>
                </a:lnTo>
                <a:lnTo>
                  <a:pt x="1251" y="1024"/>
                </a:lnTo>
                <a:lnTo>
                  <a:pt x="1261" y="1022"/>
                </a:lnTo>
                <a:lnTo>
                  <a:pt x="1257" y="1022"/>
                </a:lnTo>
                <a:lnTo>
                  <a:pt x="1257" y="1022"/>
                </a:lnTo>
                <a:lnTo>
                  <a:pt x="1229" y="1024"/>
                </a:lnTo>
                <a:lnTo>
                  <a:pt x="1199" y="1026"/>
                </a:lnTo>
                <a:lnTo>
                  <a:pt x="1199" y="1026"/>
                </a:lnTo>
                <a:lnTo>
                  <a:pt x="1201" y="1026"/>
                </a:lnTo>
                <a:lnTo>
                  <a:pt x="1197" y="1026"/>
                </a:lnTo>
                <a:lnTo>
                  <a:pt x="1179" y="1028"/>
                </a:lnTo>
                <a:lnTo>
                  <a:pt x="1121" y="1032"/>
                </a:lnTo>
                <a:lnTo>
                  <a:pt x="1121" y="1032"/>
                </a:lnTo>
                <a:lnTo>
                  <a:pt x="1131" y="1032"/>
                </a:lnTo>
                <a:lnTo>
                  <a:pt x="1131" y="1032"/>
                </a:lnTo>
                <a:lnTo>
                  <a:pt x="1121" y="1034"/>
                </a:lnTo>
                <a:lnTo>
                  <a:pt x="1095" y="1034"/>
                </a:lnTo>
                <a:lnTo>
                  <a:pt x="1095" y="1034"/>
                </a:lnTo>
                <a:lnTo>
                  <a:pt x="1099" y="1034"/>
                </a:lnTo>
                <a:lnTo>
                  <a:pt x="1099" y="1034"/>
                </a:lnTo>
                <a:lnTo>
                  <a:pt x="794" y="1050"/>
                </a:lnTo>
                <a:lnTo>
                  <a:pt x="481" y="1064"/>
                </a:lnTo>
                <a:lnTo>
                  <a:pt x="517" y="1062"/>
                </a:lnTo>
                <a:lnTo>
                  <a:pt x="517" y="1062"/>
                </a:lnTo>
                <a:lnTo>
                  <a:pt x="421" y="1066"/>
                </a:lnTo>
                <a:lnTo>
                  <a:pt x="425" y="1066"/>
                </a:lnTo>
                <a:lnTo>
                  <a:pt x="425" y="1066"/>
                </a:lnTo>
                <a:lnTo>
                  <a:pt x="391" y="1066"/>
                </a:lnTo>
                <a:lnTo>
                  <a:pt x="369" y="1068"/>
                </a:lnTo>
                <a:lnTo>
                  <a:pt x="347" y="1071"/>
                </a:lnTo>
                <a:lnTo>
                  <a:pt x="321" y="1071"/>
                </a:lnTo>
                <a:lnTo>
                  <a:pt x="331" y="1068"/>
                </a:lnTo>
                <a:lnTo>
                  <a:pt x="331" y="1068"/>
                </a:lnTo>
                <a:lnTo>
                  <a:pt x="245" y="1073"/>
                </a:lnTo>
                <a:lnTo>
                  <a:pt x="160" y="1075"/>
                </a:lnTo>
                <a:lnTo>
                  <a:pt x="160" y="1075"/>
                </a:lnTo>
                <a:lnTo>
                  <a:pt x="116" y="1077"/>
                </a:lnTo>
                <a:lnTo>
                  <a:pt x="82" y="1077"/>
                </a:lnTo>
                <a:lnTo>
                  <a:pt x="82" y="1077"/>
                </a:lnTo>
                <a:lnTo>
                  <a:pt x="48" y="1079"/>
                </a:lnTo>
                <a:lnTo>
                  <a:pt x="36" y="1079"/>
                </a:lnTo>
                <a:lnTo>
                  <a:pt x="50" y="1079"/>
                </a:lnTo>
                <a:lnTo>
                  <a:pt x="50" y="1079"/>
                </a:lnTo>
                <a:lnTo>
                  <a:pt x="54" y="1079"/>
                </a:lnTo>
                <a:lnTo>
                  <a:pt x="52" y="1079"/>
                </a:lnTo>
                <a:lnTo>
                  <a:pt x="38" y="1081"/>
                </a:lnTo>
                <a:lnTo>
                  <a:pt x="0" y="1083"/>
                </a:lnTo>
                <a:lnTo>
                  <a:pt x="0" y="1083"/>
                </a:lnTo>
                <a:lnTo>
                  <a:pt x="16" y="1085"/>
                </a:lnTo>
                <a:lnTo>
                  <a:pt x="32" y="1087"/>
                </a:lnTo>
                <a:lnTo>
                  <a:pt x="66" y="1087"/>
                </a:lnTo>
                <a:lnTo>
                  <a:pt x="66" y="1087"/>
                </a:lnTo>
                <a:lnTo>
                  <a:pt x="90" y="1085"/>
                </a:lnTo>
                <a:lnTo>
                  <a:pt x="108" y="1087"/>
                </a:lnTo>
                <a:lnTo>
                  <a:pt x="128" y="1087"/>
                </a:lnTo>
                <a:lnTo>
                  <a:pt x="156" y="1085"/>
                </a:lnTo>
                <a:lnTo>
                  <a:pt x="156" y="1085"/>
                </a:lnTo>
                <a:lnTo>
                  <a:pt x="180" y="1085"/>
                </a:lnTo>
                <a:lnTo>
                  <a:pt x="206" y="1083"/>
                </a:lnTo>
                <a:lnTo>
                  <a:pt x="239" y="1083"/>
                </a:lnTo>
                <a:lnTo>
                  <a:pt x="271" y="1081"/>
                </a:lnTo>
                <a:lnTo>
                  <a:pt x="271" y="1081"/>
                </a:lnTo>
                <a:lnTo>
                  <a:pt x="267" y="1081"/>
                </a:lnTo>
                <a:lnTo>
                  <a:pt x="269" y="1081"/>
                </a:lnTo>
                <a:lnTo>
                  <a:pt x="283" y="1081"/>
                </a:lnTo>
                <a:lnTo>
                  <a:pt x="295" y="1081"/>
                </a:lnTo>
                <a:lnTo>
                  <a:pt x="285" y="1083"/>
                </a:lnTo>
                <a:lnTo>
                  <a:pt x="285" y="1083"/>
                </a:lnTo>
                <a:lnTo>
                  <a:pt x="343" y="1081"/>
                </a:lnTo>
                <a:lnTo>
                  <a:pt x="415" y="1077"/>
                </a:lnTo>
                <a:lnTo>
                  <a:pt x="415" y="1077"/>
                </a:lnTo>
                <a:lnTo>
                  <a:pt x="401" y="1079"/>
                </a:lnTo>
                <a:lnTo>
                  <a:pt x="401" y="1079"/>
                </a:lnTo>
                <a:lnTo>
                  <a:pt x="441" y="1077"/>
                </a:lnTo>
                <a:lnTo>
                  <a:pt x="471" y="1077"/>
                </a:lnTo>
                <a:lnTo>
                  <a:pt x="471" y="1075"/>
                </a:lnTo>
                <a:lnTo>
                  <a:pt x="471" y="1075"/>
                </a:lnTo>
                <a:lnTo>
                  <a:pt x="501" y="1075"/>
                </a:lnTo>
                <a:lnTo>
                  <a:pt x="501" y="1075"/>
                </a:lnTo>
                <a:lnTo>
                  <a:pt x="483" y="1075"/>
                </a:lnTo>
                <a:lnTo>
                  <a:pt x="479" y="1075"/>
                </a:lnTo>
                <a:lnTo>
                  <a:pt x="481" y="1075"/>
                </a:lnTo>
                <a:lnTo>
                  <a:pt x="481" y="1075"/>
                </a:lnTo>
                <a:lnTo>
                  <a:pt x="529" y="1071"/>
                </a:lnTo>
                <a:lnTo>
                  <a:pt x="529" y="1071"/>
                </a:lnTo>
                <a:lnTo>
                  <a:pt x="509" y="1073"/>
                </a:lnTo>
                <a:lnTo>
                  <a:pt x="509" y="1073"/>
                </a:lnTo>
                <a:lnTo>
                  <a:pt x="551" y="1073"/>
                </a:lnTo>
                <a:lnTo>
                  <a:pt x="551" y="1073"/>
                </a:lnTo>
                <a:lnTo>
                  <a:pt x="507" y="1075"/>
                </a:lnTo>
                <a:lnTo>
                  <a:pt x="507" y="1075"/>
                </a:lnTo>
                <a:lnTo>
                  <a:pt x="531" y="1075"/>
                </a:lnTo>
                <a:lnTo>
                  <a:pt x="527" y="1075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5"/>
                </a:lnTo>
                <a:lnTo>
                  <a:pt x="541" y="1075"/>
                </a:lnTo>
                <a:lnTo>
                  <a:pt x="559" y="1075"/>
                </a:lnTo>
                <a:lnTo>
                  <a:pt x="607" y="1071"/>
                </a:lnTo>
                <a:lnTo>
                  <a:pt x="607" y="1071"/>
                </a:lnTo>
                <a:lnTo>
                  <a:pt x="599" y="1073"/>
                </a:lnTo>
                <a:lnTo>
                  <a:pt x="581" y="1073"/>
                </a:lnTo>
                <a:lnTo>
                  <a:pt x="581" y="1073"/>
                </a:lnTo>
                <a:lnTo>
                  <a:pt x="617" y="1073"/>
                </a:lnTo>
                <a:lnTo>
                  <a:pt x="650" y="1073"/>
                </a:lnTo>
                <a:lnTo>
                  <a:pt x="686" y="1068"/>
                </a:lnTo>
                <a:lnTo>
                  <a:pt x="730" y="1066"/>
                </a:lnTo>
                <a:lnTo>
                  <a:pt x="730" y="1066"/>
                </a:lnTo>
                <a:lnTo>
                  <a:pt x="716" y="1068"/>
                </a:lnTo>
                <a:lnTo>
                  <a:pt x="716" y="1068"/>
                </a:lnTo>
                <a:lnTo>
                  <a:pt x="758" y="1066"/>
                </a:lnTo>
                <a:lnTo>
                  <a:pt x="792" y="1064"/>
                </a:lnTo>
                <a:lnTo>
                  <a:pt x="792" y="1064"/>
                </a:lnTo>
                <a:lnTo>
                  <a:pt x="806" y="1064"/>
                </a:lnTo>
                <a:lnTo>
                  <a:pt x="812" y="1064"/>
                </a:lnTo>
                <a:lnTo>
                  <a:pt x="844" y="1064"/>
                </a:lnTo>
                <a:lnTo>
                  <a:pt x="844" y="1064"/>
                </a:lnTo>
                <a:lnTo>
                  <a:pt x="842" y="1064"/>
                </a:lnTo>
                <a:lnTo>
                  <a:pt x="848" y="1064"/>
                </a:lnTo>
                <a:lnTo>
                  <a:pt x="866" y="1062"/>
                </a:lnTo>
                <a:lnTo>
                  <a:pt x="890" y="1062"/>
                </a:lnTo>
                <a:lnTo>
                  <a:pt x="902" y="1060"/>
                </a:lnTo>
                <a:lnTo>
                  <a:pt x="938" y="1060"/>
                </a:lnTo>
                <a:lnTo>
                  <a:pt x="938" y="1060"/>
                </a:lnTo>
                <a:lnTo>
                  <a:pt x="950" y="1058"/>
                </a:lnTo>
                <a:lnTo>
                  <a:pt x="952" y="1056"/>
                </a:lnTo>
                <a:lnTo>
                  <a:pt x="960" y="1054"/>
                </a:lnTo>
                <a:lnTo>
                  <a:pt x="992" y="1052"/>
                </a:lnTo>
                <a:lnTo>
                  <a:pt x="992" y="1052"/>
                </a:lnTo>
                <a:lnTo>
                  <a:pt x="1016" y="1052"/>
                </a:lnTo>
                <a:lnTo>
                  <a:pt x="1016" y="1052"/>
                </a:lnTo>
                <a:lnTo>
                  <a:pt x="1014" y="1054"/>
                </a:lnTo>
                <a:lnTo>
                  <a:pt x="1008" y="1056"/>
                </a:lnTo>
                <a:lnTo>
                  <a:pt x="1020" y="1056"/>
                </a:lnTo>
                <a:lnTo>
                  <a:pt x="1034" y="1054"/>
                </a:lnTo>
                <a:lnTo>
                  <a:pt x="1063" y="1054"/>
                </a:lnTo>
                <a:lnTo>
                  <a:pt x="1057" y="1054"/>
                </a:lnTo>
                <a:lnTo>
                  <a:pt x="1057" y="1054"/>
                </a:lnTo>
                <a:lnTo>
                  <a:pt x="1105" y="1052"/>
                </a:lnTo>
                <a:lnTo>
                  <a:pt x="1105" y="1052"/>
                </a:lnTo>
                <a:lnTo>
                  <a:pt x="1081" y="1054"/>
                </a:lnTo>
                <a:lnTo>
                  <a:pt x="1081" y="1054"/>
                </a:lnTo>
                <a:lnTo>
                  <a:pt x="1151" y="1052"/>
                </a:lnTo>
                <a:lnTo>
                  <a:pt x="1191" y="1050"/>
                </a:lnTo>
                <a:lnTo>
                  <a:pt x="1221" y="1046"/>
                </a:lnTo>
                <a:lnTo>
                  <a:pt x="1221" y="1046"/>
                </a:lnTo>
                <a:lnTo>
                  <a:pt x="1251" y="1046"/>
                </a:lnTo>
                <a:lnTo>
                  <a:pt x="1267" y="1046"/>
                </a:lnTo>
                <a:lnTo>
                  <a:pt x="1267" y="1046"/>
                </a:lnTo>
                <a:lnTo>
                  <a:pt x="1313" y="1044"/>
                </a:lnTo>
                <a:lnTo>
                  <a:pt x="1363" y="1040"/>
                </a:lnTo>
                <a:lnTo>
                  <a:pt x="1363" y="1040"/>
                </a:lnTo>
                <a:lnTo>
                  <a:pt x="1373" y="1040"/>
                </a:lnTo>
                <a:lnTo>
                  <a:pt x="1397" y="1040"/>
                </a:lnTo>
                <a:lnTo>
                  <a:pt x="1397" y="1040"/>
                </a:lnTo>
                <a:lnTo>
                  <a:pt x="1387" y="1040"/>
                </a:lnTo>
                <a:lnTo>
                  <a:pt x="1405" y="1038"/>
                </a:lnTo>
                <a:lnTo>
                  <a:pt x="1405" y="1038"/>
                </a:lnTo>
                <a:lnTo>
                  <a:pt x="1451" y="1036"/>
                </a:lnTo>
                <a:lnTo>
                  <a:pt x="1488" y="1034"/>
                </a:lnTo>
                <a:lnTo>
                  <a:pt x="1488" y="1034"/>
                </a:lnTo>
                <a:lnTo>
                  <a:pt x="1510" y="1032"/>
                </a:lnTo>
                <a:lnTo>
                  <a:pt x="1512" y="1030"/>
                </a:lnTo>
                <a:lnTo>
                  <a:pt x="1514" y="1030"/>
                </a:lnTo>
                <a:lnTo>
                  <a:pt x="1514" y="1030"/>
                </a:lnTo>
                <a:lnTo>
                  <a:pt x="1562" y="1028"/>
                </a:lnTo>
                <a:lnTo>
                  <a:pt x="1582" y="1028"/>
                </a:lnTo>
                <a:lnTo>
                  <a:pt x="1588" y="1028"/>
                </a:lnTo>
                <a:lnTo>
                  <a:pt x="1586" y="1028"/>
                </a:lnTo>
                <a:lnTo>
                  <a:pt x="1586" y="1028"/>
                </a:lnTo>
                <a:lnTo>
                  <a:pt x="1554" y="1030"/>
                </a:lnTo>
                <a:lnTo>
                  <a:pt x="1540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62" y="1030"/>
                </a:lnTo>
                <a:lnTo>
                  <a:pt x="1580" y="1030"/>
                </a:lnTo>
                <a:lnTo>
                  <a:pt x="1580" y="1030"/>
                </a:lnTo>
                <a:lnTo>
                  <a:pt x="1586" y="1030"/>
                </a:lnTo>
                <a:lnTo>
                  <a:pt x="1592" y="1030"/>
                </a:lnTo>
                <a:lnTo>
                  <a:pt x="1592" y="1030"/>
                </a:lnTo>
                <a:lnTo>
                  <a:pt x="1652" y="1028"/>
                </a:lnTo>
                <a:lnTo>
                  <a:pt x="1652" y="1028"/>
                </a:lnTo>
                <a:lnTo>
                  <a:pt x="1640" y="1028"/>
                </a:lnTo>
                <a:lnTo>
                  <a:pt x="1648" y="1026"/>
                </a:lnTo>
                <a:lnTo>
                  <a:pt x="1656" y="1026"/>
                </a:lnTo>
                <a:lnTo>
                  <a:pt x="1652" y="1024"/>
                </a:lnTo>
                <a:lnTo>
                  <a:pt x="1620" y="1028"/>
                </a:lnTo>
                <a:lnTo>
                  <a:pt x="1620" y="1028"/>
                </a:lnTo>
                <a:lnTo>
                  <a:pt x="1598" y="1028"/>
                </a:lnTo>
                <a:lnTo>
                  <a:pt x="1600" y="1028"/>
                </a:lnTo>
                <a:lnTo>
                  <a:pt x="1596" y="1028"/>
                </a:lnTo>
                <a:lnTo>
                  <a:pt x="1596" y="1028"/>
                </a:lnTo>
                <a:lnTo>
                  <a:pt x="1660" y="1022"/>
                </a:lnTo>
                <a:lnTo>
                  <a:pt x="1720" y="1018"/>
                </a:lnTo>
                <a:lnTo>
                  <a:pt x="1760" y="1016"/>
                </a:lnTo>
                <a:lnTo>
                  <a:pt x="1760" y="1016"/>
                </a:lnTo>
                <a:lnTo>
                  <a:pt x="1746" y="1018"/>
                </a:lnTo>
                <a:lnTo>
                  <a:pt x="1756" y="1018"/>
                </a:lnTo>
                <a:lnTo>
                  <a:pt x="1756" y="1018"/>
                </a:lnTo>
                <a:lnTo>
                  <a:pt x="1806" y="1016"/>
                </a:lnTo>
                <a:lnTo>
                  <a:pt x="1854" y="1014"/>
                </a:lnTo>
                <a:lnTo>
                  <a:pt x="1854" y="1014"/>
                </a:lnTo>
                <a:lnTo>
                  <a:pt x="1838" y="1014"/>
                </a:lnTo>
                <a:lnTo>
                  <a:pt x="1850" y="1012"/>
                </a:lnTo>
                <a:lnTo>
                  <a:pt x="1850" y="1012"/>
                </a:lnTo>
                <a:lnTo>
                  <a:pt x="1891" y="1010"/>
                </a:lnTo>
                <a:lnTo>
                  <a:pt x="1893" y="1010"/>
                </a:lnTo>
                <a:lnTo>
                  <a:pt x="1905" y="1010"/>
                </a:lnTo>
                <a:lnTo>
                  <a:pt x="1905" y="1010"/>
                </a:lnTo>
                <a:lnTo>
                  <a:pt x="2031" y="1004"/>
                </a:lnTo>
                <a:lnTo>
                  <a:pt x="2145" y="996"/>
                </a:lnTo>
                <a:lnTo>
                  <a:pt x="2107" y="998"/>
                </a:lnTo>
                <a:lnTo>
                  <a:pt x="2095" y="1000"/>
                </a:lnTo>
                <a:lnTo>
                  <a:pt x="2095" y="1000"/>
                </a:lnTo>
                <a:lnTo>
                  <a:pt x="2083" y="1000"/>
                </a:lnTo>
                <a:lnTo>
                  <a:pt x="2089" y="998"/>
                </a:lnTo>
                <a:lnTo>
                  <a:pt x="2117" y="994"/>
                </a:lnTo>
                <a:lnTo>
                  <a:pt x="2117" y="994"/>
                </a:lnTo>
                <a:lnTo>
                  <a:pt x="2141" y="992"/>
                </a:lnTo>
                <a:lnTo>
                  <a:pt x="2153" y="992"/>
                </a:lnTo>
                <a:lnTo>
                  <a:pt x="2149" y="992"/>
                </a:lnTo>
                <a:lnTo>
                  <a:pt x="2197" y="988"/>
                </a:lnTo>
                <a:lnTo>
                  <a:pt x="2197" y="988"/>
                </a:lnTo>
                <a:lnTo>
                  <a:pt x="2179" y="990"/>
                </a:lnTo>
                <a:lnTo>
                  <a:pt x="2173" y="990"/>
                </a:lnTo>
                <a:lnTo>
                  <a:pt x="2181" y="988"/>
                </a:lnTo>
                <a:lnTo>
                  <a:pt x="2181" y="988"/>
                </a:lnTo>
                <a:lnTo>
                  <a:pt x="2215" y="986"/>
                </a:lnTo>
                <a:lnTo>
                  <a:pt x="2225" y="986"/>
                </a:lnTo>
                <a:lnTo>
                  <a:pt x="2215" y="988"/>
                </a:lnTo>
                <a:lnTo>
                  <a:pt x="2215" y="988"/>
                </a:lnTo>
                <a:lnTo>
                  <a:pt x="2253" y="986"/>
                </a:lnTo>
                <a:lnTo>
                  <a:pt x="2267" y="984"/>
                </a:lnTo>
                <a:lnTo>
                  <a:pt x="2267" y="984"/>
                </a:lnTo>
                <a:lnTo>
                  <a:pt x="2283" y="982"/>
                </a:lnTo>
                <a:lnTo>
                  <a:pt x="2277" y="984"/>
                </a:lnTo>
                <a:lnTo>
                  <a:pt x="2245" y="988"/>
                </a:lnTo>
                <a:lnTo>
                  <a:pt x="2245" y="988"/>
                </a:lnTo>
                <a:lnTo>
                  <a:pt x="2269" y="986"/>
                </a:lnTo>
                <a:lnTo>
                  <a:pt x="2263" y="988"/>
                </a:lnTo>
                <a:lnTo>
                  <a:pt x="2307" y="986"/>
                </a:lnTo>
                <a:lnTo>
                  <a:pt x="2307" y="986"/>
                </a:lnTo>
                <a:lnTo>
                  <a:pt x="2287" y="988"/>
                </a:lnTo>
                <a:lnTo>
                  <a:pt x="2287" y="988"/>
                </a:lnTo>
                <a:lnTo>
                  <a:pt x="2328" y="986"/>
                </a:lnTo>
                <a:lnTo>
                  <a:pt x="2364" y="984"/>
                </a:lnTo>
                <a:lnTo>
                  <a:pt x="2374" y="982"/>
                </a:lnTo>
                <a:lnTo>
                  <a:pt x="2374" y="982"/>
                </a:lnTo>
                <a:lnTo>
                  <a:pt x="2522" y="972"/>
                </a:lnTo>
                <a:lnTo>
                  <a:pt x="2510" y="972"/>
                </a:lnTo>
                <a:lnTo>
                  <a:pt x="2510" y="972"/>
                </a:lnTo>
                <a:lnTo>
                  <a:pt x="2542" y="970"/>
                </a:lnTo>
                <a:lnTo>
                  <a:pt x="2562" y="968"/>
                </a:lnTo>
                <a:lnTo>
                  <a:pt x="2584" y="968"/>
                </a:lnTo>
                <a:lnTo>
                  <a:pt x="2628" y="964"/>
                </a:lnTo>
                <a:lnTo>
                  <a:pt x="2628" y="964"/>
                </a:lnTo>
                <a:lnTo>
                  <a:pt x="2678" y="960"/>
                </a:lnTo>
                <a:lnTo>
                  <a:pt x="2690" y="958"/>
                </a:lnTo>
                <a:lnTo>
                  <a:pt x="2694" y="958"/>
                </a:lnTo>
                <a:lnTo>
                  <a:pt x="2692" y="958"/>
                </a:lnTo>
                <a:lnTo>
                  <a:pt x="2692" y="958"/>
                </a:lnTo>
                <a:lnTo>
                  <a:pt x="2718" y="956"/>
                </a:lnTo>
                <a:lnTo>
                  <a:pt x="2735" y="956"/>
                </a:lnTo>
                <a:lnTo>
                  <a:pt x="2735" y="956"/>
                </a:lnTo>
                <a:lnTo>
                  <a:pt x="2777" y="950"/>
                </a:lnTo>
                <a:lnTo>
                  <a:pt x="2827" y="946"/>
                </a:lnTo>
                <a:lnTo>
                  <a:pt x="2771" y="952"/>
                </a:lnTo>
                <a:lnTo>
                  <a:pt x="2771" y="952"/>
                </a:lnTo>
                <a:lnTo>
                  <a:pt x="2809" y="950"/>
                </a:lnTo>
                <a:lnTo>
                  <a:pt x="2869" y="946"/>
                </a:lnTo>
                <a:lnTo>
                  <a:pt x="3003" y="932"/>
                </a:lnTo>
                <a:lnTo>
                  <a:pt x="3003" y="932"/>
                </a:lnTo>
                <a:lnTo>
                  <a:pt x="2993" y="932"/>
                </a:lnTo>
                <a:lnTo>
                  <a:pt x="2993" y="930"/>
                </a:lnTo>
                <a:lnTo>
                  <a:pt x="2995" y="930"/>
                </a:lnTo>
                <a:lnTo>
                  <a:pt x="3027" y="926"/>
                </a:lnTo>
                <a:lnTo>
                  <a:pt x="3027" y="926"/>
                </a:lnTo>
                <a:lnTo>
                  <a:pt x="3053" y="924"/>
                </a:lnTo>
                <a:lnTo>
                  <a:pt x="3101" y="922"/>
                </a:lnTo>
                <a:lnTo>
                  <a:pt x="3101" y="922"/>
                </a:lnTo>
                <a:lnTo>
                  <a:pt x="3099" y="922"/>
                </a:lnTo>
                <a:lnTo>
                  <a:pt x="3103" y="922"/>
                </a:lnTo>
                <a:lnTo>
                  <a:pt x="3117" y="922"/>
                </a:lnTo>
                <a:lnTo>
                  <a:pt x="3125" y="922"/>
                </a:lnTo>
                <a:lnTo>
                  <a:pt x="3105" y="924"/>
                </a:lnTo>
                <a:lnTo>
                  <a:pt x="3105" y="924"/>
                </a:lnTo>
                <a:lnTo>
                  <a:pt x="3085" y="924"/>
                </a:lnTo>
                <a:lnTo>
                  <a:pt x="3061" y="926"/>
                </a:lnTo>
                <a:lnTo>
                  <a:pt x="3061" y="926"/>
                </a:lnTo>
                <a:lnTo>
                  <a:pt x="3141" y="922"/>
                </a:lnTo>
                <a:lnTo>
                  <a:pt x="3141" y="922"/>
                </a:lnTo>
                <a:lnTo>
                  <a:pt x="3103" y="926"/>
                </a:lnTo>
                <a:lnTo>
                  <a:pt x="3103" y="926"/>
                </a:lnTo>
                <a:lnTo>
                  <a:pt x="3109" y="926"/>
                </a:lnTo>
                <a:lnTo>
                  <a:pt x="3105" y="926"/>
                </a:lnTo>
              </a:path>
            </a:pathLst>
          </a:custGeom>
          <a:solidFill>
            <a:schemeClr val="bg1">
              <a:alpha val="6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21" name="Freeform 158"/>
          <p:cNvSpPr>
            <a:spLocks/>
          </p:cNvSpPr>
          <p:nvPr userDrawn="1"/>
        </p:nvSpPr>
        <p:spPr bwMode="auto">
          <a:xfrm>
            <a:off x="-6670675" y="5675313"/>
            <a:ext cx="13331825" cy="1546225"/>
          </a:xfrm>
          <a:custGeom>
            <a:avLst/>
            <a:gdLst>
              <a:gd name="T0" fmla="*/ 3394 w 8398"/>
              <a:gd name="T1" fmla="*/ 800 h 974"/>
              <a:gd name="T2" fmla="*/ 3595 w 8398"/>
              <a:gd name="T3" fmla="*/ 784 h 974"/>
              <a:gd name="T4" fmla="*/ 3671 w 8398"/>
              <a:gd name="T5" fmla="*/ 772 h 974"/>
              <a:gd name="T6" fmla="*/ 3773 w 8398"/>
              <a:gd name="T7" fmla="*/ 766 h 974"/>
              <a:gd name="T8" fmla="*/ 4166 w 8398"/>
              <a:gd name="T9" fmla="*/ 727 h 974"/>
              <a:gd name="T10" fmla="*/ 4386 w 8398"/>
              <a:gd name="T11" fmla="*/ 705 h 974"/>
              <a:gd name="T12" fmla="*/ 4535 w 8398"/>
              <a:gd name="T13" fmla="*/ 689 h 974"/>
              <a:gd name="T14" fmla="*/ 4827 w 8398"/>
              <a:gd name="T15" fmla="*/ 657 h 974"/>
              <a:gd name="T16" fmla="*/ 4914 w 8398"/>
              <a:gd name="T17" fmla="*/ 651 h 974"/>
              <a:gd name="T18" fmla="*/ 5134 w 8398"/>
              <a:gd name="T19" fmla="*/ 627 h 974"/>
              <a:gd name="T20" fmla="*/ 5451 w 8398"/>
              <a:gd name="T21" fmla="*/ 597 h 974"/>
              <a:gd name="T22" fmla="*/ 5619 w 8398"/>
              <a:gd name="T23" fmla="*/ 575 h 974"/>
              <a:gd name="T24" fmla="*/ 5852 w 8398"/>
              <a:gd name="T25" fmla="*/ 547 h 974"/>
              <a:gd name="T26" fmla="*/ 5954 w 8398"/>
              <a:gd name="T27" fmla="*/ 535 h 974"/>
              <a:gd name="T28" fmla="*/ 6091 w 8398"/>
              <a:gd name="T29" fmla="*/ 521 h 974"/>
              <a:gd name="T30" fmla="*/ 6556 w 8398"/>
              <a:gd name="T31" fmla="*/ 445 h 974"/>
              <a:gd name="T32" fmla="*/ 6971 w 8398"/>
              <a:gd name="T33" fmla="*/ 369 h 974"/>
              <a:gd name="T34" fmla="*/ 6782 w 8398"/>
              <a:gd name="T35" fmla="*/ 403 h 974"/>
              <a:gd name="T36" fmla="*/ 6953 w 8398"/>
              <a:gd name="T37" fmla="*/ 365 h 974"/>
              <a:gd name="T38" fmla="*/ 7229 w 8398"/>
              <a:gd name="T39" fmla="*/ 313 h 974"/>
              <a:gd name="T40" fmla="*/ 7331 w 8398"/>
              <a:gd name="T41" fmla="*/ 284 h 974"/>
              <a:gd name="T42" fmla="*/ 7648 w 8398"/>
              <a:gd name="T43" fmla="*/ 210 h 974"/>
              <a:gd name="T44" fmla="*/ 7835 w 8398"/>
              <a:gd name="T45" fmla="*/ 158 h 974"/>
              <a:gd name="T46" fmla="*/ 8115 w 8398"/>
              <a:gd name="T47" fmla="*/ 86 h 974"/>
              <a:gd name="T48" fmla="*/ 8089 w 8398"/>
              <a:gd name="T49" fmla="*/ 88 h 974"/>
              <a:gd name="T50" fmla="*/ 8049 w 8398"/>
              <a:gd name="T51" fmla="*/ 88 h 974"/>
              <a:gd name="T52" fmla="*/ 8318 w 8398"/>
              <a:gd name="T53" fmla="*/ 26 h 974"/>
              <a:gd name="T54" fmla="*/ 8228 w 8398"/>
              <a:gd name="T55" fmla="*/ 42 h 974"/>
              <a:gd name="T56" fmla="*/ 8358 w 8398"/>
              <a:gd name="T57" fmla="*/ 4 h 974"/>
              <a:gd name="T58" fmla="*/ 8121 w 8398"/>
              <a:gd name="T59" fmla="*/ 66 h 974"/>
              <a:gd name="T60" fmla="*/ 8043 w 8398"/>
              <a:gd name="T61" fmla="*/ 88 h 974"/>
              <a:gd name="T62" fmla="*/ 7704 w 8398"/>
              <a:gd name="T63" fmla="*/ 180 h 974"/>
              <a:gd name="T64" fmla="*/ 7404 w 8398"/>
              <a:gd name="T65" fmla="*/ 256 h 974"/>
              <a:gd name="T66" fmla="*/ 7504 w 8398"/>
              <a:gd name="T67" fmla="*/ 224 h 974"/>
              <a:gd name="T68" fmla="*/ 7217 w 8398"/>
              <a:gd name="T69" fmla="*/ 292 h 974"/>
              <a:gd name="T70" fmla="*/ 6997 w 8398"/>
              <a:gd name="T71" fmla="*/ 343 h 974"/>
              <a:gd name="T72" fmla="*/ 6876 w 8398"/>
              <a:gd name="T73" fmla="*/ 365 h 974"/>
              <a:gd name="T74" fmla="*/ 6606 w 8398"/>
              <a:gd name="T75" fmla="*/ 415 h 974"/>
              <a:gd name="T76" fmla="*/ 6287 w 8398"/>
              <a:gd name="T77" fmla="*/ 467 h 974"/>
              <a:gd name="T78" fmla="*/ 5770 w 8398"/>
              <a:gd name="T79" fmla="*/ 535 h 974"/>
              <a:gd name="T80" fmla="*/ 5800 w 8398"/>
              <a:gd name="T81" fmla="*/ 539 h 974"/>
              <a:gd name="T82" fmla="*/ 5672 w 8398"/>
              <a:gd name="T83" fmla="*/ 551 h 974"/>
              <a:gd name="T84" fmla="*/ 5359 w 8398"/>
              <a:gd name="T85" fmla="*/ 579 h 974"/>
              <a:gd name="T86" fmla="*/ 4300 w 8398"/>
              <a:gd name="T87" fmla="*/ 687 h 974"/>
              <a:gd name="T88" fmla="*/ 3835 w 8398"/>
              <a:gd name="T89" fmla="*/ 733 h 974"/>
              <a:gd name="T90" fmla="*/ 3556 w 8398"/>
              <a:gd name="T91" fmla="*/ 758 h 974"/>
              <a:gd name="T92" fmla="*/ 2941 w 8398"/>
              <a:gd name="T93" fmla="*/ 812 h 974"/>
              <a:gd name="T94" fmla="*/ 2518 w 8398"/>
              <a:gd name="T95" fmla="*/ 846 h 974"/>
              <a:gd name="T96" fmla="*/ 1622 w 8398"/>
              <a:gd name="T97" fmla="*/ 904 h 974"/>
              <a:gd name="T98" fmla="*/ 1175 w 8398"/>
              <a:gd name="T99" fmla="*/ 934 h 974"/>
              <a:gd name="T100" fmla="*/ 327 w 8398"/>
              <a:gd name="T101" fmla="*/ 962 h 974"/>
              <a:gd name="T102" fmla="*/ 6 w 8398"/>
              <a:gd name="T103" fmla="*/ 954 h 974"/>
              <a:gd name="T104" fmla="*/ 411 w 8398"/>
              <a:gd name="T105" fmla="*/ 972 h 974"/>
              <a:gd name="T106" fmla="*/ 531 w 8398"/>
              <a:gd name="T107" fmla="*/ 974 h 974"/>
              <a:gd name="T108" fmla="*/ 844 w 8398"/>
              <a:gd name="T109" fmla="*/ 966 h 974"/>
              <a:gd name="T110" fmla="*/ 1147 w 8398"/>
              <a:gd name="T111" fmla="*/ 956 h 974"/>
              <a:gd name="T112" fmla="*/ 1578 w 8398"/>
              <a:gd name="T113" fmla="*/ 932 h 974"/>
              <a:gd name="T114" fmla="*/ 1596 w 8398"/>
              <a:gd name="T115" fmla="*/ 934 h 974"/>
              <a:gd name="T116" fmla="*/ 2089 w 8398"/>
              <a:gd name="T117" fmla="*/ 902 h 974"/>
              <a:gd name="T118" fmla="*/ 2239 w 8398"/>
              <a:gd name="T119" fmla="*/ 890 h 974"/>
              <a:gd name="T120" fmla="*/ 2712 w 8398"/>
              <a:gd name="T121" fmla="*/ 854 h 974"/>
              <a:gd name="T122" fmla="*/ 3097 w 8398"/>
              <a:gd name="T123" fmla="*/ 822 h 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98" h="974">
                <a:moveTo>
                  <a:pt x="3099" y="822"/>
                </a:moveTo>
                <a:lnTo>
                  <a:pt x="3099" y="822"/>
                </a:lnTo>
                <a:lnTo>
                  <a:pt x="3073" y="826"/>
                </a:lnTo>
                <a:lnTo>
                  <a:pt x="3081" y="826"/>
                </a:lnTo>
                <a:lnTo>
                  <a:pt x="3097" y="826"/>
                </a:lnTo>
                <a:lnTo>
                  <a:pt x="3103" y="826"/>
                </a:lnTo>
                <a:lnTo>
                  <a:pt x="3103" y="826"/>
                </a:lnTo>
                <a:lnTo>
                  <a:pt x="3133" y="824"/>
                </a:lnTo>
                <a:lnTo>
                  <a:pt x="3143" y="822"/>
                </a:lnTo>
                <a:lnTo>
                  <a:pt x="3139" y="822"/>
                </a:lnTo>
                <a:lnTo>
                  <a:pt x="3139" y="822"/>
                </a:lnTo>
                <a:lnTo>
                  <a:pt x="3170" y="820"/>
                </a:lnTo>
                <a:lnTo>
                  <a:pt x="3208" y="816"/>
                </a:lnTo>
                <a:lnTo>
                  <a:pt x="3246" y="814"/>
                </a:lnTo>
                <a:lnTo>
                  <a:pt x="3278" y="812"/>
                </a:lnTo>
                <a:lnTo>
                  <a:pt x="3278" y="812"/>
                </a:lnTo>
                <a:lnTo>
                  <a:pt x="3272" y="810"/>
                </a:lnTo>
                <a:lnTo>
                  <a:pt x="3282" y="808"/>
                </a:lnTo>
                <a:lnTo>
                  <a:pt x="3282" y="808"/>
                </a:lnTo>
                <a:lnTo>
                  <a:pt x="3316" y="806"/>
                </a:lnTo>
                <a:lnTo>
                  <a:pt x="3332" y="806"/>
                </a:lnTo>
                <a:lnTo>
                  <a:pt x="3332" y="806"/>
                </a:lnTo>
                <a:lnTo>
                  <a:pt x="3394" y="800"/>
                </a:lnTo>
                <a:lnTo>
                  <a:pt x="3394" y="800"/>
                </a:lnTo>
                <a:lnTo>
                  <a:pt x="3402" y="798"/>
                </a:lnTo>
                <a:lnTo>
                  <a:pt x="3396" y="798"/>
                </a:lnTo>
                <a:lnTo>
                  <a:pt x="3390" y="798"/>
                </a:lnTo>
                <a:lnTo>
                  <a:pt x="3402" y="796"/>
                </a:lnTo>
                <a:lnTo>
                  <a:pt x="3402" y="796"/>
                </a:lnTo>
                <a:lnTo>
                  <a:pt x="3442" y="792"/>
                </a:lnTo>
                <a:lnTo>
                  <a:pt x="3486" y="788"/>
                </a:lnTo>
                <a:lnTo>
                  <a:pt x="3486" y="788"/>
                </a:lnTo>
                <a:lnTo>
                  <a:pt x="3494" y="788"/>
                </a:lnTo>
                <a:lnTo>
                  <a:pt x="3480" y="790"/>
                </a:lnTo>
                <a:lnTo>
                  <a:pt x="3438" y="794"/>
                </a:lnTo>
                <a:lnTo>
                  <a:pt x="3532" y="784"/>
                </a:lnTo>
                <a:lnTo>
                  <a:pt x="3532" y="784"/>
                </a:lnTo>
                <a:lnTo>
                  <a:pt x="3542" y="784"/>
                </a:lnTo>
                <a:lnTo>
                  <a:pt x="3534" y="786"/>
                </a:lnTo>
                <a:lnTo>
                  <a:pt x="3492" y="790"/>
                </a:lnTo>
                <a:lnTo>
                  <a:pt x="3492" y="790"/>
                </a:lnTo>
                <a:lnTo>
                  <a:pt x="3552" y="784"/>
                </a:lnTo>
                <a:lnTo>
                  <a:pt x="3591" y="780"/>
                </a:lnTo>
                <a:lnTo>
                  <a:pt x="3591" y="780"/>
                </a:lnTo>
                <a:lnTo>
                  <a:pt x="3649" y="774"/>
                </a:lnTo>
                <a:lnTo>
                  <a:pt x="3649" y="774"/>
                </a:lnTo>
                <a:lnTo>
                  <a:pt x="3627" y="778"/>
                </a:lnTo>
                <a:lnTo>
                  <a:pt x="3595" y="784"/>
                </a:lnTo>
                <a:lnTo>
                  <a:pt x="3595" y="784"/>
                </a:lnTo>
                <a:lnTo>
                  <a:pt x="3573" y="784"/>
                </a:lnTo>
                <a:lnTo>
                  <a:pt x="3577" y="784"/>
                </a:lnTo>
                <a:lnTo>
                  <a:pt x="3583" y="782"/>
                </a:lnTo>
                <a:lnTo>
                  <a:pt x="3566" y="784"/>
                </a:lnTo>
                <a:lnTo>
                  <a:pt x="3562" y="786"/>
                </a:lnTo>
                <a:lnTo>
                  <a:pt x="3562" y="786"/>
                </a:lnTo>
                <a:lnTo>
                  <a:pt x="3532" y="788"/>
                </a:lnTo>
                <a:lnTo>
                  <a:pt x="3502" y="790"/>
                </a:lnTo>
                <a:lnTo>
                  <a:pt x="3502" y="790"/>
                </a:lnTo>
                <a:lnTo>
                  <a:pt x="3496" y="790"/>
                </a:lnTo>
                <a:lnTo>
                  <a:pt x="3500" y="790"/>
                </a:lnTo>
                <a:lnTo>
                  <a:pt x="3512" y="790"/>
                </a:lnTo>
                <a:lnTo>
                  <a:pt x="3512" y="790"/>
                </a:lnTo>
                <a:lnTo>
                  <a:pt x="3458" y="794"/>
                </a:lnTo>
                <a:lnTo>
                  <a:pt x="3410" y="800"/>
                </a:lnTo>
                <a:lnTo>
                  <a:pt x="3410" y="800"/>
                </a:lnTo>
                <a:lnTo>
                  <a:pt x="3502" y="792"/>
                </a:lnTo>
                <a:lnTo>
                  <a:pt x="3571" y="786"/>
                </a:lnTo>
                <a:lnTo>
                  <a:pt x="3679" y="774"/>
                </a:lnTo>
                <a:lnTo>
                  <a:pt x="3679" y="774"/>
                </a:lnTo>
                <a:lnTo>
                  <a:pt x="3663" y="774"/>
                </a:lnTo>
                <a:lnTo>
                  <a:pt x="3659" y="774"/>
                </a:lnTo>
                <a:lnTo>
                  <a:pt x="3671" y="772"/>
                </a:lnTo>
                <a:lnTo>
                  <a:pt x="3671" y="772"/>
                </a:lnTo>
                <a:lnTo>
                  <a:pt x="3703" y="772"/>
                </a:lnTo>
                <a:lnTo>
                  <a:pt x="3757" y="768"/>
                </a:lnTo>
                <a:lnTo>
                  <a:pt x="3757" y="768"/>
                </a:lnTo>
                <a:lnTo>
                  <a:pt x="3755" y="768"/>
                </a:lnTo>
                <a:lnTo>
                  <a:pt x="3761" y="766"/>
                </a:lnTo>
                <a:lnTo>
                  <a:pt x="3781" y="764"/>
                </a:lnTo>
                <a:lnTo>
                  <a:pt x="3803" y="762"/>
                </a:lnTo>
                <a:lnTo>
                  <a:pt x="3807" y="760"/>
                </a:lnTo>
                <a:lnTo>
                  <a:pt x="3803" y="760"/>
                </a:lnTo>
                <a:lnTo>
                  <a:pt x="3803" y="760"/>
                </a:lnTo>
                <a:lnTo>
                  <a:pt x="3781" y="762"/>
                </a:lnTo>
                <a:lnTo>
                  <a:pt x="3771" y="762"/>
                </a:lnTo>
                <a:lnTo>
                  <a:pt x="3771" y="762"/>
                </a:lnTo>
                <a:lnTo>
                  <a:pt x="3789" y="760"/>
                </a:lnTo>
                <a:lnTo>
                  <a:pt x="3791" y="760"/>
                </a:lnTo>
                <a:lnTo>
                  <a:pt x="3791" y="760"/>
                </a:lnTo>
                <a:lnTo>
                  <a:pt x="3799" y="758"/>
                </a:lnTo>
                <a:lnTo>
                  <a:pt x="3799" y="758"/>
                </a:lnTo>
                <a:lnTo>
                  <a:pt x="3833" y="756"/>
                </a:lnTo>
                <a:lnTo>
                  <a:pt x="3867" y="754"/>
                </a:lnTo>
                <a:lnTo>
                  <a:pt x="3867" y="754"/>
                </a:lnTo>
                <a:lnTo>
                  <a:pt x="3773" y="766"/>
                </a:lnTo>
                <a:lnTo>
                  <a:pt x="3773" y="766"/>
                </a:lnTo>
                <a:lnTo>
                  <a:pt x="3831" y="762"/>
                </a:lnTo>
                <a:lnTo>
                  <a:pt x="3831" y="762"/>
                </a:lnTo>
                <a:lnTo>
                  <a:pt x="3823" y="762"/>
                </a:lnTo>
                <a:lnTo>
                  <a:pt x="3827" y="760"/>
                </a:lnTo>
                <a:lnTo>
                  <a:pt x="3833" y="760"/>
                </a:lnTo>
                <a:lnTo>
                  <a:pt x="3827" y="760"/>
                </a:lnTo>
                <a:lnTo>
                  <a:pt x="3827" y="760"/>
                </a:lnTo>
                <a:lnTo>
                  <a:pt x="4024" y="737"/>
                </a:lnTo>
                <a:lnTo>
                  <a:pt x="4024" y="737"/>
                </a:lnTo>
                <a:lnTo>
                  <a:pt x="4002" y="741"/>
                </a:lnTo>
                <a:lnTo>
                  <a:pt x="3963" y="745"/>
                </a:lnTo>
                <a:lnTo>
                  <a:pt x="3931" y="750"/>
                </a:lnTo>
                <a:lnTo>
                  <a:pt x="3925" y="752"/>
                </a:lnTo>
                <a:lnTo>
                  <a:pt x="3927" y="752"/>
                </a:lnTo>
                <a:lnTo>
                  <a:pt x="3927" y="752"/>
                </a:lnTo>
                <a:lnTo>
                  <a:pt x="3961" y="747"/>
                </a:lnTo>
                <a:lnTo>
                  <a:pt x="3990" y="745"/>
                </a:lnTo>
                <a:lnTo>
                  <a:pt x="3990" y="745"/>
                </a:lnTo>
                <a:lnTo>
                  <a:pt x="4046" y="739"/>
                </a:lnTo>
                <a:lnTo>
                  <a:pt x="4120" y="733"/>
                </a:lnTo>
                <a:lnTo>
                  <a:pt x="4098" y="733"/>
                </a:lnTo>
                <a:lnTo>
                  <a:pt x="4098" y="733"/>
                </a:lnTo>
                <a:lnTo>
                  <a:pt x="4170" y="727"/>
                </a:lnTo>
                <a:lnTo>
                  <a:pt x="4166" y="727"/>
                </a:lnTo>
                <a:lnTo>
                  <a:pt x="4186" y="725"/>
                </a:lnTo>
                <a:lnTo>
                  <a:pt x="4186" y="725"/>
                </a:lnTo>
                <a:lnTo>
                  <a:pt x="4190" y="725"/>
                </a:lnTo>
                <a:lnTo>
                  <a:pt x="4190" y="725"/>
                </a:lnTo>
                <a:lnTo>
                  <a:pt x="4314" y="713"/>
                </a:lnTo>
                <a:lnTo>
                  <a:pt x="4314" y="713"/>
                </a:lnTo>
                <a:lnTo>
                  <a:pt x="4288" y="715"/>
                </a:lnTo>
                <a:lnTo>
                  <a:pt x="4250" y="719"/>
                </a:lnTo>
                <a:lnTo>
                  <a:pt x="4250" y="719"/>
                </a:lnTo>
                <a:lnTo>
                  <a:pt x="4226" y="719"/>
                </a:lnTo>
                <a:lnTo>
                  <a:pt x="4218" y="721"/>
                </a:lnTo>
                <a:lnTo>
                  <a:pt x="4222" y="719"/>
                </a:lnTo>
                <a:lnTo>
                  <a:pt x="4222" y="719"/>
                </a:lnTo>
                <a:lnTo>
                  <a:pt x="4374" y="703"/>
                </a:lnTo>
                <a:lnTo>
                  <a:pt x="4356" y="705"/>
                </a:lnTo>
                <a:lnTo>
                  <a:pt x="4356" y="705"/>
                </a:lnTo>
                <a:lnTo>
                  <a:pt x="4431" y="697"/>
                </a:lnTo>
                <a:lnTo>
                  <a:pt x="4431" y="697"/>
                </a:lnTo>
                <a:lnTo>
                  <a:pt x="4447" y="695"/>
                </a:lnTo>
                <a:lnTo>
                  <a:pt x="4435" y="697"/>
                </a:lnTo>
                <a:lnTo>
                  <a:pt x="4419" y="699"/>
                </a:lnTo>
                <a:lnTo>
                  <a:pt x="4425" y="699"/>
                </a:lnTo>
                <a:lnTo>
                  <a:pt x="4425" y="699"/>
                </a:lnTo>
                <a:lnTo>
                  <a:pt x="4386" y="705"/>
                </a:lnTo>
                <a:lnTo>
                  <a:pt x="4362" y="707"/>
                </a:lnTo>
                <a:lnTo>
                  <a:pt x="4394" y="707"/>
                </a:lnTo>
                <a:lnTo>
                  <a:pt x="4394" y="707"/>
                </a:lnTo>
                <a:lnTo>
                  <a:pt x="4437" y="701"/>
                </a:lnTo>
                <a:lnTo>
                  <a:pt x="4473" y="699"/>
                </a:lnTo>
                <a:lnTo>
                  <a:pt x="4453" y="701"/>
                </a:lnTo>
                <a:lnTo>
                  <a:pt x="4453" y="701"/>
                </a:lnTo>
                <a:lnTo>
                  <a:pt x="4467" y="699"/>
                </a:lnTo>
                <a:lnTo>
                  <a:pt x="4485" y="697"/>
                </a:lnTo>
                <a:lnTo>
                  <a:pt x="4471" y="697"/>
                </a:lnTo>
                <a:lnTo>
                  <a:pt x="4471" y="697"/>
                </a:lnTo>
                <a:lnTo>
                  <a:pt x="4431" y="701"/>
                </a:lnTo>
                <a:lnTo>
                  <a:pt x="4398" y="703"/>
                </a:lnTo>
                <a:lnTo>
                  <a:pt x="4398" y="703"/>
                </a:lnTo>
                <a:lnTo>
                  <a:pt x="4447" y="697"/>
                </a:lnTo>
                <a:lnTo>
                  <a:pt x="4505" y="691"/>
                </a:lnTo>
                <a:lnTo>
                  <a:pt x="4505" y="691"/>
                </a:lnTo>
                <a:lnTo>
                  <a:pt x="4499" y="691"/>
                </a:lnTo>
                <a:lnTo>
                  <a:pt x="4485" y="693"/>
                </a:lnTo>
                <a:lnTo>
                  <a:pt x="4485" y="693"/>
                </a:lnTo>
                <a:lnTo>
                  <a:pt x="4521" y="689"/>
                </a:lnTo>
                <a:lnTo>
                  <a:pt x="4567" y="685"/>
                </a:lnTo>
                <a:lnTo>
                  <a:pt x="4567" y="685"/>
                </a:lnTo>
                <a:lnTo>
                  <a:pt x="4535" y="689"/>
                </a:lnTo>
                <a:lnTo>
                  <a:pt x="4529" y="691"/>
                </a:lnTo>
                <a:lnTo>
                  <a:pt x="4539" y="691"/>
                </a:lnTo>
                <a:lnTo>
                  <a:pt x="4559" y="687"/>
                </a:lnTo>
                <a:lnTo>
                  <a:pt x="4559" y="687"/>
                </a:lnTo>
                <a:lnTo>
                  <a:pt x="4575" y="685"/>
                </a:lnTo>
                <a:lnTo>
                  <a:pt x="4575" y="685"/>
                </a:lnTo>
                <a:lnTo>
                  <a:pt x="4585" y="685"/>
                </a:lnTo>
                <a:lnTo>
                  <a:pt x="4587" y="685"/>
                </a:lnTo>
                <a:lnTo>
                  <a:pt x="4607" y="681"/>
                </a:lnTo>
                <a:lnTo>
                  <a:pt x="4607" y="681"/>
                </a:lnTo>
                <a:lnTo>
                  <a:pt x="4619" y="681"/>
                </a:lnTo>
                <a:lnTo>
                  <a:pt x="4619" y="681"/>
                </a:lnTo>
                <a:lnTo>
                  <a:pt x="4651" y="677"/>
                </a:lnTo>
                <a:lnTo>
                  <a:pt x="4681" y="675"/>
                </a:lnTo>
                <a:lnTo>
                  <a:pt x="4681" y="675"/>
                </a:lnTo>
                <a:lnTo>
                  <a:pt x="4659" y="675"/>
                </a:lnTo>
                <a:lnTo>
                  <a:pt x="4653" y="675"/>
                </a:lnTo>
                <a:lnTo>
                  <a:pt x="4659" y="675"/>
                </a:lnTo>
                <a:lnTo>
                  <a:pt x="4679" y="671"/>
                </a:lnTo>
                <a:lnTo>
                  <a:pt x="4679" y="671"/>
                </a:lnTo>
                <a:lnTo>
                  <a:pt x="4749" y="665"/>
                </a:lnTo>
                <a:lnTo>
                  <a:pt x="4805" y="659"/>
                </a:lnTo>
                <a:lnTo>
                  <a:pt x="4827" y="657"/>
                </a:lnTo>
                <a:lnTo>
                  <a:pt x="4827" y="657"/>
                </a:lnTo>
                <a:lnTo>
                  <a:pt x="4825" y="657"/>
                </a:lnTo>
                <a:lnTo>
                  <a:pt x="4827" y="657"/>
                </a:lnTo>
                <a:lnTo>
                  <a:pt x="4842" y="657"/>
                </a:lnTo>
                <a:lnTo>
                  <a:pt x="4878" y="653"/>
                </a:lnTo>
                <a:lnTo>
                  <a:pt x="4878" y="653"/>
                </a:lnTo>
                <a:lnTo>
                  <a:pt x="4870" y="655"/>
                </a:lnTo>
                <a:lnTo>
                  <a:pt x="4842" y="657"/>
                </a:lnTo>
                <a:lnTo>
                  <a:pt x="4813" y="661"/>
                </a:lnTo>
                <a:lnTo>
                  <a:pt x="4799" y="663"/>
                </a:lnTo>
                <a:lnTo>
                  <a:pt x="4799" y="663"/>
                </a:lnTo>
                <a:lnTo>
                  <a:pt x="4821" y="661"/>
                </a:lnTo>
                <a:lnTo>
                  <a:pt x="4807" y="663"/>
                </a:lnTo>
                <a:lnTo>
                  <a:pt x="4807" y="663"/>
                </a:lnTo>
                <a:lnTo>
                  <a:pt x="4827" y="661"/>
                </a:lnTo>
                <a:lnTo>
                  <a:pt x="4832" y="661"/>
                </a:lnTo>
                <a:lnTo>
                  <a:pt x="4832" y="659"/>
                </a:lnTo>
                <a:lnTo>
                  <a:pt x="4838" y="657"/>
                </a:lnTo>
                <a:lnTo>
                  <a:pt x="4838" y="657"/>
                </a:lnTo>
                <a:lnTo>
                  <a:pt x="4868" y="655"/>
                </a:lnTo>
                <a:lnTo>
                  <a:pt x="4884" y="655"/>
                </a:lnTo>
                <a:lnTo>
                  <a:pt x="4886" y="655"/>
                </a:lnTo>
                <a:lnTo>
                  <a:pt x="4880" y="655"/>
                </a:lnTo>
                <a:lnTo>
                  <a:pt x="4880" y="655"/>
                </a:lnTo>
                <a:lnTo>
                  <a:pt x="4914" y="651"/>
                </a:lnTo>
                <a:lnTo>
                  <a:pt x="4942" y="647"/>
                </a:lnTo>
                <a:lnTo>
                  <a:pt x="4942" y="647"/>
                </a:lnTo>
                <a:lnTo>
                  <a:pt x="4936" y="649"/>
                </a:lnTo>
                <a:lnTo>
                  <a:pt x="4936" y="651"/>
                </a:lnTo>
                <a:lnTo>
                  <a:pt x="4936" y="651"/>
                </a:lnTo>
                <a:lnTo>
                  <a:pt x="4936" y="651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58" y="647"/>
                </a:lnTo>
                <a:lnTo>
                  <a:pt x="4958" y="647"/>
                </a:lnTo>
                <a:lnTo>
                  <a:pt x="4994" y="643"/>
                </a:lnTo>
                <a:lnTo>
                  <a:pt x="5022" y="641"/>
                </a:lnTo>
                <a:lnTo>
                  <a:pt x="5022" y="641"/>
                </a:lnTo>
                <a:lnTo>
                  <a:pt x="5056" y="637"/>
                </a:lnTo>
                <a:lnTo>
                  <a:pt x="5110" y="633"/>
                </a:lnTo>
                <a:lnTo>
                  <a:pt x="5110" y="633"/>
                </a:lnTo>
                <a:lnTo>
                  <a:pt x="5100" y="631"/>
                </a:lnTo>
                <a:lnTo>
                  <a:pt x="5080" y="635"/>
                </a:lnTo>
                <a:lnTo>
                  <a:pt x="5060" y="637"/>
                </a:lnTo>
                <a:lnTo>
                  <a:pt x="5046" y="637"/>
                </a:lnTo>
                <a:lnTo>
                  <a:pt x="5046" y="637"/>
                </a:lnTo>
                <a:lnTo>
                  <a:pt x="5134" y="627"/>
                </a:lnTo>
                <a:lnTo>
                  <a:pt x="5238" y="615"/>
                </a:lnTo>
                <a:lnTo>
                  <a:pt x="5238" y="615"/>
                </a:lnTo>
                <a:lnTo>
                  <a:pt x="5263" y="613"/>
                </a:lnTo>
                <a:lnTo>
                  <a:pt x="5263" y="613"/>
                </a:lnTo>
                <a:lnTo>
                  <a:pt x="5261" y="615"/>
                </a:lnTo>
                <a:lnTo>
                  <a:pt x="5251" y="617"/>
                </a:lnTo>
                <a:lnTo>
                  <a:pt x="5249" y="617"/>
                </a:lnTo>
                <a:lnTo>
                  <a:pt x="5251" y="617"/>
                </a:lnTo>
                <a:lnTo>
                  <a:pt x="5251" y="617"/>
                </a:lnTo>
                <a:lnTo>
                  <a:pt x="5144" y="629"/>
                </a:lnTo>
                <a:lnTo>
                  <a:pt x="5144" y="629"/>
                </a:lnTo>
                <a:lnTo>
                  <a:pt x="5228" y="619"/>
                </a:lnTo>
                <a:lnTo>
                  <a:pt x="5305" y="611"/>
                </a:lnTo>
                <a:lnTo>
                  <a:pt x="5305" y="611"/>
                </a:lnTo>
                <a:lnTo>
                  <a:pt x="5337" y="609"/>
                </a:lnTo>
                <a:lnTo>
                  <a:pt x="5361" y="607"/>
                </a:lnTo>
                <a:lnTo>
                  <a:pt x="5387" y="605"/>
                </a:lnTo>
                <a:lnTo>
                  <a:pt x="5425" y="601"/>
                </a:lnTo>
                <a:lnTo>
                  <a:pt x="5425" y="601"/>
                </a:lnTo>
                <a:lnTo>
                  <a:pt x="5415" y="601"/>
                </a:lnTo>
                <a:lnTo>
                  <a:pt x="5397" y="601"/>
                </a:lnTo>
                <a:lnTo>
                  <a:pt x="5397" y="601"/>
                </a:lnTo>
                <a:lnTo>
                  <a:pt x="5451" y="597"/>
                </a:lnTo>
                <a:lnTo>
                  <a:pt x="5451" y="597"/>
                </a:lnTo>
                <a:lnTo>
                  <a:pt x="5453" y="595"/>
                </a:lnTo>
                <a:lnTo>
                  <a:pt x="5453" y="595"/>
                </a:lnTo>
                <a:lnTo>
                  <a:pt x="5445" y="597"/>
                </a:lnTo>
                <a:lnTo>
                  <a:pt x="5439" y="597"/>
                </a:lnTo>
                <a:lnTo>
                  <a:pt x="5449" y="595"/>
                </a:lnTo>
                <a:lnTo>
                  <a:pt x="5449" y="595"/>
                </a:lnTo>
                <a:lnTo>
                  <a:pt x="5467" y="593"/>
                </a:lnTo>
                <a:lnTo>
                  <a:pt x="5475" y="593"/>
                </a:lnTo>
                <a:lnTo>
                  <a:pt x="5471" y="593"/>
                </a:lnTo>
                <a:lnTo>
                  <a:pt x="5471" y="593"/>
                </a:lnTo>
                <a:lnTo>
                  <a:pt x="5503" y="591"/>
                </a:lnTo>
                <a:lnTo>
                  <a:pt x="5521" y="589"/>
                </a:lnTo>
                <a:lnTo>
                  <a:pt x="5537" y="587"/>
                </a:lnTo>
                <a:lnTo>
                  <a:pt x="5565" y="585"/>
                </a:lnTo>
                <a:lnTo>
                  <a:pt x="5565" y="585"/>
                </a:lnTo>
                <a:lnTo>
                  <a:pt x="5537" y="587"/>
                </a:lnTo>
                <a:lnTo>
                  <a:pt x="5537" y="587"/>
                </a:lnTo>
                <a:lnTo>
                  <a:pt x="5535" y="587"/>
                </a:lnTo>
                <a:lnTo>
                  <a:pt x="5537" y="587"/>
                </a:lnTo>
                <a:lnTo>
                  <a:pt x="5547" y="585"/>
                </a:lnTo>
                <a:lnTo>
                  <a:pt x="5583" y="579"/>
                </a:lnTo>
                <a:lnTo>
                  <a:pt x="5583" y="579"/>
                </a:lnTo>
                <a:lnTo>
                  <a:pt x="5593" y="579"/>
                </a:lnTo>
                <a:lnTo>
                  <a:pt x="5619" y="575"/>
                </a:lnTo>
                <a:lnTo>
                  <a:pt x="5619" y="575"/>
                </a:lnTo>
                <a:lnTo>
                  <a:pt x="5621" y="575"/>
                </a:lnTo>
                <a:lnTo>
                  <a:pt x="5617" y="577"/>
                </a:lnTo>
                <a:lnTo>
                  <a:pt x="5603" y="579"/>
                </a:lnTo>
                <a:lnTo>
                  <a:pt x="5571" y="583"/>
                </a:lnTo>
                <a:lnTo>
                  <a:pt x="5615" y="577"/>
                </a:lnTo>
                <a:lnTo>
                  <a:pt x="5607" y="579"/>
                </a:lnTo>
                <a:lnTo>
                  <a:pt x="5655" y="571"/>
                </a:lnTo>
                <a:lnTo>
                  <a:pt x="5655" y="571"/>
                </a:lnTo>
                <a:lnTo>
                  <a:pt x="5639" y="573"/>
                </a:lnTo>
                <a:lnTo>
                  <a:pt x="5637" y="573"/>
                </a:lnTo>
                <a:lnTo>
                  <a:pt x="5655" y="571"/>
                </a:lnTo>
                <a:lnTo>
                  <a:pt x="5655" y="571"/>
                </a:lnTo>
                <a:lnTo>
                  <a:pt x="5702" y="565"/>
                </a:lnTo>
                <a:lnTo>
                  <a:pt x="5716" y="565"/>
                </a:lnTo>
                <a:lnTo>
                  <a:pt x="5720" y="565"/>
                </a:lnTo>
                <a:lnTo>
                  <a:pt x="5720" y="565"/>
                </a:lnTo>
                <a:lnTo>
                  <a:pt x="5748" y="561"/>
                </a:lnTo>
                <a:lnTo>
                  <a:pt x="5798" y="555"/>
                </a:lnTo>
                <a:lnTo>
                  <a:pt x="5798" y="555"/>
                </a:lnTo>
                <a:lnTo>
                  <a:pt x="5782" y="555"/>
                </a:lnTo>
                <a:lnTo>
                  <a:pt x="5784" y="555"/>
                </a:lnTo>
                <a:lnTo>
                  <a:pt x="5802" y="551"/>
                </a:lnTo>
                <a:lnTo>
                  <a:pt x="5852" y="547"/>
                </a:lnTo>
                <a:lnTo>
                  <a:pt x="5852" y="547"/>
                </a:lnTo>
                <a:lnTo>
                  <a:pt x="5832" y="551"/>
                </a:lnTo>
                <a:lnTo>
                  <a:pt x="5836" y="551"/>
                </a:lnTo>
                <a:lnTo>
                  <a:pt x="5850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18" y="555"/>
                </a:lnTo>
                <a:lnTo>
                  <a:pt x="5776" y="559"/>
                </a:lnTo>
                <a:lnTo>
                  <a:pt x="5776" y="559"/>
                </a:lnTo>
                <a:lnTo>
                  <a:pt x="5812" y="555"/>
                </a:lnTo>
                <a:lnTo>
                  <a:pt x="5842" y="551"/>
                </a:lnTo>
                <a:lnTo>
                  <a:pt x="5868" y="547"/>
                </a:lnTo>
                <a:lnTo>
                  <a:pt x="5900" y="545"/>
                </a:lnTo>
                <a:lnTo>
                  <a:pt x="5900" y="545"/>
                </a:lnTo>
                <a:lnTo>
                  <a:pt x="5896" y="545"/>
                </a:lnTo>
                <a:lnTo>
                  <a:pt x="5876" y="549"/>
                </a:lnTo>
                <a:lnTo>
                  <a:pt x="5876" y="549"/>
                </a:lnTo>
                <a:lnTo>
                  <a:pt x="5904" y="545"/>
                </a:lnTo>
                <a:lnTo>
                  <a:pt x="5950" y="539"/>
                </a:lnTo>
                <a:lnTo>
                  <a:pt x="5950" y="539"/>
                </a:lnTo>
                <a:lnTo>
                  <a:pt x="5938" y="539"/>
                </a:lnTo>
                <a:lnTo>
                  <a:pt x="5940" y="539"/>
                </a:lnTo>
                <a:lnTo>
                  <a:pt x="5954" y="535"/>
                </a:lnTo>
                <a:lnTo>
                  <a:pt x="5996" y="533"/>
                </a:lnTo>
                <a:lnTo>
                  <a:pt x="5996" y="533"/>
                </a:lnTo>
                <a:lnTo>
                  <a:pt x="6020" y="529"/>
                </a:lnTo>
                <a:lnTo>
                  <a:pt x="6028" y="527"/>
                </a:lnTo>
                <a:lnTo>
                  <a:pt x="6034" y="525"/>
                </a:lnTo>
                <a:lnTo>
                  <a:pt x="6052" y="523"/>
                </a:lnTo>
                <a:lnTo>
                  <a:pt x="6026" y="525"/>
                </a:lnTo>
                <a:lnTo>
                  <a:pt x="6026" y="525"/>
                </a:lnTo>
                <a:lnTo>
                  <a:pt x="6054" y="521"/>
                </a:lnTo>
                <a:lnTo>
                  <a:pt x="6082" y="515"/>
                </a:lnTo>
                <a:lnTo>
                  <a:pt x="6082" y="515"/>
                </a:lnTo>
                <a:lnTo>
                  <a:pt x="6016" y="525"/>
                </a:lnTo>
                <a:lnTo>
                  <a:pt x="6016" y="525"/>
                </a:lnTo>
                <a:lnTo>
                  <a:pt x="6016" y="525"/>
                </a:lnTo>
                <a:lnTo>
                  <a:pt x="6018" y="525"/>
                </a:lnTo>
                <a:lnTo>
                  <a:pt x="6032" y="523"/>
                </a:lnTo>
                <a:lnTo>
                  <a:pt x="6064" y="517"/>
                </a:lnTo>
                <a:lnTo>
                  <a:pt x="6064" y="517"/>
                </a:lnTo>
                <a:lnTo>
                  <a:pt x="6149" y="509"/>
                </a:lnTo>
                <a:lnTo>
                  <a:pt x="6149" y="509"/>
                </a:lnTo>
                <a:lnTo>
                  <a:pt x="6139" y="511"/>
                </a:lnTo>
                <a:lnTo>
                  <a:pt x="6117" y="515"/>
                </a:lnTo>
                <a:lnTo>
                  <a:pt x="6097" y="519"/>
                </a:lnTo>
                <a:lnTo>
                  <a:pt x="6091" y="521"/>
                </a:lnTo>
                <a:lnTo>
                  <a:pt x="6091" y="521"/>
                </a:lnTo>
                <a:lnTo>
                  <a:pt x="6091" y="523"/>
                </a:lnTo>
                <a:lnTo>
                  <a:pt x="6091" y="523"/>
                </a:lnTo>
                <a:lnTo>
                  <a:pt x="6255" y="499"/>
                </a:lnTo>
                <a:lnTo>
                  <a:pt x="6255" y="499"/>
                </a:lnTo>
                <a:lnTo>
                  <a:pt x="6291" y="493"/>
                </a:lnTo>
                <a:lnTo>
                  <a:pt x="6293" y="491"/>
                </a:lnTo>
                <a:lnTo>
                  <a:pt x="6293" y="491"/>
                </a:lnTo>
                <a:lnTo>
                  <a:pt x="6289" y="491"/>
                </a:lnTo>
                <a:lnTo>
                  <a:pt x="6289" y="491"/>
                </a:lnTo>
                <a:lnTo>
                  <a:pt x="6331" y="485"/>
                </a:lnTo>
                <a:lnTo>
                  <a:pt x="6309" y="489"/>
                </a:lnTo>
                <a:lnTo>
                  <a:pt x="6459" y="465"/>
                </a:lnTo>
                <a:lnTo>
                  <a:pt x="6459" y="465"/>
                </a:lnTo>
                <a:lnTo>
                  <a:pt x="6481" y="459"/>
                </a:lnTo>
                <a:lnTo>
                  <a:pt x="6471" y="459"/>
                </a:lnTo>
                <a:lnTo>
                  <a:pt x="6510" y="453"/>
                </a:lnTo>
                <a:lnTo>
                  <a:pt x="6503" y="453"/>
                </a:lnTo>
                <a:lnTo>
                  <a:pt x="6503" y="453"/>
                </a:lnTo>
                <a:lnTo>
                  <a:pt x="6530" y="449"/>
                </a:lnTo>
                <a:lnTo>
                  <a:pt x="6570" y="441"/>
                </a:lnTo>
                <a:lnTo>
                  <a:pt x="6570" y="441"/>
                </a:lnTo>
                <a:lnTo>
                  <a:pt x="6556" y="445"/>
                </a:lnTo>
                <a:lnTo>
                  <a:pt x="6556" y="445"/>
                </a:lnTo>
                <a:lnTo>
                  <a:pt x="6628" y="433"/>
                </a:lnTo>
                <a:lnTo>
                  <a:pt x="6628" y="433"/>
                </a:lnTo>
                <a:lnTo>
                  <a:pt x="6618" y="435"/>
                </a:lnTo>
                <a:lnTo>
                  <a:pt x="6588" y="441"/>
                </a:lnTo>
                <a:lnTo>
                  <a:pt x="6588" y="441"/>
                </a:lnTo>
                <a:lnTo>
                  <a:pt x="6584" y="441"/>
                </a:lnTo>
                <a:lnTo>
                  <a:pt x="6540" y="449"/>
                </a:lnTo>
                <a:lnTo>
                  <a:pt x="6540" y="449"/>
                </a:lnTo>
                <a:lnTo>
                  <a:pt x="6600" y="439"/>
                </a:lnTo>
                <a:lnTo>
                  <a:pt x="6616" y="439"/>
                </a:lnTo>
                <a:lnTo>
                  <a:pt x="6620" y="439"/>
                </a:lnTo>
                <a:lnTo>
                  <a:pt x="6620" y="439"/>
                </a:lnTo>
                <a:lnTo>
                  <a:pt x="6636" y="435"/>
                </a:lnTo>
                <a:lnTo>
                  <a:pt x="6626" y="437"/>
                </a:lnTo>
                <a:lnTo>
                  <a:pt x="6618" y="437"/>
                </a:lnTo>
                <a:lnTo>
                  <a:pt x="6638" y="433"/>
                </a:lnTo>
                <a:lnTo>
                  <a:pt x="6638" y="433"/>
                </a:lnTo>
                <a:lnTo>
                  <a:pt x="6696" y="423"/>
                </a:lnTo>
                <a:lnTo>
                  <a:pt x="6750" y="415"/>
                </a:lnTo>
                <a:lnTo>
                  <a:pt x="6796" y="405"/>
                </a:lnTo>
                <a:lnTo>
                  <a:pt x="6834" y="401"/>
                </a:lnTo>
                <a:lnTo>
                  <a:pt x="6834" y="401"/>
                </a:lnTo>
                <a:lnTo>
                  <a:pt x="6971" y="369"/>
                </a:lnTo>
                <a:lnTo>
                  <a:pt x="6971" y="369"/>
                </a:lnTo>
                <a:lnTo>
                  <a:pt x="6989" y="365"/>
                </a:lnTo>
                <a:lnTo>
                  <a:pt x="7001" y="363"/>
                </a:lnTo>
                <a:lnTo>
                  <a:pt x="7005" y="361"/>
                </a:lnTo>
                <a:lnTo>
                  <a:pt x="7003" y="361"/>
                </a:lnTo>
                <a:lnTo>
                  <a:pt x="7003" y="361"/>
                </a:lnTo>
                <a:lnTo>
                  <a:pt x="6965" y="369"/>
                </a:lnTo>
                <a:lnTo>
                  <a:pt x="6926" y="377"/>
                </a:lnTo>
                <a:lnTo>
                  <a:pt x="6890" y="385"/>
                </a:lnTo>
                <a:lnTo>
                  <a:pt x="6858" y="391"/>
                </a:lnTo>
                <a:lnTo>
                  <a:pt x="6858" y="391"/>
                </a:lnTo>
                <a:lnTo>
                  <a:pt x="6838" y="395"/>
                </a:lnTo>
                <a:lnTo>
                  <a:pt x="6830" y="399"/>
                </a:lnTo>
                <a:lnTo>
                  <a:pt x="6830" y="399"/>
                </a:lnTo>
                <a:lnTo>
                  <a:pt x="6786" y="407"/>
                </a:lnTo>
                <a:lnTo>
                  <a:pt x="6786" y="407"/>
                </a:lnTo>
                <a:lnTo>
                  <a:pt x="6810" y="401"/>
                </a:lnTo>
                <a:lnTo>
                  <a:pt x="6818" y="399"/>
                </a:lnTo>
                <a:lnTo>
                  <a:pt x="6830" y="395"/>
                </a:lnTo>
                <a:lnTo>
                  <a:pt x="6862" y="389"/>
                </a:lnTo>
                <a:lnTo>
                  <a:pt x="6862" y="389"/>
                </a:lnTo>
                <a:lnTo>
                  <a:pt x="6826" y="395"/>
                </a:lnTo>
                <a:lnTo>
                  <a:pt x="6778" y="403"/>
                </a:lnTo>
                <a:lnTo>
                  <a:pt x="6778" y="403"/>
                </a:lnTo>
                <a:lnTo>
                  <a:pt x="6782" y="403"/>
                </a:lnTo>
                <a:lnTo>
                  <a:pt x="6780" y="403"/>
                </a:lnTo>
                <a:lnTo>
                  <a:pt x="6764" y="405"/>
                </a:lnTo>
                <a:lnTo>
                  <a:pt x="6764" y="405"/>
                </a:lnTo>
                <a:lnTo>
                  <a:pt x="6834" y="387"/>
                </a:lnTo>
                <a:lnTo>
                  <a:pt x="6834" y="387"/>
                </a:lnTo>
                <a:lnTo>
                  <a:pt x="6832" y="389"/>
                </a:lnTo>
                <a:lnTo>
                  <a:pt x="6834" y="389"/>
                </a:lnTo>
                <a:lnTo>
                  <a:pt x="6836" y="389"/>
                </a:lnTo>
                <a:lnTo>
                  <a:pt x="6836" y="389"/>
                </a:lnTo>
                <a:lnTo>
                  <a:pt x="6902" y="373"/>
                </a:lnTo>
                <a:lnTo>
                  <a:pt x="6902" y="373"/>
                </a:lnTo>
                <a:lnTo>
                  <a:pt x="6922" y="371"/>
                </a:lnTo>
                <a:lnTo>
                  <a:pt x="6922" y="371"/>
                </a:lnTo>
                <a:lnTo>
                  <a:pt x="6918" y="373"/>
                </a:lnTo>
                <a:lnTo>
                  <a:pt x="6918" y="373"/>
                </a:lnTo>
                <a:lnTo>
                  <a:pt x="6981" y="359"/>
                </a:lnTo>
                <a:lnTo>
                  <a:pt x="7007" y="355"/>
                </a:lnTo>
                <a:lnTo>
                  <a:pt x="7017" y="353"/>
                </a:lnTo>
                <a:lnTo>
                  <a:pt x="7017" y="353"/>
                </a:lnTo>
                <a:lnTo>
                  <a:pt x="7035" y="349"/>
                </a:lnTo>
                <a:lnTo>
                  <a:pt x="7027" y="349"/>
                </a:lnTo>
                <a:lnTo>
                  <a:pt x="6999" y="355"/>
                </a:lnTo>
                <a:lnTo>
                  <a:pt x="7003" y="355"/>
                </a:lnTo>
                <a:lnTo>
                  <a:pt x="6953" y="365"/>
                </a:lnTo>
                <a:lnTo>
                  <a:pt x="6953" y="365"/>
                </a:lnTo>
                <a:lnTo>
                  <a:pt x="6959" y="363"/>
                </a:lnTo>
                <a:lnTo>
                  <a:pt x="6979" y="359"/>
                </a:lnTo>
                <a:lnTo>
                  <a:pt x="7003" y="353"/>
                </a:lnTo>
                <a:lnTo>
                  <a:pt x="7017" y="349"/>
                </a:lnTo>
                <a:lnTo>
                  <a:pt x="7017" y="349"/>
                </a:lnTo>
                <a:lnTo>
                  <a:pt x="7021" y="347"/>
                </a:lnTo>
                <a:lnTo>
                  <a:pt x="7031" y="345"/>
                </a:lnTo>
                <a:lnTo>
                  <a:pt x="7059" y="339"/>
                </a:lnTo>
                <a:lnTo>
                  <a:pt x="7093" y="333"/>
                </a:lnTo>
                <a:lnTo>
                  <a:pt x="7123" y="327"/>
                </a:lnTo>
                <a:lnTo>
                  <a:pt x="7083" y="339"/>
                </a:lnTo>
                <a:lnTo>
                  <a:pt x="7119" y="331"/>
                </a:lnTo>
                <a:lnTo>
                  <a:pt x="7119" y="331"/>
                </a:lnTo>
                <a:lnTo>
                  <a:pt x="7097" y="337"/>
                </a:lnTo>
                <a:lnTo>
                  <a:pt x="7067" y="347"/>
                </a:lnTo>
                <a:lnTo>
                  <a:pt x="7067" y="347"/>
                </a:lnTo>
                <a:lnTo>
                  <a:pt x="7149" y="329"/>
                </a:lnTo>
                <a:lnTo>
                  <a:pt x="7217" y="313"/>
                </a:lnTo>
                <a:lnTo>
                  <a:pt x="7217" y="313"/>
                </a:lnTo>
                <a:lnTo>
                  <a:pt x="7231" y="311"/>
                </a:lnTo>
                <a:lnTo>
                  <a:pt x="7231" y="311"/>
                </a:lnTo>
                <a:lnTo>
                  <a:pt x="7229" y="313"/>
                </a:lnTo>
                <a:lnTo>
                  <a:pt x="7229" y="313"/>
                </a:lnTo>
                <a:lnTo>
                  <a:pt x="7263" y="305"/>
                </a:lnTo>
                <a:lnTo>
                  <a:pt x="7291" y="299"/>
                </a:lnTo>
                <a:lnTo>
                  <a:pt x="7347" y="286"/>
                </a:lnTo>
                <a:lnTo>
                  <a:pt x="7347" y="286"/>
                </a:lnTo>
                <a:lnTo>
                  <a:pt x="7362" y="282"/>
                </a:lnTo>
                <a:lnTo>
                  <a:pt x="7347" y="284"/>
                </a:lnTo>
                <a:lnTo>
                  <a:pt x="7329" y="288"/>
                </a:lnTo>
                <a:lnTo>
                  <a:pt x="7329" y="288"/>
                </a:lnTo>
                <a:lnTo>
                  <a:pt x="7335" y="286"/>
                </a:lnTo>
                <a:lnTo>
                  <a:pt x="7335" y="286"/>
                </a:lnTo>
                <a:lnTo>
                  <a:pt x="7362" y="280"/>
                </a:lnTo>
                <a:lnTo>
                  <a:pt x="7386" y="272"/>
                </a:lnTo>
                <a:lnTo>
                  <a:pt x="7386" y="272"/>
                </a:lnTo>
                <a:lnTo>
                  <a:pt x="7291" y="294"/>
                </a:lnTo>
                <a:lnTo>
                  <a:pt x="7291" y="294"/>
                </a:lnTo>
                <a:lnTo>
                  <a:pt x="7311" y="288"/>
                </a:lnTo>
                <a:lnTo>
                  <a:pt x="7319" y="286"/>
                </a:lnTo>
                <a:lnTo>
                  <a:pt x="7279" y="294"/>
                </a:lnTo>
                <a:lnTo>
                  <a:pt x="7279" y="294"/>
                </a:lnTo>
                <a:lnTo>
                  <a:pt x="7287" y="292"/>
                </a:lnTo>
                <a:lnTo>
                  <a:pt x="7307" y="288"/>
                </a:lnTo>
                <a:lnTo>
                  <a:pt x="7347" y="278"/>
                </a:lnTo>
                <a:lnTo>
                  <a:pt x="7347" y="278"/>
                </a:lnTo>
                <a:lnTo>
                  <a:pt x="7331" y="284"/>
                </a:lnTo>
                <a:lnTo>
                  <a:pt x="7331" y="284"/>
                </a:lnTo>
                <a:lnTo>
                  <a:pt x="7392" y="270"/>
                </a:lnTo>
                <a:lnTo>
                  <a:pt x="7450" y="256"/>
                </a:lnTo>
                <a:lnTo>
                  <a:pt x="7450" y="256"/>
                </a:lnTo>
                <a:lnTo>
                  <a:pt x="7454" y="256"/>
                </a:lnTo>
                <a:lnTo>
                  <a:pt x="7448" y="258"/>
                </a:lnTo>
                <a:lnTo>
                  <a:pt x="7426" y="264"/>
                </a:lnTo>
                <a:lnTo>
                  <a:pt x="7426" y="264"/>
                </a:lnTo>
                <a:lnTo>
                  <a:pt x="7446" y="258"/>
                </a:lnTo>
                <a:lnTo>
                  <a:pt x="7468" y="254"/>
                </a:lnTo>
                <a:lnTo>
                  <a:pt x="7468" y="254"/>
                </a:lnTo>
                <a:lnTo>
                  <a:pt x="7454" y="258"/>
                </a:lnTo>
                <a:lnTo>
                  <a:pt x="7434" y="262"/>
                </a:lnTo>
                <a:lnTo>
                  <a:pt x="7536" y="238"/>
                </a:lnTo>
                <a:lnTo>
                  <a:pt x="7536" y="238"/>
                </a:lnTo>
                <a:lnTo>
                  <a:pt x="7494" y="248"/>
                </a:lnTo>
                <a:lnTo>
                  <a:pt x="7494" y="248"/>
                </a:lnTo>
                <a:lnTo>
                  <a:pt x="7538" y="238"/>
                </a:lnTo>
                <a:lnTo>
                  <a:pt x="7584" y="224"/>
                </a:lnTo>
                <a:lnTo>
                  <a:pt x="7584" y="224"/>
                </a:lnTo>
                <a:lnTo>
                  <a:pt x="7634" y="212"/>
                </a:lnTo>
                <a:lnTo>
                  <a:pt x="7648" y="210"/>
                </a:lnTo>
                <a:lnTo>
                  <a:pt x="7650" y="210"/>
                </a:lnTo>
                <a:lnTo>
                  <a:pt x="7648" y="210"/>
                </a:lnTo>
                <a:lnTo>
                  <a:pt x="7648" y="210"/>
                </a:lnTo>
                <a:lnTo>
                  <a:pt x="7658" y="208"/>
                </a:lnTo>
                <a:lnTo>
                  <a:pt x="7654" y="208"/>
                </a:lnTo>
                <a:lnTo>
                  <a:pt x="7654" y="208"/>
                </a:lnTo>
                <a:lnTo>
                  <a:pt x="7700" y="194"/>
                </a:lnTo>
                <a:lnTo>
                  <a:pt x="7734" y="184"/>
                </a:lnTo>
                <a:lnTo>
                  <a:pt x="7712" y="190"/>
                </a:lnTo>
                <a:lnTo>
                  <a:pt x="7712" y="190"/>
                </a:lnTo>
                <a:lnTo>
                  <a:pt x="7734" y="184"/>
                </a:lnTo>
                <a:lnTo>
                  <a:pt x="7740" y="182"/>
                </a:lnTo>
                <a:lnTo>
                  <a:pt x="7744" y="180"/>
                </a:lnTo>
                <a:lnTo>
                  <a:pt x="7762" y="174"/>
                </a:lnTo>
                <a:lnTo>
                  <a:pt x="7762" y="174"/>
                </a:lnTo>
                <a:lnTo>
                  <a:pt x="7760" y="176"/>
                </a:lnTo>
                <a:lnTo>
                  <a:pt x="7760" y="178"/>
                </a:lnTo>
                <a:lnTo>
                  <a:pt x="7766" y="178"/>
                </a:lnTo>
                <a:lnTo>
                  <a:pt x="7766" y="178"/>
                </a:lnTo>
                <a:lnTo>
                  <a:pt x="7789" y="172"/>
                </a:lnTo>
                <a:lnTo>
                  <a:pt x="7817" y="164"/>
                </a:lnTo>
                <a:lnTo>
                  <a:pt x="7817" y="164"/>
                </a:lnTo>
                <a:lnTo>
                  <a:pt x="7815" y="164"/>
                </a:lnTo>
                <a:lnTo>
                  <a:pt x="7817" y="164"/>
                </a:lnTo>
                <a:lnTo>
                  <a:pt x="7827" y="160"/>
                </a:lnTo>
                <a:lnTo>
                  <a:pt x="7835" y="158"/>
                </a:lnTo>
                <a:lnTo>
                  <a:pt x="7825" y="160"/>
                </a:lnTo>
                <a:lnTo>
                  <a:pt x="7825" y="160"/>
                </a:lnTo>
                <a:lnTo>
                  <a:pt x="7875" y="148"/>
                </a:lnTo>
                <a:lnTo>
                  <a:pt x="7915" y="136"/>
                </a:lnTo>
                <a:lnTo>
                  <a:pt x="7915" y="136"/>
                </a:lnTo>
                <a:lnTo>
                  <a:pt x="7911" y="136"/>
                </a:lnTo>
                <a:lnTo>
                  <a:pt x="7923" y="132"/>
                </a:lnTo>
                <a:lnTo>
                  <a:pt x="7933" y="130"/>
                </a:lnTo>
                <a:lnTo>
                  <a:pt x="7935" y="128"/>
                </a:lnTo>
                <a:lnTo>
                  <a:pt x="7933" y="128"/>
                </a:lnTo>
                <a:lnTo>
                  <a:pt x="7933" y="128"/>
                </a:lnTo>
                <a:lnTo>
                  <a:pt x="7979" y="118"/>
                </a:lnTo>
                <a:lnTo>
                  <a:pt x="7989" y="116"/>
                </a:lnTo>
                <a:lnTo>
                  <a:pt x="7991" y="116"/>
                </a:lnTo>
                <a:lnTo>
                  <a:pt x="7989" y="116"/>
                </a:lnTo>
                <a:lnTo>
                  <a:pt x="7989" y="116"/>
                </a:lnTo>
                <a:lnTo>
                  <a:pt x="7965" y="122"/>
                </a:lnTo>
                <a:lnTo>
                  <a:pt x="7955" y="126"/>
                </a:lnTo>
                <a:lnTo>
                  <a:pt x="8027" y="108"/>
                </a:lnTo>
                <a:lnTo>
                  <a:pt x="8027" y="108"/>
                </a:lnTo>
                <a:lnTo>
                  <a:pt x="8053" y="100"/>
                </a:lnTo>
                <a:lnTo>
                  <a:pt x="8069" y="98"/>
                </a:lnTo>
                <a:lnTo>
                  <a:pt x="8069" y="98"/>
                </a:lnTo>
                <a:lnTo>
                  <a:pt x="8115" y="86"/>
                </a:lnTo>
                <a:lnTo>
                  <a:pt x="8137" y="80"/>
                </a:lnTo>
                <a:lnTo>
                  <a:pt x="8155" y="74"/>
                </a:lnTo>
                <a:lnTo>
                  <a:pt x="8155" y="74"/>
                </a:lnTo>
                <a:lnTo>
                  <a:pt x="8123" y="84"/>
                </a:lnTo>
                <a:lnTo>
                  <a:pt x="8101" y="88"/>
                </a:lnTo>
                <a:lnTo>
                  <a:pt x="8113" y="84"/>
                </a:lnTo>
                <a:lnTo>
                  <a:pt x="8107" y="86"/>
                </a:lnTo>
                <a:lnTo>
                  <a:pt x="8137" y="76"/>
                </a:lnTo>
                <a:lnTo>
                  <a:pt x="8137" y="76"/>
                </a:lnTo>
                <a:lnTo>
                  <a:pt x="8123" y="80"/>
                </a:lnTo>
                <a:lnTo>
                  <a:pt x="8119" y="82"/>
                </a:lnTo>
                <a:lnTo>
                  <a:pt x="8111" y="84"/>
                </a:lnTo>
                <a:lnTo>
                  <a:pt x="8091" y="90"/>
                </a:lnTo>
                <a:lnTo>
                  <a:pt x="8091" y="90"/>
                </a:lnTo>
                <a:lnTo>
                  <a:pt x="8083" y="90"/>
                </a:lnTo>
                <a:lnTo>
                  <a:pt x="8087" y="88"/>
                </a:lnTo>
                <a:lnTo>
                  <a:pt x="8113" y="80"/>
                </a:lnTo>
                <a:lnTo>
                  <a:pt x="8137" y="72"/>
                </a:lnTo>
                <a:lnTo>
                  <a:pt x="8141" y="72"/>
                </a:lnTo>
                <a:lnTo>
                  <a:pt x="8133" y="72"/>
                </a:lnTo>
                <a:lnTo>
                  <a:pt x="8133" y="72"/>
                </a:lnTo>
                <a:lnTo>
                  <a:pt x="8105" y="80"/>
                </a:lnTo>
                <a:lnTo>
                  <a:pt x="8083" y="88"/>
                </a:lnTo>
                <a:lnTo>
                  <a:pt x="8089" y="88"/>
                </a:lnTo>
                <a:lnTo>
                  <a:pt x="8033" y="104"/>
                </a:lnTo>
                <a:lnTo>
                  <a:pt x="8033" y="104"/>
                </a:lnTo>
                <a:lnTo>
                  <a:pt x="8039" y="100"/>
                </a:lnTo>
                <a:lnTo>
                  <a:pt x="8047" y="98"/>
                </a:lnTo>
                <a:lnTo>
                  <a:pt x="8047" y="98"/>
                </a:lnTo>
                <a:lnTo>
                  <a:pt x="7891" y="138"/>
                </a:lnTo>
                <a:lnTo>
                  <a:pt x="7891" y="138"/>
                </a:lnTo>
                <a:lnTo>
                  <a:pt x="7899" y="138"/>
                </a:lnTo>
                <a:lnTo>
                  <a:pt x="7895" y="140"/>
                </a:lnTo>
                <a:lnTo>
                  <a:pt x="7877" y="144"/>
                </a:lnTo>
                <a:lnTo>
                  <a:pt x="7877" y="144"/>
                </a:lnTo>
                <a:lnTo>
                  <a:pt x="7853" y="150"/>
                </a:lnTo>
                <a:lnTo>
                  <a:pt x="7831" y="156"/>
                </a:lnTo>
                <a:lnTo>
                  <a:pt x="7831" y="156"/>
                </a:lnTo>
                <a:lnTo>
                  <a:pt x="7849" y="150"/>
                </a:lnTo>
                <a:lnTo>
                  <a:pt x="7869" y="144"/>
                </a:lnTo>
                <a:lnTo>
                  <a:pt x="7867" y="144"/>
                </a:lnTo>
                <a:lnTo>
                  <a:pt x="7867" y="144"/>
                </a:lnTo>
                <a:lnTo>
                  <a:pt x="7911" y="130"/>
                </a:lnTo>
                <a:lnTo>
                  <a:pt x="7969" y="112"/>
                </a:lnTo>
                <a:lnTo>
                  <a:pt x="7969" y="112"/>
                </a:lnTo>
                <a:lnTo>
                  <a:pt x="8005" y="100"/>
                </a:lnTo>
                <a:lnTo>
                  <a:pt x="8069" y="84"/>
                </a:lnTo>
                <a:lnTo>
                  <a:pt x="8049" y="88"/>
                </a:lnTo>
                <a:lnTo>
                  <a:pt x="8049" y="88"/>
                </a:lnTo>
                <a:lnTo>
                  <a:pt x="8069" y="82"/>
                </a:lnTo>
                <a:lnTo>
                  <a:pt x="8077" y="80"/>
                </a:lnTo>
                <a:lnTo>
                  <a:pt x="8085" y="78"/>
                </a:lnTo>
                <a:lnTo>
                  <a:pt x="8113" y="72"/>
                </a:lnTo>
                <a:lnTo>
                  <a:pt x="8113" y="72"/>
                </a:lnTo>
                <a:lnTo>
                  <a:pt x="8151" y="64"/>
                </a:lnTo>
                <a:lnTo>
                  <a:pt x="8159" y="64"/>
                </a:lnTo>
                <a:lnTo>
                  <a:pt x="8149" y="68"/>
                </a:lnTo>
                <a:lnTo>
                  <a:pt x="8149" y="68"/>
                </a:lnTo>
                <a:lnTo>
                  <a:pt x="8194" y="56"/>
                </a:lnTo>
                <a:lnTo>
                  <a:pt x="8236" y="44"/>
                </a:lnTo>
                <a:lnTo>
                  <a:pt x="8236" y="44"/>
                </a:lnTo>
                <a:lnTo>
                  <a:pt x="8244" y="44"/>
                </a:lnTo>
                <a:lnTo>
                  <a:pt x="8240" y="46"/>
                </a:lnTo>
                <a:lnTo>
                  <a:pt x="8232" y="48"/>
                </a:lnTo>
                <a:lnTo>
                  <a:pt x="8230" y="50"/>
                </a:lnTo>
                <a:lnTo>
                  <a:pt x="8230" y="50"/>
                </a:lnTo>
                <a:lnTo>
                  <a:pt x="8230" y="50"/>
                </a:lnTo>
                <a:lnTo>
                  <a:pt x="8266" y="40"/>
                </a:lnTo>
                <a:lnTo>
                  <a:pt x="8274" y="38"/>
                </a:lnTo>
                <a:lnTo>
                  <a:pt x="8268" y="38"/>
                </a:lnTo>
                <a:lnTo>
                  <a:pt x="8318" y="26"/>
                </a:lnTo>
                <a:lnTo>
                  <a:pt x="8318" y="26"/>
                </a:lnTo>
                <a:lnTo>
                  <a:pt x="8294" y="32"/>
                </a:lnTo>
                <a:lnTo>
                  <a:pt x="8294" y="32"/>
                </a:lnTo>
                <a:lnTo>
                  <a:pt x="8360" y="14"/>
                </a:lnTo>
                <a:lnTo>
                  <a:pt x="8360" y="14"/>
                </a:lnTo>
                <a:lnTo>
                  <a:pt x="8338" y="20"/>
                </a:lnTo>
                <a:lnTo>
                  <a:pt x="8338" y="20"/>
                </a:lnTo>
                <a:lnTo>
                  <a:pt x="8398" y="2"/>
                </a:lnTo>
                <a:lnTo>
                  <a:pt x="8398" y="2"/>
                </a:lnTo>
                <a:lnTo>
                  <a:pt x="8366" y="10"/>
                </a:lnTo>
                <a:lnTo>
                  <a:pt x="8334" y="18"/>
                </a:lnTo>
                <a:lnTo>
                  <a:pt x="8334" y="18"/>
                </a:lnTo>
                <a:lnTo>
                  <a:pt x="8340" y="16"/>
                </a:lnTo>
                <a:lnTo>
                  <a:pt x="8358" y="12"/>
                </a:lnTo>
                <a:lnTo>
                  <a:pt x="8358" y="12"/>
                </a:lnTo>
                <a:lnTo>
                  <a:pt x="8322" y="20"/>
                </a:lnTo>
                <a:lnTo>
                  <a:pt x="8296" y="26"/>
                </a:lnTo>
                <a:lnTo>
                  <a:pt x="8296" y="26"/>
                </a:lnTo>
                <a:lnTo>
                  <a:pt x="8322" y="18"/>
                </a:lnTo>
                <a:lnTo>
                  <a:pt x="8336" y="14"/>
                </a:lnTo>
                <a:lnTo>
                  <a:pt x="8336" y="14"/>
                </a:lnTo>
                <a:lnTo>
                  <a:pt x="8264" y="34"/>
                </a:lnTo>
                <a:lnTo>
                  <a:pt x="8264" y="34"/>
                </a:lnTo>
                <a:lnTo>
                  <a:pt x="8252" y="36"/>
                </a:lnTo>
                <a:lnTo>
                  <a:pt x="8228" y="42"/>
                </a:lnTo>
                <a:lnTo>
                  <a:pt x="8212" y="46"/>
                </a:lnTo>
                <a:lnTo>
                  <a:pt x="8210" y="48"/>
                </a:lnTo>
                <a:lnTo>
                  <a:pt x="8214" y="46"/>
                </a:lnTo>
                <a:lnTo>
                  <a:pt x="8214" y="46"/>
                </a:lnTo>
                <a:lnTo>
                  <a:pt x="8167" y="58"/>
                </a:lnTo>
                <a:lnTo>
                  <a:pt x="8167" y="58"/>
                </a:lnTo>
                <a:lnTo>
                  <a:pt x="8190" y="50"/>
                </a:lnTo>
                <a:lnTo>
                  <a:pt x="8222" y="40"/>
                </a:lnTo>
                <a:lnTo>
                  <a:pt x="8222" y="40"/>
                </a:lnTo>
                <a:lnTo>
                  <a:pt x="8254" y="32"/>
                </a:lnTo>
                <a:lnTo>
                  <a:pt x="8256" y="32"/>
                </a:lnTo>
                <a:lnTo>
                  <a:pt x="8252" y="34"/>
                </a:lnTo>
                <a:lnTo>
                  <a:pt x="8238" y="38"/>
                </a:lnTo>
                <a:lnTo>
                  <a:pt x="8236" y="40"/>
                </a:lnTo>
                <a:lnTo>
                  <a:pt x="8238" y="38"/>
                </a:lnTo>
                <a:lnTo>
                  <a:pt x="8296" y="24"/>
                </a:lnTo>
                <a:lnTo>
                  <a:pt x="8296" y="24"/>
                </a:lnTo>
                <a:lnTo>
                  <a:pt x="8300" y="22"/>
                </a:lnTo>
                <a:lnTo>
                  <a:pt x="8282" y="26"/>
                </a:lnTo>
                <a:lnTo>
                  <a:pt x="8282" y="26"/>
                </a:lnTo>
                <a:lnTo>
                  <a:pt x="8318" y="14"/>
                </a:lnTo>
                <a:lnTo>
                  <a:pt x="8364" y="2"/>
                </a:lnTo>
                <a:lnTo>
                  <a:pt x="8364" y="2"/>
                </a:lnTo>
                <a:lnTo>
                  <a:pt x="8358" y="4"/>
                </a:lnTo>
                <a:lnTo>
                  <a:pt x="8342" y="8"/>
                </a:lnTo>
                <a:lnTo>
                  <a:pt x="8342" y="8"/>
                </a:lnTo>
                <a:lnTo>
                  <a:pt x="8360" y="0"/>
                </a:lnTo>
                <a:lnTo>
                  <a:pt x="8362" y="0"/>
                </a:lnTo>
                <a:lnTo>
                  <a:pt x="8358" y="0"/>
                </a:lnTo>
                <a:lnTo>
                  <a:pt x="8338" y="6"/>
                </a:lnTo>
                <a:lnTo>
                  <a:pt x="8338" y="6"/>
                </a:lnTo>
                <a:lnTo>
                  <a:pt x="8340" y="4"/>
                </a:lnTo>
                <a:lnTo>
                  <a:pt x="8334" y="6"/>
                </a:lnTo>
                <a:lnTo>
                  <a:pt x="8330" y="8"/>
                </a:lnTo>
                <a:lnTo>
                  <a:pt x="8340" y="6"/>
                </a:lnTo>
                <a:lnTo>
                  <a:pt x="8340" y="6"/>
                </a:lnTo>
                <a:lnTo>
                  <a:pt x="8300" y="16"/>
                </a:lnTo>
                <a:lnTo>
                  <a:pt x="8286" y="20"/>
                </a:lnTo>
                <a:lnTo>
                  <a:pt x="8284" y="20"/>
                </a:lnTo>
                <a:lnTo>
                  <a:pt x="8290" y="18"/>
                </a:lnTo>
                <a:lnTo>
                  <a:pt x="8204" y="42"/>
                </a:lnTo>
                <a:lnTo>
                  <a:pt x="8204" y="42"/>
                </a:lnTo>
                <a:lnTo>
                  <a:pt x="8212" y="40"/>
                </a:lnTo>
                <a:lnTo>
                  <a:pt x="8230" y="34"/>
                </a:lnTo>
                <a:lnTo>
                  <a:pt x="8163" y="52"/>
                </a:lnTo>
                <a:lnTo>
                  <a:pt x="8183" y="48"/>
                </a:lnTo>
                <a:lnTo>
                  <a:pt x="8183" y="48"/>
                </a:lnTo>
                <a:lnTo>
                  <a:pt x="8121" y="66"/>
                </a:lnTo>
                <a:lnTo>
                  <a:pt x="8065" y="82"/>
                </a:lnTo>
                <a:lnTo>
                  <a:pt x="8065" y="82"/>
                </a:lnTo>
                <a:lnTo>
                  <a:pt x="8089" y="74"/>
                </a:lnTo>
                <a:lnTo>
                  <a:pt x="8127" y="64"/>
                </a:lnTo>
                <a:lnTo>
                  <a:pt x="8127" y="64"/>
                </a:lnTo>
                <a:lnTo>
                  <a:pt x="8113" y="66"/>
                </a:lnTo>
                <a:lnTo>
                  <a:pt x="8105" y="68"/>
                </a:lnTo>
                <a:lnTo>
                  <a:pt x="8071" y="78"/>
                </a:lnTo>
                <a:lnTo>
                  <a:pt x="8071" y="78"/>
                </a:lnTo>
                <a:lnTo>
                  <a:pt x="8065" y="80"/>
                </a:lnTo>
                <a:lnTo>
                  <a:pt x="8067" y="78"/>
                </a:lnTo>
                <a:lnTo>
                  <a:pt x="8035" y="88"/>
                </a:lnTo>
                <a:lnTo>
                  <a:pt x="8035" y="88"/>
                </a:lnTo>
                <a:lnTo>
                  <a:pt x="8029" y="90"/>
                </a:lnTo>
                <a:lnTo>
                  <a:pt x="8035" y="88"/>
                </a:lnTo>
                <a:lnTo>
                  <a:pt x="8035" y="88"/>
                </a:lnTo>
                <a:lnTo>
                  <a:pt x="8011" y="96"/>
                </a:lnTo>
                <a:lnTo>
                  <a:pt x="8007" y="98"/>
                </a:lnTo>
                <a:lnTo>
                  <a:pt x="7963" y="110"/>
                </a:lnTo>
                <a:lnTo>
                  <a:pt x="7963" y="110"/>
                </a:lnTo>
                <a:lnTo>
                  <a:pt x="8003" y="100"/>
                </a:lnTo>
                <a:lnTo>
                  <a:pt x="8039" y="90"/>
                </a:lnTo>
                <a:lnTo>
                  <a:pt x="8039" y="90"/>
                </a:lnTo>
                <a:lnTo>
                  <a:pt x="8043" y="88"/>
                </a:lnTo>
                <a:lnTo>
                  <a:pt x="8041" y="90"/>
                </a:lnTo>
                <a:lnTo>
                  <a:pt x="8023" y="96"/>
                </a:lnTo>
                <a:lnTo>
                  <a:pt x="7985" y="106"/>
                </a:lnTo>
                <a:lnTo>
                  <a:pt x="7985" y="106"/>
                </a:lnTo>
                <a:lnTo>
                  <a:pt x="7945" y="116"/>
                </a:lnTo>
                <a:lnTo>
                  <a:pt x="7899" y="128"/>
                </a:lnTo>
                <a:lnTo>
                  <a:pt x="7899" y="128"/>
                </a:lnTo>
                <a:lnTo>
                  <a:pt x="7917" y="122"/>
                </a:lnTo>
                <a:lnTo>
                  <a:pt x="7945" y="114"/>
                </a:lnTo>
                <a:lnTo>
                  <a:pt x="7945" y="114"/>
                </a:lnTo>
                <a:lnTo>
                  <a:pt x="7953" y="110"/>
                </a:lnTo>
                <a:lnTo>
                  <a:pt x="7947" y="112"/>
                </a:lnTo>
                <a:lnTo>
                  <a:pt x="7927" y="116"/>
                </a:lnTo>
                <a:lnTo>
                  <a:pt x="7927" y="116"/>
                </a:lnTo>
                <a:lnTo>
                  <a:pt x="7921" y="118"/>
                </a:lnTo>
                <a:lnTo>
                  <a:pt x="7921" y="120"/>
                </a:lnTo>
                <a:lnTo>
                  <a:pt x="7901" y="126"/>
                </a:lnTo>
                <a:lnTo>
                  <a:pt x="7903" y="124"/>
                </a:lnTo>
                <a:lnTo>
                  <a:pt x="7847" y="140"/>
                </a:lnTo>
                <a:lnTo>
                  <a:pt x="7847" y="140"/>
                </a:lnTo>
                <a:lnTo>
                  <a:pt x="7766" y="162"/>
                </a:lnTo>
                <a:lnTo>
                  <a:pt x="7728" y="172"/>
                </a:lnTo>
                <a:lnTo>
                  <a:pt x="7696" y="180"/>
                </a:lnTo>
                <a:lnTo>
                  <a:pt x="7704" y="180"/>
                </a:lnTo>
                <a:lnTo>
                  <a:pt x="7604" y="206"/>
                </a:lnTo>
                <a:lnTo>
                  <a:pt x="7604" y="206"/>
                </a:lnTo>
                <a:lnTo>
                  <a:pt x="7622" y="200"/>
                </a:lnTo>
                <a:lnTo>
                  <a:pt x="7654" y="192"/>
                </a:lnTo>
                <a:lnTo>
                  <a:pt x="7654" y="192"/>
                </a:lnTo>
                <a:lnTo>
                  <a:pt x="7572" y="214"/>
                </a:lnTo>
                <a:lnTo>
                  <a:pt x="7506" y="232"/>
                </a:lnTo>
                <a:lnTo>
                  <a:pt x="7506" y="232"/>
                </a:lnTo>
                <a:lnTo>
                  <a:pt x="7566" y="218"/>
                </a:lnTo>
                <a:lnTo>
                  <a:pt x="7566" y="218"/>
                </a:lnTo>
                <a:lnTo>
                  <a:pt x="7542" y="226"/>
                </a:lnTo>
                <a:lnTo>
                  <a:pt x="7524" y="230"/>
                </a:lnTo>
                <a:lnTo>
                  <a:pt x="7502" y="234"/>
                </a:lnTo>
                <a:lnTo>
                  <a:pt x="7472" y="242"/>
                </a:lnTo>
                <a:lnTo>
                  <a:pt x="7472" y="242"/>
                </a:lnTo>
                <a:lnTo>
                  <a:pt x="7474" y="240"/>
                </a:lnTo>
                <a:lnTo>
                  <a:pt x="7478" y="240"/>
                </a:lnTo>
                <a:lnTo>
                  <a:pt x="7480" y="238"/>
                </a:lnTo>
                <a:lnTo>
                  <a:pt x="7474" y="238"/>
                </a:lnTo>
                <a:lnTo>
                  <a:pt x="7474" y="238"/>
                </a:lnTo>
                <a:lnTo>
                  <a:pt x="7398" y="260"/>
                </a:lnTo>
                <a:lnTo>
                  <a:pt x="7398" y="260"/>
                </a:lnTo>
                <a:lnTo>
                  <a:pt x="7394" y="258"/>
                </a:lnTo>
                <a:lnTo>
                  <a:pt x="7404" y="256"/>
                </a:lnTo>
                <a:lnTo>
                  <a:pt x="7456" y="242"/>
                </a:lnTo>
                <a:lnTo>
                  <a:pt x="7456" y="242"/>
                </a:lnTo>
                <a:lnTo>
                  <a:pt x="7514" y="228"/>
                </a:lnTo>
                <a:lnTo>
                  <a:pt x="7566" y="214"/>
                </a:lnTo>
                <a:lnTo>
                  <a:pt x="7548" y="218"/>
                </a:lnTo>
                <a:lnTo>
                  <a:pt x="7548" y="218"/>
                </a:lnTo>
                <a:lnTo>
                  <a:pt x="7640" y="192"/>
                </a:lnTo>
                <a:lnTo>
                  <a:pt x="7640" y="194"/>
                </a:lnTo>
                <a:lnTo>
                  <a:pt x="7654" y="188"/>
                </a:lnTo>
                <a:lnTo>
                  <a:pt x="7638" y="192"/>
                </a:lnTo>
                <a:lnTo>
                  <a:pt x="7638" y="192"/>
                </a:lnTo>
                <a:lnTo>
                  <a:pt x="7696" y="174"/>
                </a:lnTo>
                <a:lnTo>
                  <a:pt x="7696" y="174"/>
                </a:lnTo>
                <a:lnTo>
                  <a:pt x="7644" y="190"/>
                </a:lnTo>
                <a:lnTo>
                  <a:pt x="7614" y="200"/>
                </a:lnTo>
                <a:lnTo>
                  <a:pt x="7614" y="200"/>
                </a:lnTo>
                <a:lnTo>
                  <a:pt x="7558" y="214"/>
                </a:lnTo>
                <a:lnTo>
                  <a:pt x="7536" y="218"/>
                </a:lnTo>
                <a:lnTo>
                  <a:pt x="7514" y="224"/>
                </a:lnTo>
                <a:lnTo>
                  <a:pt x="7514" y="224"/>
                </a:lnTo>
                <a:lnTo>
                  <a:pt x="7500" y="226"/>
                </a:lnTo>
                <a:lnTo>
                  <a:pt x="7496" y="226"/>
                </a:lnTo>
                <a:lnTo>
                  <a:pt x="7504" y="224"/>
                </a:lnTo>
                <a:lnTo>
                  <a:pt x="7504" y="224"/>
                </a:lnTo>
                <a:lnTo>
                  <a:pt x="7538" y="216"/>
                </a:lnTo>
                <a:lnTo>
                  <a:pt x="7554" y="210"/>
                </a:lnTo>
                <a:lnTo>
                  <a:pt x="7554" y="210"/>
                </a:lnTo>
                <a:lnTo>
                  <a:pt x="7492" y="226"/>
                </a:lnTo>
                <a:lnTo>
                  <a:pt x="7492" y="226"/>
                </a:lnTo>
                <a:lnTo>
                  <a:pt x="7466" y="234"/>
                </a:lnTo>
                <a:lnTo>
                  <a:pt x="7422" y="248"/>
                </a:lnTo>
                <a:lnTo>
                  <a:pt x="7422" y="248"/>
                </a:lnTo>
                <a:lnTo>
                  <a:pt x="7370" y="260"/>
                </a:lnTo>
                <a:lnTo>
                  <a:pt x="7321" y="272"/>
                </a:lnTo>
                <a:lnTo>
                  <a:pt x="7321" y="272"/>
                </a:lnTo>
                <a:lnTo>
                  <a:pt x="7366" y="260"/>
                </a:lnTo>
                <a:lnTo>
                  <a:pt x="7378" y="256"/>
                </a:lnTo>
                <a:lnTo>
                  <a:pt x="7380" y="256"/>
                </a:lnTo>
                <a:lnTo>
                  <a:pt x="7378" y="256"/>
                </a:lnTo>
                <a:lnTo>
                  <a:pt x="7378" y="256"/>
                </a:lnTo>
                <a:lnTo>
                  <a:pt x="7339" y="266"/>
                </a:lnTo>
                <a:lnTo>
                  <a:pt x="7325" y="268"/>
                </a:lnTo>
                <a:lnTo>
                  <a:pt x="7323" y="270"/>
                </a:lnTo>
                <a:lnTo>
                  <a:pt x="7323" y="270"/>
                </a:lnTo>
                <a:lnTo>
                  <a:pt x="7323" y="270"/>
                </a:lnTo>
                <a:lnTo>
                  <a:pt x="7257" y="284"/>
                </a:lnTo>
                <a:lnTo>
                  <a:pt x="7231" y="290"/>
                </a:lnTo>
                <a:lnTo>
                  <a:pt x="7217" y="292"/>
                </a:lnTo>
                <a:lnTo>
                  <a:pt x="7217" y="292"/>
                </a:lnTo>
                <a:lnTo>
                  <a:pt x="7319" y="268"/>
                </a:lnTo>
                <a:lnTo>
                  <a:pt x="7319" y="268"/>
                </a:lnTo>
                <a:lnTo>
                  <a:pt x="7307" y="272"/>
                </a:lnTo>
                <a:lnTo>
                  <a:pt x="7305" y="272"/>
                </a:lnTo>
                <a:lnTo>
                  <a:pt x="7307" y="270"/>
                </a:lnTo>
                <a:lnTo>
                  <a:pt x="7352" y="260"/>
                </a:lnTo>
                <a:lnTo>
                  <a:pt x="7352" y="260"/>
                </a:lnTo>
                <a:lnTo>
                  <a:pt x="7319" y="266"/>
                </a:lnTo>
                <a:lnTo>
                  <a:pt x="7281" y="276"/>
                </a:lnTo>
                <a:lnTo>
                  <a:pt x="7281" y="276"/>
                </a:lnTo>
                <a:lnTo>
                  <a:pt x="7285" y="276"/>
                </a:lnTo>
                <a:lnTo>
                  <a:pt x="7249" y="284"/>
                </a:lnTo>
                <a:lnTo>
                  <a:pt x="7247" y="282"/>
                </a:lnTo>
                <a:lnTo>
                  <a:pt x="7247" y="282"/>
                </a:lnTo>
                <a:lnTo>
                  <a:pt x="7181" y="299"/>
                </a:lnTo>
                <a:lnTo>
                  <a:pt x="7093" y="319"/>
                </a:lnTo>
                <a:lnTo>
                  <a:pt x="7099" y="317"/>
                </a:lnTo>
                <a:lnTo>
                  <a:pt x="7099" y="317"/>
                </a:lnTo>
                <a:lnTo>
                  <a:pt x="7069" y="323"/>
                </a:lnTo>
                <a:lnTo>
                  <a:pt x="7049" y="329"/>
                </a:lnTo>
                <a:lnTo>
                  <a:pt x="7027" y="335"/>
                </a:lnTo>
                <a:lnTo>
                  <a:pt x="6997" y="343"/>
                </a:lnTo>
                <a:lnTo>
                  <a:pt x="6997" y="343"/>
                </a:lnTo>
                <a:lnTo>
                  <a:pt x="7005" y="339"/>
                </a:lnTo>
                <a:lnTo>
                  <a:pt x="7001" y="339"/>
                </a:lnTo>
                <a:lnTo>
                  <a:pt x="7001" y="339"/>
                </a:lnTo>
                <a:lnTo>
                  <a:pt x="6969" y="347"/>
                </a:lnTo>
                <a:lnTo>
                  <a:pt x="6935" y="353"/>
                </a:lnTo>
                <a:lnTo>
                  <a:pt x="6935" y="353"/>
                </a:lnTo>
                <a:lnTo>
                  <a:pt x="6945" y="351"/>
                </a:lnTo>
                <a:lnTo>
                  <a:pt x="6941" y="353"/>
                </a:lnTo>
                <a:lnTo>
                  <a:pt x="6933" y="355"/>
                </a:lnTo>
                <a:lnTo>
                  <a:pt x="6937" y="355"/>
                </a:lnTo>
                <a:lnTo>
                  <a:pt x="6937" y="355"/>
                </a:lnTo>
                <a:lnTo>
                  <a:pt x="6931" y="357"/>
                </a:lnTo>
                <a:lnTo>
                  <a:pt x="6908" y="361"/>
                </a:lnTo>
                <a:lnTo>
                  <a:pt x="6858" y="371"/>
                </a:lnTo>
                <a:lnTo>
                  <a:pt x="6858" y="371"/>
                </a:lnTo>
                <a:lnTo>
                  <a:pt x="6856" y="371"/>
                </a:lnTo>
                <a:lnTo>
                  <a:pt x="6858" y="371"/>
                </a:lnTo>
                <a:lnTo>
                  <a:pt x="6864" y="369"/>
                </a:lnTo>
                <a:lnTo>
                  <a:pt x="6888" y="363"/>
                </a:lnTo>
                <a:lnTo>
                  <a:pt x="6910" y="359"/>
                </a:lnTo>
                <a:lnTo>
                  <a:pt x="6910" y="359"/>
                </a:lnTo>
                <a:lnTo>
                  <a:pt x="6902" y="359"/>
                </a:lnTo>
                <a:lnTo>
                  <a:pt x="6902" y="359"/>
                </a:lnTo>
                <a:lnTo>
                  <a:pt x="6876" y="365"/>
                </a:lnTo>
                <a:lnTo>
                  <a:pt x="6886" y="363"/>
                </a:lnTo>
                <a:lnTo>
                  <a:pt x="6886" y="363"/>
                </a:lnTo>
                <a:lnTo>
                  <a:pt x="6828" y="375"/>
                </a:lnTo>
                <a:lnTo>
                  <a:pt x="6776" y="383"/>
                </a:lnTo>
                <a:lnTo>
                  <a:pt x="6776" y="383"/>
                </a:lnTo>
                <a:lnTo>
                  <a:pt x="6728" y="393"/>
                </a:lnTo>
                <a:lnTo>
                  <a:pt x="6694" y="403"/>
                </a:lnTo>
                <a:lnTo>
                  <a:pt x="6694" y="403"/>
                </a:lnTo>
                <a:lnTo>
                  <a:pt x="6716" y="397"/>
                </a:lnTo>
                <a:lnTo>
                  <a:pt x="6744" y="393"/>
                </a:lnTo>
                <a:lnTo>
                  <a:pt x="6714" y="399"/>
                </a:lnTo>
                <a:lnTo>
                  <a:pt x="6714" y="399"/>
                </a:lnTo>
                <a:lnTo>
                  <a:pt x="6660" y="409"/>
                </a:lnTo>
                <a:lnTo>
                  <a:pt x="6616" y="415"/>
                </a:lnTo>
                <a:lnTo>
                  <a:pt x="6644" y="409"/>
                </a:lnTo>
                <a:lnTo>
                  <a:pt x="6642" y="411"/>
                </a:lnTo>
                <a:lnTo>
                  <a:pt x="6642" y="411"/>
                </a:lnTo>
                <a:lnTo>
                  <a:pt x="6670" y="405"/>
                </a:lnTo>
                <a:lnTo>
                  <a:pt x="6686" y="401"/>
                </a:lnTo>
                <a:lnTo>
                  <a:pt x="6686" y="401"/>
                </a:lnTo>
                <a:lnTo>
                  <a:pt x="6648" y="409"/>
                </a:lnTo>
                <a:lnTo>
                  <a:pt x="6606" y="417"/>
                </a:lnTo>
                <a:lnTo>
                  <a:pt x="6606" y="415"/>
                </a:lnTo>
                <a:lnTo>
                  <a:pt x="6606" y="415"/>
                </a:lnTo>
                <a:lnTo>
                  <a:pt x="6564" y="423"/>
                </a:lnTo>
                <a:lnTo>
                  <a:pt x="6528" y="429"/>
                </a:lnTo>
                <a:lnTo>
                  <a:pt x="6493" y="433"/>
                </a:lnTo>
                <a:lnTo>
                  <a:pt x="6463" y="439"/>
                </a:lnTo>
                <a:lnTo>
                  <a:pt x="6463" y="439"/>
                </a:lnTo>
                <a:lnTo>
                  <a:pt x="6483" y="437"/>
                </a:lnTo>
                <a:lnTo>
                  <a:pt x="6491" y="437"/>
                </a:lnTo>
                <a:lnTo>
                  <a:pt x="6491" y="437"/>
                </a:lnTo>
                <a:lnTo>
                  <a:pt x="6489" y="437"/>
                </a:lnTo>
                <a:lnTo>
                  <a:pt x="6489" y="437"/>
                </a:lnTo>
                <a:lnTo>
                  <a:pt x="6459" y="441"/>
                </a:lnTo>
                <a:lnTo>
                  <a:pt x="6441" y="445"/>
                </a:lnTo>
                <a:lnTo>
                  <a:pt x="6453" y="441"/>
                </a:lnTo>
                <a:lnTo>
                  <a:pt x="6453" y="441"/>
                </a:lnTo>
                <a:lnTo>
                  <a:pt x="6385" y="453"/>
                </a:lnTo>
                <a:lnTo>
                  <a:pt x="6385" y="453"/>
                </a:lnTo>
                <a:lnTo>
                  <a:pt x="6379" y="455"/>
                </a:lnTo>
                <a:lnTo>
                  <a:pt x="6361" y="459"/>
                </a:lnTo>
                <a:lnTo>
                  <a:pt x="6361" y="459"/>
                </a:lnTo>
                <a:lnTo>
                  <a:pt x="6339" y="461"/>
                </a:lnTo>
                <a:lnTo>
                  <a:pt x="6345" y="459"/>
                </a:lnTo>
                <a:lnTo>
                  <a:pt x="6355" y="457"/>
                </a:lnTo>
                <a:lnTo>
                  <a:pt x="6343" y="457"/>
                </a:lnTo>
                <a:lnTo>
                  <a:pt x="6287" y="467"/>
                </a:lnTo>
                <a:lnTo>
                  <a:pt x="6275" y="467"/>
                </a:lnTo>
                <a:lnTo>
                  <a:pt x="6275" y="467"/>
                </a:lnTo>
                <a:lnTo>
                  <a:pt x="6159" y="485"/>
                </a:lnTo>
                <a:lnTo>
                  <a:pt x="6036" y="503"/>
                </a:lnTo>
                <a:lnTo>
                  <a:pt x="6036" y="503"/>
                </a:lnTo>
                <a:lnTo>
                  <a:pt x="6046" y="499"/>
                </a:lnTo>
                <a:lnTo>
                  <a:pt x="6070" y="495"/>
                </a:lnTo>
                <a:lnTo>
                  <a:pt x="6123" y="489"/>
                </a:lnTo>
                <a:lnTo>
                  <a:pt x="6123" y="489"/>
                </a:lnTo>
                <a:lnTo>
                  <a:pt x="6072" y="495"/>
                </a:lnTo>
                <a:lnTo>
                  <a:pt x="6016" y="501"/>
                </a:lnTo>
                <a:lnTo>
                  <a:pt x="6016" y="501"/>
                </a:lnTo>
                <a:lnTo>
                  <a:pt x="5974" y="507"/>
                </a:lnTo>
                <a:lnTo>
                  <a:pt x="5964" y="509"/>
                </a:lnTo>
                <a:lnTo>
                  <a:pt x="5962" y="511"/>
                </a:lnTo>
                <a:lnTo>
                  <a:pt x="5962" y="511"/>
                </a:lnTo>
                <a:lnTo>
                  <a:pt x="5962" y="511"/>
                </a:lnTo>
                <a:lnTo>
                  <a:pt x="5930" y="515"/>
                </a:lnTo>
                <a:lnTo>
                  <a:pt x="5926" y="515"/>
                </a:lnTo>
                <a:lnTo>
                  <a:pt x="5926" y="515"/>
                </a:lnTo>
                <a:lnTo>
                  <a:pt x="5882" y="521"/>
                </a:lnTo>
                <a:lnTo>
                  <a:pt x="5824" y="527"/>
                </a:lnTo>
                <a:lnTo>
                  <a:pt x="5822" y="527"/>
                </a:lnTo>
                <a:lnTo>
                  <a:pt x="5770" y="535"/>
                </a:lnTo>
                <a:lnTo>
                  <a:pt x="5770" y="535"/>
                </a:lnTo>
                <a:lnTo>
                  <a:pt x="5774" y="535"/>
                </a:lnTo>
                <a:lnTo>
                  <a:pt x="5770" y="537"/>
                </a:lnTo>
                <a:lnTo>
                  <a:pt x="5756" y="537"/>
                </a:lnTo>
                <a:lnTo>
                  <a:pt x="5756" y="537"/>
                </a:lnTo>
                <a:lnTo>
                  <a:pt x="5798" y="533"/>
                </a:lnTo>
                <a:lnTo>
                  <a:pt x="5842" y="529"/>
                </a:lnTo>
                <a:lnTo>
                  <a:pt x="5888" y="523"/>
                </a:lnTo>
                <a:lnTo>
                  <a:pt x="5930" y="519"/>
                </a:lnTo>
                <a:lnTo>
                  <a:pt x="5930" y="519"/>
                </a:lnTo>
                <a:lnTo>
                  <a:pt x="5924" y="519"/>
                </a:lnTo>
                <a:lnTo>
                  <a:pt x="5924" y="519"/>
                </a:lnTo>
                <a:lnTo>
                  <a:pt x="5926" y="521"/>
                </a:lnTo>
                <a:lnTo>
                  <a:pt x="5918" y="521"/>
                </a:lnTo>
                <a:lnTo>
                  <a:pt x="5918" y="521"/>
                </a:lnTo>
                <a:lnTo>
                  <a:pt x="5900" y="523"/>
                </a:lnTo>
                <a:lnTo>
                  <a:pt x="5900" y="523"/>
                </a:lnTo>
                <a:lnTo>
                  <a:pt x="5886" y="525"/>
                </a:lnTo>
                <a:lnTo>
                  <a:pt x="5900" y="525"/>
                </a:lnTo>
                <a:lnTo>
                  <a:pt x="5900" y="525"/>
                </a:lnTo>
                <a:lnTo>
                  <a:pt x="5890" y="527"/>
                </a:lnTo>
                <a:lnTo>
                  <a:pt x="5864" y="531"/>
                </a:lnTo>
                <a:lnTo>
                  <a:pt x="5800" y="539"/>
                </a:lnTo>
                <a:lnTo>
                  <a:pt x="5800" y="539"/>
                </a:lnTo>
                <a:lnTo>
                  <a:pt x="5792" y="539"/>
                </a:lnTo>
                <a:lnTo>
                  <a:pt x="5808" y="537"/>
                </a:lnTo>
                <a:lnTo>
                  <a:pt x="5850" y="529"/>
                </a:lnTo>
                <a:lnTo>
                  <a:pt x="5850" y="529"/>
                </a:lnTo>
                <a:lnTo>
                  <a:pt x="5828" y="533"/>
                </a:lnTo>
                <a:lnTo>
                  <a:pt x="5800" y="537"/>
                </a:lnTo>
                <a:lnTo>
                  <a:pt x="5806" y="533"/>
                </a:lnTo>
                <a:lnTo>
                  <a:pt x="5806" y="533"/>
                </a:lnTo>
                <a:lnTo>
                  <a:pt x="5776" y="539"/>
                </a:lnTo>
                <a:lnTo>
                  <a:pt x="5780" y="539"/>
                </a:lnTo>
                <a:lnTo>
                  <a:pt x="5780" y="539"/>
                </a:lnTo>
                <a:lnTo>
                  <a:pt x="5778" y="541"/>
                </a:lnTo>
                <a:lnTo>
                  <a:pt x="5778" y="541"/>
                </a:lnTo>
                <a:lnTo>
                  <a:pt x="5764" y="543"/>
                </a:lnTo>
                <a:lnTo>
                  <a:pt x="5746" y="545"/>
                </a:lnTo>
                <a:lnTo>
                  <a:pt x="5714" y="547"/>
                </a:lnTo>
                <a:lnTo>
                  <a:pt x="5730" y="545"/>
                </a:lnTo>
                <a:lnTo>
                  <a:pt x="5730" y="545"/>
                </a:lnTo>
                <a:lnTo>
                  <a:pt x="5682" y="551"/>
                </a:lnTo>
                <a:lnTo>
                  <a:pt x="5639" y="557"/>
                </a:lnTo>
                <a:lnTo>
                  <a:pt x="5619" y="557"/>
                </a:lnTo>
                <a:lnTo>
                  <a:pt x="5619" y="557"/>
                </a:lnTo>
                <a:lnTo>
                  <a:pt x="5649" y="555"/>
                </a:lnTo>
                <a:lnTo>
                  <a:pt x="5672" y="551"/>
                </a:lnTo>
                <a:lnTo>
                  <a:pt x="5690" y="549"/>
                </a:lnTo>
                <a:lnTo>
                  <a:pt x="5708" y="547"/>
                </a:lnTo>
                <a:lnTo>
                  <a:pt x="5708" y="547"/>
                </a:lnTo>
                <a:lnTo>
                  <a:pt x="5680" y="547"/>
                </a:lnTo>
                <a:lnTo>
                  <a:pt x="5692" y="545"/>
                </a:lnTo>
                <a:lnTo>
                  <a:pt x="5744" y="537"/>
                </a:lnTo>
                <a:lnTo>
                  <a:pt x="5744" y="537"/>
                </a:lnTo>
                <a:lnTo>
                  <a:pt x="5670" y="545"/>
                </a:lnTo>
                <a:lnTo>
                  <a:pt x="5670" y="545"/>
                </a:lnTo>
                <a:lnTo>
                  <a:pt x="5635" y="549"/>
                </a:lnTo>
                <a:lnTo>
                  <a:pt x="5601" y="553"/>
                </a:lnTo>
                <a:lnTo>
                  <a:pt x="5567" y="557"/>
                </a:lnTo>
                <a:lnTo>
                  <a:pt x="5533" y="561"/>
                </a:lnTo>
                <a:lnTo>
                  <a:pt x="5533" y="561"/>
                </a:lnTo>
                <a:lnTo>
                  <a:pt x="5527" y="561"/>
                </a:lnTo>
                <a:lnTo>
                  <a:pt x="5531" y="561"/>
                </a:lnTo>
                <a:lnTo>
                  <a:pt x="5537" y="559"/>
                </a:lnTo>
                <a:lnTo>
                  <a:pt x="5529" y="561"/>
                </a:lnTo>
                <a:lnTo>
                  <a:pt x="5529" y="561"/>
                </a:lnTo>
                <a:lnTo>
                  <a:pt x="5387" y="577"/>
                </a:lnTo>
                <a:lnTo>
                  <a:pt x="5387" y="577"/>
                </a:lnTo>
                <a:lnTo>
                  <a:pt x="5367" y="579"/>
                </a:lnTo>
                <a:lnTo>
                  <a:pt x="5359" y="579"/>
                </a:lnTo>
                <a:lnTo>
                  <a:pt x="5359" y="579"/>
                </a:lnTo>
                <a:lnTo>
                  <a:pt x="5281" y="587"/>
                </a:lnTo>
                <a:lnTo>
                  <a:pt x="5214" y="595"/>
                </a:lnTo>
                <a:lnTo>
                  <a:pt x="5144" y="603"/>
                </a:lnTo>
                <a:lnTo>
                  <a:pt x="5060" y="611"/>
                </a:lnTo>
                <a:lnTo>
                  <a:pt x="5078" y="609"/>
                </a:lnTo>
                <a:lnTo>
                  <a:pt x="5078" y="609"/>
                </a:lnTo>
                <a:lnTo>
                  <a:pt x="5042" y="613"/>
                </a:lnTo>
                <a:lnTo>
                  <a:pt x="5014" y="615"/>
                </a:lnTo>
                <a:lnTo>
                  <a:pt x="5014" y="615"/>
                </a:lnTo>
                <a:lnTo>
                  <a:pt x="4980" y="619"/>
                </a:lnTo>
                <a:lnTo>
                  <a:pt x="4936" y="623"/>
                </a:lnTo>
                <a:lnTo>
                  <a:pt x="4892" y="629"/>
                </a:lnTo>
                <a:lnTo>
                  <a:pt x="4852" y="631"/>
                </a:lnTo>
                <a:lnTo>
                  <a:pt x="4852" y="631"/>
                </a:lnTo>
                <a:lnTo>
                  <a:pt x="4793" y="637"/>
                </a:lnTo>
                <a:lnTo>
                  <a:pt x="4745" y="643"/>
                </a:lnTo>
                <a:lnTo>
                  <a:pt x="4745" y="643"/>
                </a:lnTo>
                <a:lnTo>
                  <a:pt x="4749" y="643"/>
                </a:lnTo>
                <a:lnTo>
                  <a:pt x="4735" y="643"/>
                </a:lnTo>
                <a:lnTo>
                  <a:pt x="4735" y="643"/>
                </a:lnTo>
                <a:lnTo>
                  <a:pt x="4286" y="689"/>
                </a:lnTo>
                <a:lnTo>
                  <a:pt x="4286" y="689"/>
                </a:lnTo>
                <a:lnTo>
                  <a:pt x="4300" y="687"/>
                </a:lnTo>
                <a:lnTo>
                  <a:pt x="4300" y="687"/>
                </a:lnTo>
                <a:lnTo>
                  <a:pt x="4144" y="703"/>
                </a:lnTo>
                <a:lnTo>
                  <a:pt x="4000" y="717"/>
                </a:lnTo>
                <a:lnTo>
                  <a:pt x="4000" y="717"/>
                </a:lnTo>
                <a:lnTo>
                  <a:pt x="3961" y="721"/>
                </a:lnTo>
                <a:lnTo>
                  <a:pt x="3947" y="723"/>
                </a:lnTo>
                <a:lnTo>
                  <a:pt x="3945" y="723"/>
                </a:lnTo>
                <a:lnTo>
                  <a:pt x="3947" y="723"/>
                </a:lnTo>
                <a:lnTo>
                  <a:pt x="3947" y="723"/>
                </a:lnTo>
                <a:lnTo>
                  <a:pt x="3967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31" y="727"/>
                </a:lnTo>
                <a:lnTo>
                  <a:pt x="3915" y="729"/>
                </a:lnTo>
                <a:lnTo>
                  <a:pt x="3905" y="729"/>
                </a:lnTo>
                <a:lnTo>
                  <a:pt x="3879" y="731"/>
                </a:lnTo>
                <a:lnTo>
                  <a:pt x="3879" y="731"/>
                </a:lnTo>
                <a:lnTo>
                  <a:pt x="3875" y="731"/>
                </a:lnTo>
                <a:lnTo>
                  <a:pt x="3877" y="729"/>
                </a:lnTo>
                <a:lnTo>
                  <a:pt x="3889" y="727"/>
                </a:lnTo>
                <a:lnTo>
                  <a:pt x="3905" y="725"/>
                </a:lnTo>
                <a:lnTo>
                  <a:pt x="3911" y="723"/>
                </a:lnTo>
                <a:lnTo>
                  <a:pt x="3835" y="733"/>
                </a:lnTo>
                <a:lnTo>
                  <a:pt x="3835" y="733"/>
                </a:lnTo>
                <a:lnTo>
                  <a:pt x="3771" y="739"/>
                </a:lnTo>
                <a:lnTo>
                  <a:pt x="3713" y="743"/>
                </a:lnTo>
                <a:lnTo>
                  <a:pt x="3713" y="743"/>
                </a:lnTo>
                <a:lnTo>
                  <a:pt x="3725" y="741"/>
                </a:lnTo>
                <a:lnTo>
                  <a:pt x="3745" y="739"/>
                </a:lnTo>
                <a:lnTo>
                  <a:pt x="3745" y="739"/>
                </a:lnTo>
                <a:lnTo>
                  <a:pt x="3739" y="741"/>
                </a:lnTo>
                <a:lnTo>
                  <a:pt x="3739" y="741"/>
                </a:lnTo>
                <a:lnTo>
                  <a:pt x="3789" y="735"/>
                </a:lnTo>
                <a:lnTo>
                  <a:pt x="3831" y="731"/>
                </a:lnTo>
                <a:lnTo>
                  <a:pt x="3831" y="731"/>
                </a:lnTo>
                <a:lnTo>
                  <a:pt x="3669" y="745"/>
                </a:lnTo>
                <a:lnTo>
                  <a:pt x="3669" y="745"/>
                </a:lnTo>
                <a:lnTo>
                  <a:pt x="3671" y="745"/>
                </a:lnTo>
                <a:lnTo>
                  <a:pt x="3667" y="747"/>
                </a:lnTo>
                <a:lnTo>
                  <a:pt x="3653" y="747"/>
                </a:lnTo>
                <a:lnTo>
                  <a:pt x="3621" y="752"/>
                </a:lnTo>
                <a:lnTo>
                  <a:pt x="3619" y="752"/>
                </a:lnTo>
                <a:lnTo>
                  <a:pt x="3619" y="752"/>
                </a:lnTo>
                <a:lnTo>
                  <a:pt x="3583" y="758"/>
                </a:lnTo>
                <a:lnTo>
                  <a:pt x="3571" y="756"/>
                </a:lnTo>
                <a:lnTo>
                  <a:pt x="3571" y="756"/>
                </a:lnTo>
                <a:lnTo>
                  <a:pt x="3564" y="758"/>
                </a:lnTo>
                <a:lnTo>
                  <a:pt x="3556" y="758"/>
                </a:lnTo>
                <a:lnTo>
                  <a:pt x="3556" y="758"/>
                </a:lnTo>
                <a:lnTo>
                  <a:pt x="3482" y="766"/>
                </a:lnTo>
                <a:lnTo>
                  <a:pt x="3444" y="768"/>
                </a:lnTo>
                <a:lnTo>
                  <a:pt x="3424" y="768"/>
                </a:lnTo>
                <a:lnTo>
                  <a:pt x="3424" y="768"/>
                </a:lnTo>
                <a:lnTo>
                  <a:pt x="3346" y="776"/>
                </a:lnTo>
                <a:lnTo>
                  <a:pt x="3346" y="776"/>
                </a:lnTo>
                <a:lnTo>
                  <a:pt x="3358" y="774"/>
                </a:lnTo>
                <a:lnTo>
                  <a:pt x="3358" y="774"/>
                </a:lnTo>
                <a:lnTo>
                  <a:pt x="3240" y="784"/>
                </a:lnTo>
                <a:lnTo>
                  <a:pt x="3125" y="794"/>
                </a:lnTo>
                <a:lnTo>
                  <a:pt x="3125" y="794"/>
                </a:lnTo>
                <a:lnTo>
                  <a:pt x="2983" y="808"/>
                </a:lnTo>
                <a:lnTo>
                  <a:pt x="2983" y="808"/>
                </a:lnTo>
                <a:lnTo>
                  <a:pt x="3015" y="804"/>
                </a:lnTo>
                <a:lnTo>
                  <a:pt x="3025" y="804"/>
                </a:lnTo>
                <a:lnTo>
                  <a:pt x="3015" y="806"/>
                </a:lnTo>
                <a:lnTo>
                  <a:pt x="3015" y="806"/>
                </a:lnTo>
                <a:lnTo>
                  <a:pt x="2953" y="812"/>
                </a:lnTo>
                <a:lnTo>
                  <a:pt x="2953" y="812"/>
                </a:lnTo>
                <a:lnTo>
                  <a:pt x="2931" y="812"/>
                </a:lnTo>
                <a:lnTo>
                  <a:pt x="2923" y="814"/>
                </a:lnTo>
                <a:lnTo>
                  <a:pt x="2941" y="812"/>
                </a:lnTo>
                <a:lnTo>
                  <a:pt x="2941" y="812"/>
                </a:lnTo>
                <a:lnTo>
                  <a:pt x="2919" y="812"/>
                </a:lnTo>
                <a:lnTo>
                  <a:pt x="2885" y="816"/>
                </a:lnTo>
                <a:lnTo>
                  <a:pt x="2853" y="818"/>
                </a:lnTo>
                <a:lnTo>
                  <a:pt x="2839" y="818"/>
                </a:lnTo>
                <a:lnTo>
                  <a:pt x="2839" y="818"/>
                </a:lnTo>
                <a:lnTo>
                  <a:pt x="2793" y="822"/>
                </a:lnTo>
                <a:lnTo>
                  <a:pt x="2737" y="828"/>
                </a:lnTo>
                <a:lnTo>
                  <a:pt x="2737" y="828"/>
                </a:lnTo>
                <a:lnTo>
                  <a:pt x="2753" y="826"/>
                </a:lnTo>
                <a:lnTo>
                  <a:pt x="2773" y="824"/>
                </a:lnTo>
                <a:lnTo>
                  <a:pt x="2743" y="826"/>
                </a:lnTo>
                <a:lnTo>
                  <a:pt x="2743" y="826"/>
                </a:lnTo>
                <a:lnTo>
                  <a:pt x="2743" y="826"/>
                </a:lnTo>
                <a:lnTo>
                  <a:pt x="2680" y="832"/>
                </a:lnTo>
                <a:lnTo>
                  <a:pt x="2638" y="836"/>
                </a:lnTo>
                <a:lnTo>
                  <a:pt x="2638" y="836"/>
                </a:lnTo>
                <a:lnTo>
                  <a:pt x="2616" y="838"/>
                </a:lnTo>
                <a:lnTo>
                  <a:pt x="2642" y="834"/>
                </a:lnTo>
                <a:lnTo>
                  <a:pt x="2642" y="834"/>
                </a:lnTo>
                <a:lnTo>
                  <a:pt x="2544" y="844"/>
                </a:lnTo>
                <a:lnTo>
                  <a:pt x="2540" y="844"/>
                </a:lnTo>
                <a:lnTo>
                  <a:pt x="2516" y="846"/>
                </a:lnTo>
                <a:lnTo>
                  <a:pt x="2516" y="846"/>
                </a:lnTo>
                <a:lnTo>
                  <a:pt x="2518" y="846"/>
                </a:lnTo>
                <a:lnTo>
                  <a:pt x="2518" y="846"/>
                </a:lnTo>
                <a:lnTo>
                  <a:pt x="2468" y="850"/>
                </a:lnTo>
                <a:lnTo>
                  <a:pt x="2418" y="856"/>
                </a:lnTo>
                <a:lnTo>
                  <a:pt x="2418" y="856"/>
                </a:lnTo>
                <a:lnTo>
                  <a:pt x="2394" y="856"/>
                </a:lnTo>
                <a:lnTo>
                  <a:pt x="2366" y="858"/>
                </a:lnTo>
                <a:lnTo>
                  <a:pt x="2370" y="856"/>
                </a:lnTo>
                <a:lnTo>
                  <a:pt x="2370" y="856"/>
                </a:lnTo>
                <a:lnTo>
                  <a:pt x="2408" y="854"/>
                </a:lnTo>
                <a:lnTo>
                  <a:pt x="2450" y="850"/>
                </a:lnTo>
                <a:lnTo>
                  <a:pt x="2450" y="850"/>
                </a:lnTo>
                <a:lnTo>
                  <a:pt x="2404" y="852"/>
                </a:lnTo>
                <a:lnTo>
                  <a:pt x="2340" y="856"/>
                </a:lnTo>
                <a:lnTo>
                  <a:pt x="2203" y="866"/>
                </a:lnTo>
                <a:lnTo>
                  <a:pt x="2203" y="866"/>
                </a:lnTo>
                <a:lnTo>
                  <a:pt x="2091" y="874"/>
                </a:lnTo>
                <a:lnTo>
                  <a:pt x="2039" y="878"/>
                </a:lnTo>
                <a:lnTo>
                  <a:pt x="2005" y="882"/>
                </a:lnTo>
                <a:lnTo>
                  <a:pt x="2011" y="880"/>
                </a:lnTo>
                <a:lnTo>
                  <a:pt x="1901" y="886"/>
                </a:lnTo>
                <a:lnTo>
                  <a:pt x="1901" y="886"/>
                </a:lnTo>
                <a:lnTo>
                  <a:pt x="1762" y="896"/>
                </a:lnTo>
                <a:lnTo>
                  <a:pt x="1642" y="904"/>
                </a:lnTo>
                <a:lnTo>
                  <a:pt x="1622" y="904"/>
                </a:lnTo>
                <a:lnTo>
                  <a:pt x="1622" y="904"/>
                </a:lnTo>
                <a:lnTo>
                  <a:pt x="1552" y="910"/>
                </a:lnTo>
                <a:lnTo>
                  <a:pt x="1463" y="916"/>
                </a:lnTo>
                <a:lnTo>
                  <a:pt x="1379" y="922"/>
                </a:lnTo>
                <a:lnTo>
                  <a:pt x="1323" y="928"/>
                </a:lnTo>
                <a:lnTo>
                  <a:pt x="1323" y="928"/>
                </a:lnTo>
                <a:lnTo>
                  <a:pt x="1307" y="928"/>
                </a:lnTo>
                <a:lnTo>
                  <a:pt x="1315" y="926"/>
                </a:lnTo>
                <a:lnTo>
                  <a:pt x="1339" y="924"/>
                </a:lnTo>
                <a:lnTo>
                  <a:pt x="1339" y="924"/>
                </a:lnTo>
                <a:lnTo>
                  <a:pt x="1283" y="928"/>
                </a:lnTo>
                <a:lnTo>
                  <a:pt x="1253" y="930"/>
                </a:lnTo>
                <a:lnTo>
                  <a:pt x="1229" y="930"/>
                </a:lnTo>
                <a:lnTo>
                  <a:pt x="1229" y="930"/>
                </a:lnTo>
                <a:lnTo>
                  <a:pt x="1247" y="928"/>
                </a:lnTo>
                <a:lnTo>
                  <a:pt x="1257" y="928"/>
                </a:lnTo>
                <a:lnTo>
                  <a:pt x="1253" y="928"/>
                </a:lnTo>
                <a:lnTo>
                  <a:pt x="1253" y="928"/>
                </a:lnTo>
                <a:lnTo>
                  <a:pt x="1225" y="930"/>
                </a:lnTo>
                <a:lnTo>
                  <a:pt x="1195" y="930"/>
                </a:lnTo>
                <a:lnTo>
                  <a:pt x="1195" y="930"/>
                </a:lnTo>
                <a:lnTo>
                  <a:pt x="1197" y="930"/>
                </a:lnTo>
                <a:lnTo>
                  <a:pt x="1193" y="932"/>
                </a:lnTo>
                <a:lnTo>
                  <a:pt x="1175" y="934"/>
                </a:lnTo>
                <a:lnTo>
                  <a:pt x="1117" y="938"/>
                </a:lnTo>
                <a:lnTo>
                  <a:pt x="1117" y="938"/>
                </a:lnTo>
                <a:lnTo>
                  <a:pt x="1127" y="936"/>
                </a:lnTo>
                <a:lnTo>
                  <a:pt x="1127" y="936"/>
                </a:lnTo>
                <a:lnTo>
                  <a:pt x="1117" y="938"/>
                </a:lnTo>
                <a:lnTo>
                  <a:pt x="1089" y="940"/>
                </a:lnTo>
                <a:lnTo>
                  <a:pt x="1089" y="940"/>
                </a:lnTo>
                <a:lnTo>
                  <a:pt x="1095" y="940"/>
                </a:lnTo>
                <a:lnTo>
                  <a:pt x="1095" y="940"/>
                </a:lnTo>
                <a:lnTo>
                  <a:pt x="946" y="946"/>
                </a:lnTo>
                <a:lnTo>
                  <a:pt x="790" y="954"/>
                </a:lnTo>
                <a:lnTo>
                  <a:pt x="632" y="958"/>
                </a:lnTo>
                <a:lnTo>
                  <a:pt x="477" y="962"/>
                </a:lnTo>
                <a:lnTo>
                  <a:pt x="515" y="960"/>
                </a:lnTo>
                <a:lnTo>
                  <a:pt x="515" y="960"/>
                </a:lnTo>
                <a:lnTo>
                  <a:pt x="461" y="962"/>
                </a:lnTo>
                <a:lnTo>
                  <a:pt x="417" y="962"/>
                </a:lnTo>
                <a:lnTo>
                  <a:pt x="421" y="962"/>
                </a:lnTo>
                <a:lnTo>
                  <a:pt x="421" y="962"/>
                </a:lnTo>
                <a:lnTo>
                  <a:pt x="389" y="960"/>
                </a:lnTo>
                <a:lnTo>
                  <a:pt x="365" y="962"/>
                </a:lnTo>
                <a:lnTo>
                  <a:pt x="345" y="962"/>
                </a:lnTo>
                <a:lnTo>
                  <a:pt x="319" y="962"/>
                </a:lnTo>
                <a:lnTo>
                  <a:pt x="327" y="962"/>
                </a:lnTo>
                <a:lnTo>
                  <a:pt x="327" y="962"/>
                </a:lnTo>
                <a:lnTo>
                  <a:pt x="243" y="960"/>
                </a:lnTo>
                <a:lnTo>
                  <a:pt x="158" y="960"/>
                </a:lnTo>
                <a:lnTo>
                  <a:pt x="158" y="960"/>
                </a:lnTo>
                <a:lnTo>
                  <a:pt x="112" y="958"/>
                </a:lnTo>
                <a:lnTo>
                  <a:pt x="78" y="954"/>
                </a:lnTo>
                <a:lnTo>
                  <a:pt x="78" y="954"/>
                </a:lnTo>
                <a:lnTo>
                  <a:pt x="34" y="954"/>
                </a:lnTo>
                <a:lnTo>
                  <a:pt x="48" y="954"/>
                </a:lnTo>
                <a:lnTo>
                  <a:pt x="48" y="954"/>
                </a:lnTo>
                <a:lnTo>
                  <a:pt x="52" y="956"/>
                </a:lnTo>
                <a:lnTo>
                  <a:pt x="50" y="956"/>
                </a:lnTo>
                <a:lnTo>
                  <a:pt x="36" y="954"/>
                </a:lnTo>
                <a:lnTo>
                  <a:pt x="36" y="954"/>
                </a:lnTo>
                <a:lnTo>
                  <a:pt x="16" y="954"/>
                </a:lnTo>
                <a:lnTo>
                  <a:pt x="16" y="954"/>
                </a:lnTo>
                <a:lnTo>
                  <a:pt x="6" y="952"/>
                </a:lnTo>
                <a:lnTo>
                  <a:pt x="6" y="952"/>
                </a:lnTo>
                <a:lnTo>
                  <a:pt x="4" y="950"/>
                </a:lnTo>
                <a:lnTo>
                  <a:pt x="0" y="950"/>
                </a:lnTo>
                <a:lnTo>
                  <a:pt x="0" y="950"/>
                </a:lnTo>
                <a:lnTo>
                  <a:pt x="4" y="952"/>
                </a:lnTo>
                <a:lnTo>
                  <a:pt x="6" y="954"/>
                </a:lnTo>
                <a:lnTo>
                  <a:pt x="6" y="954"/>
                </a:lnTo>
                <a:lnTo>
                  <a:pt x="14" y="956"/>
                </a:lnTo>
                <a:lnTo>
                  <a:pt x="14" y="956"/>
                </a:lnTo>
                <a:lnTo>
                  <a:pt x="30" y="960"/>
                </a:lnTo>
                <a:lnTo>
                  <a:pt x="62" y="964"/>
                </a:lnTo>
                <a:lnTo>
                  <a:pt x="62" y="964"/>
                </a:lnTo>
                <a:lnTo>
                  <a:pt x="88" y="966"/>
                </a:lnTo>
                <a:lnTo>
                  <a:pt x="106" y="966"/>
                </a:lnTo>
                <a:lnTo>
                  <a:pt x="124" y="968"/>
                </a:lnTo>
                <a:lnTo>
                  <a:pt x="152" y="970"/>
                </a:lnTo>
                <a:lnTo>
                  <a:pt x="152" y="970"/>
                </a:lnTo>
                <a:lnTo>
                  <a:pt x="176" y="970"/>
                </a:lnTo>
                <a:lnTo>
                  <a:pt x="204" y="970"/>
                </a:lnTo>
                <a:lnTo>
                  <a:pt x="235" y="970"/>
                </a:lnTo>
                <a:lnTo>
                  <a:pt x="267" y="970"/>
                </a:lnTo>
                <a:lnTo>
                  <a:pt x="267" y="970"/>
                </a:lnTo>
                <a:lnTo>
                  <a:pt x="263" y="970"/>
                </a:lnTo>
                <a:lnTo>
                  <a:pt x="265" y="972"/>
                </a:lnTo>
                <a:lnTo>
                  <a:pt x="281" y="972"/>
                </a:lnTo>
                <a:lnTo>
                  <a:pt x="293" y="972"/>
                </a:lnTo>
                <a:lnTo>
                  <a:pt x="281" y="974"/>
                </a:lnTo>
                <a:lnTo>
                  <a:pt x="281" y="974"/>
                </a:lnTo>
                <a:lnTo>
                  <a:pt x="339" y="972"/>
                </a:lnTo>
                <a:lnTo>
                  <a:pt x="411" y="972"/>
                </a:lnTo>
                <a:lnTo>
                  <a:pt x="411" y="972"/>
                </a:lnTo>
                <a:lnTo>
                  <a:pt x="399" y="974"/>
                </a:lnTo>
                <a:lnTo>
                  <a:pt x="399" y="974"/>
                </a:lnTo>
                <a:lnTo>
                  <a:pt x="437" y="974"/>
                </a:lnTo>
                <a:lnTo>
                  <a:pt x="467" y="974"/>
                </a:lnTo>
                <a:lnTo>
                  <a:pt x="467" y="972"/>
                </a:lnTo>
                <a:lnTo>
                  <a:pt x="467" y="972"/>
                </a:lnTo>
                <a:lnTo>
                  <a:pt x="497" y="972"/>
                </a:lnTo>
                <a:lnTo>
                  <a:pt x="497" y="972"/>
                </a:lnTo>
                <a:lnTo>
                  <a:pt x="479" y="972"/>
                </a:lnTo>
                <a:lnTo>
                  <a:pt x="475" y="970"/>
                </a:lnTo>
                <a:lnTo>
                  <a:pt x="477" y="970"/>
                </a:lnTo>
                <a:lnTo>
                  <a:pt x="477" y="970"/>
                </a:lnTo>
                <a:lnTo>
                  <a:pt x="525" y="968"/>
                </a:lnTo>
                <a:lnTo>
                  <a:pt x="525" y="968"/>
                </a:lnTo>
                <a:lnTo>
                  <a:pt x="505" y="970"/>
                </a:lnTo>
                <a:lnTo>
                  <a:pt x="505" y="970"/>
                </a:lnTo>
                <a:lnTo>
                  <a:pt x="547" y="970"/>
                </a:lnTo>
                <a:lnTo>
                  <a:pt x="547" y="970"/>
                </a:lnTo>
                <a:lnTo>
                  <a:pt x="503" y="972"/>
                </a:lnTo>
                <a:lnTo>
                  <a:pt x="503" y="972"/>
                </a:lnTo>
                <a:lnTo>
                  <a:pt x="527" y="972"/>
                </a:lnTo>
                <a:lnTo>
                  <a:pt x="523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7" y="972"/>
                </a:lnTo>
                <a:lnTo>
                  <a:pt x="555" y="972"/>
                </a:lnTo>
                <a:lnTo>
                  <a:pt x="605" y="970"/>
                </a:lnTo>
                <a:lnTo>
                  <a:pt x="605" y="970"/>
                </a:lnTo>
                <a:lnTo>
                  <a:pt x="595" y="972"/>
                </a:lnTo>
                <a:lnTo>
                  <a:pt x="577" y="972"/>
                </a:lnTo>
                <a:lnTo>
                  <a:pt x="577" y="972"/>
                </a:lnTo>
                <a:lnTo>
                  <a:pt x="613" y="972"/>
                </a:lnTo>
                <a:lnTo>
                  <a:pt x="646" y="972"/>
                </a:lnTo>
                <a:lnTo>
                  <a:pt x="726" y="968"/>
                </a:lnTo>
                <a:lnTo>
                  <a:pt x="726" y="968"/>
                </a:lnTo>
                <a:lnTo>
                  <a:pt x="712" y="970"/>
                </a:lnTo>
                <a:lnTo>
                  <a:pt x="712" y="970"/>
                </a:lnTo>
                <a:lnTo>
                  <a:pt x="754" y="968"/>
                </a:lnTo>
                <a:lnTo>
                  <a:pt x="788" y="966"/>
                </a:lnTo>
                <a:lnTo>
                  <a:pt x="788" y="966"/>
                </a:lnTo>
                <a:lnTo>
                  <a:pt x="802" y="966"/>
                </a:lnTo>
                <a:lnTo>
                  <a:pt x="808" y="968"/>
                </a:lnTo>
                <a:lnTo>
                  <a:pt x="840" y="968"/>
                </a:lnTo>
                <a:lnTo>
                  <a:pt x="840" y="968"/>
                </a:lnTo>
                <a:lnTo>
                  <a:pt x="838" y="966"/>
                </a:lnTo>
                <a:lnTo>
                  <a:pt x="844" y="966"/>
                </a:lnTo>
                <a:lnTo>
                  <a:pt x="864" y="966"/>
                </a:lnTo>
                <a:lnTo>
                  <a:pt x="886" y="964"/>
                </a:lnTo>
                <a:lnTo>
                  <a:pt x="898" y="964"/>
                </a:lnTo>
                <a:lnTo>
                  <a:pt x="934" y="964"/>
                </a:lnTo>
                <a:lnTo>
                  <a:pt x="934" y="964"/>
                </a:lnTo>
                <a:lnTo>
                  <a:pt x="946" y="962"/>
                </a:lnTo>
                <a:lnTo>
                  <a:pt x="948" y="960"/>
                </a:lnTo>
                <a:lnTo>
                  <a:pt x="956" y="958"/>
                </a:lnTo>
                <a:lnTo>
                  <a:pt x="988" y="956"/>
                </a:lnTo>
                <a:lnTo>
                  <a:pt x="988" y="956"/>
                </a:lnTo>
                <a:lnTo>
                  <a:pt x="1012" y="956"/>
                </a:lnTo>
                <a:lnTo>
                  <a:pt x="1012" y="958"/>
                </a:lnTo>
                <a:lnTo>
                  <a:pt x="1010" y="958"/>
                </a:lnTo>
                <a:lnTo>
                  <a:pt x="1004" y="960"/>
                </a:lnTo>
                <a:lnTo>
                  <a:pt x="1016" y="960"/>
                </a:lnTo>
                <a:lnTo>
                  <a:pt x="1030" y="958"/>
                </a:lnTo>
                <a:lnTo>
                  <a:pt x="1059" y="958"/>
                </a:lnTo>
                <a:lnTo>
                  <a:pt x="1053" y="958"/>
                </a:lnTo>
                <a:lnTo>
                  <a:pt x="1053" y="958"/>
                </a:lnTo>
                <a:lnTo>
                  <a:pt x="1101" y="956"/>
                </a:lnTo>
                <a:lnTo>
                  <a:pt x="1101" y="956"/>
                </a:lnTo>
                <a:lnTo>
                  <a:pt x="1077" y="960"/>
                </a:lnTo>
                <a:lnTo>
                  <a:pt x="1077" y="960"/>
                </a:lnTo>
                <a:lnTo>
                  <a:pt x="1147" y="956"/>
                </a:lnTo>
                <a:lnTo>
                  <a:pt x="1187" y="954"/>
                </a:lnTo>
                <a:lnTo>
                  <a:pt x="1217" y="952"/>
                </a:lnTo>
                <a:lnTo>
                  <a:pt x="1217" y="952"/>
                </a:lnTo>
                <a:lnTo>
                  <a:pt x="1247" y="952"/>
                </a:lnTo>
                <a:lnTo>
                  <a:pt x="1263" y="952"/>
                </a:lnTo>
                <a:lnTo>
                  <a:pt x="1263" y="952"/>
                </a:lnTo>
                <a:lnTo>
                  <a:pt x="1307" y="948"/>
                </a:lnTo>
                <a:lnTo>
                  <a:pt x="1359" y="946"/>
                </a:lnTo>
                <a:lnTo>
                  <a:pt x="1359" y="946"/>
                </a:lnTo>
                <a:lnTo>
                  <a:pt x="1369" y="946"/>
                </a:lnTo>
                <a:lnTo>
                  <a:pt x="1393" y="946"/>
                </a:lnTo>
                <a:lnTo>
                  <a:pt x="1393" y="946"/>
                </a:lnTo>
                <a:lnTo>
                  <a:pt x="1383" y="944"/>
                </a:lnTo>
                <a:lnTo>
                  <a:pt x="1399" y="942"/>
                </a:lnTo>
                <a:lnTo>
                  <a:pt x="1399" y="942"/>
                </a:lnTo>
                <a:lnTo>
                  <a:pt x="1445" y="940"/>
                </a:lnTo>
                <a:lnTo>
                  <a:pt x="1484" y="940"/>
                </a:lnTo>
                <a:lnTo>
                  <a:pt x="1484" y="940"/>
                </a:lnTo>
                <a:lnTo>
                  <a:pt x="1506" y="938"/>
                </a:lnTo>
                <a:lnTo>
                  <a:pt x="1508" y="936"/>
                </a:lnTo>
                <a:lnTo>
                  <a:pt x="1510" y="934"/>
                </a:lnTo>
                <a:lnTo>
                  <a:pt x="1510" y="934"/>
                </a:lnTo>
                <a:lnTo>
                  <a:pt x="1558" y="934"/>
                </a:lnTo>
                <a:lnTo>
                  <a:pt x="1578" y="932"/>
                </a:lnTo>
                <a:lnTo>
                  <a:pt x="1582" y="934"/>
                </a:lnTo>
                <a:lnTo>
                  <a:pt x="1582" y="934"/>
                </a:lnTo>
                <a:lnTo>
                  <a:pt x="1582" y="934"/>
                </a:lnTo>
                <a:lnTo>
                  <a:pt x="1548" y="936"/>
                </a:lnTo>
                <a:lnTo>
                  <a:pt x="1536" y="936"/>
                </a:lnTo>
                <a:lnTo>
                  <a:pt x="1534" y="936"/>
                </a:lnTo>
                <a:lnTo>
                  <a:pt x="1534" y="938"/>
                </a:lnTo>
                <a:lnTo>
                  <a:pt x="1534" y="938"/>
                </a:lnTo>
                <a:lnTo>
                  <a:pt x="1556" y="936"/>
                </a:lnTo>
                <a:lnTo>
                  <a:pt x="1574" y="934"/>
                </a:lnTo>
                <a:lnTo>
                  <a:pt x="1574" y="934"/>
                </a:lnTo>
                <a:lnTo>
                  <a:pt x="1582" y="934"/>
                </a:lnTo>
                <a:lnTo>
                  <a:pt x="1588" y="936"/>
                </a:lnTo>
                <a:lnTo>
                  <a:pt x="1588" y="936"/>
                </a:lnTo>
                <a:lnTo>
                  <a:pt x="1646" y="932"/>
                </a:lnTo>
                <a:lnTo>
                  <a:pt x="1646" y="932"/>
                </a:lnTo>
                <a:lnTo>
                  <a:pt x="1636" y="932"/>
                </a:lnTo>
                <a:lnTo>
                  <a:pt x="1642" y="932"/>
                </a:lnTo>
                <a:lnTo>
                  <a:pt x="1652" y="930"/>
                </a:lnTo>
                <a:lnTo>
                  <a:pt x="1648" y="930"/>
                </a:lnTo>
                <a:lnTo>
                  <a:pt x="1614" y="934"/>
                </a:lnTo>
                <a:lnTo>
                  <a:pt x="1614" y="934"/>
                </a:lnTo>
                <a:lnTo>
                  <a:pt x="1594" y="934"/>
                </a:lnTo>
                <a:lnTo>
                  <a:pt x="1596" y="934"/>
                </a:lnTo>
                <a:lnTo>
                  <a:pt x="1592" y="932"/>
                </a:lnTo>
                <a:lnTo>
                  <a:pt x="1592" y="932"/>
                </a:lnTo>
                <a:lnTo>
                  <a:pt x="1654" y="928"/>
                </a:lnTo>
                <a:lnTo>
                  <a:pt x="1714" y="922"/>
                </a:lnTo>
                <a:lnTo>
                  <a:pt x="1756" y="920"/>
                </a:lnTo>
                <a:lnTo>
                  <a:pt x="1756" y="920"/>
                </a:lnTo>
                <a:lnTo>
                  <a:pt x="1740" y="922"/>
                </a:lnTo>
                <a:lnTo>
                  <a:pt x="1750" y="922"/>
                </a:lnTo>
                <a:lnTo>
                  <a:pt x="1750" y="922"/>
                </a:lnTo>
                <a:lnTo>
                  <a:pt x="1802" y="920"/>
                </a:lnTo>
                <a:lnTo>
                  <a:pt x="1848" y="918"/>
                </a:lnTo>
                <a:lnTo>
                  <a:pt x="1848" y="918"/>
                </a:lnTo>
                <a:lnTo>
                  <a:pt x="1832" y="918"/>
                </a:lnTo>
                <a:lnTo>
                  <a:pt x="1846" y="916"/>
                </a:lnTo>
                <a:lnTo>
                  <a:pt x="1846" y="916"/>
                </a:lnTo>
                <a:lnTo>
                  <a:pt x="1884" y="914"/>
                </a:lnTo>
                <a:lnTo>
                  <a:pt x="1886" y="914"/>
                </a:lnTo>
                <a:lnTo>
                  <a:pt x="1899" y="914"/>
                </a:lnTo>
                <a:lnTo>
                  <a:pt x="1899" y="914"/>
                </a:lnTo>
                <a:lnTo>
                  <a:pt x="2027" y="906"/>
                </a:lnTo>
                <a:lnTo>
                  <a:pt x="2139" y="900"/>
                </a:lnTo>
                <a:lnTo>
                  <a:pt x="2101" y="900"/>
                </a:lnTo>
                <a:lnTo>
                  <a:pt x="2089" y="902"/>
                </a:lnTo>
                <a:lnTo>
                  <a:pt x="2089" y="902"/>
                </a:lnTo>
                <a:lnTo>
                  <a:pt x="2077" y="902"/>
                </a:lnTo>
                <a:lnTo>
                  <a:pt x="2083" y="900"/>
                </a:lnTo>
                <a:lnTo>
                  <a:pt x="2111" y="896"/>
                </a:lnTo>
                <a:lnTo>
                  <a:pt x="2111" y="896"/>
                </a:lnTo>
                <a:lnTo>
                  <a:pt x="2137" y="894"/>
                </a:lnTo>
                <a:lnTo>
                  <a:pt x="2147" y="894"/>
                </a:lnTo>
                <a:lnTo>
                  <a:pt x="2145" y="894"/>
                </a:lnTo>
                <a:lnTo>
                  <a:pt x="2191" y="890"/>
                </a:lnTo>
                <a:lnTo>
                  <a:pt x="2191" y="890"/>
                </a:lnTo>
                <a:lnTo>
                  <a:pt x="2173" y="892"/>
                </a:lnTo>
                <a:lnTo>
                  <a:pt x="2167" y="892"/>
                </a:lnTo>
                <a:lnTo>
                  <a:pt x="2175" y="890"/>
                </a:lnTo>
                <a:lnTo>
                  <a:pt x="2175" y="890"/>
                </a:lnTo>
                <a:lnTo>
                  <a:pt x="2209" y="890"/>
                </a:lnTo>
                <a:lnTo>
                  <a:pt x="2219" y="890"/>
                </a:lnTo>
                <a:lnTo>
                  <a:pt x="2209" y="890"/>
                </a:lnTo>
                <a:lnTo>
                  <a:pt x="2209" y="890"/>
                </a:lnTo>
                <a:lnTo>
                  <a:pt x="2247" y="888"/>
                </a:lnTo>
                <a:lnTo>
                  <a:pt x="2261" y="886"/>
                </a:lnTo>
                <a:lnTo>
                  <a:pt x="2261" y="886"/>
                </a:lnTo>
                <a:lnTo>
                  <a:pt x="2277" y="884"/>
                </a:lnTo>
                <a:lnTo>
                  <a:pt x="2271" y="886"/>
                </a:lnTo>
                <a:lnTo>
                  <a:pt x="2239" y="890"/>
                </a:lnTo>
                <a:lnTo>
                  <a:pt x="2239" y="890"/>
                </a:lnTo>
                <a:lnTo>
                  <a:pt x="2263" y="888"/>
                </a:lnTo>
                <a:lnTo>
                  <a:pt x="2257" y="890"/>
                </a:lnTo>
                <a:lnTo>
                  <a:pt x="2301" y="886"/>
                </a:lnTo>
                <a:lnTo>
                  <a:pt x="2301" y="886"/>
                </a:lnTo>
                <a:lnTo>
                  <a:pt x="2281" y="890"/>
                </a:lnTo>
                <a:lnTo>
                  <a:pt x="2281" y="890"/>
                </a:lnTo>
                <a:lnTo>
                  <a:pt x="2322" y="886"/>
                </a:lnTo>
                <a:lnTo>
                  <a:pt x="2358" y="884"/>
                </a:lnTo>
                <a:lnTo>
                  <a:pt x="2368" y="882"/>
                </a:lnTo>
                <a:lnTo>
                  <a:pt x="2368" y="882"/>
                </a:lnTo>
                <a:lnTo>
                  <a:pt x="2516" y="872"/>
                </a:lnTo>
                <a:lnTo>
                  <a:pt x="2504" y="872"/>
                </a:lnTo>
                <a:lnTo>
                  <a:pt x="2504" y="872"/>
                </a:lnTo>
                <a:lnTo>
                  <a:pt x="2534" y="870"/>
                </a:lnTo>
                <a:lnTo>
                  <a:pt x="2554" y="868"/>
                </a:lnTo>
                <a:lnTo>
                  <a:pt x="2578" y="868"/>
                </a:lnTo>
                <a:lnTo>
                  <a:pt x="2622" y="864"/>
                </a:lnTo>
                <a:lnTo>
                  <a:pt x="2622" y="864"/>
                </a:lnTo>
                <a:lnTo>
                  <a:pt x="2672" y="860"/>
                </a:lnTo>
                <a:lnTo>
                  <a:pt x="2684" y="858"/>
                </a:lnTo>
                <a:lnTo>
                  <a:pt x="2686" y="858"/>
                </a:lnTo>
                <a:lnTo>
                  <a:pt x="2686" y="856"/>
                </a:lnTo>
                <a:lnTo>
                  <a:pt x="2686" y="856"/>
                </a:lnTo>
                <a:lnTo>
                  <a:pt x="2712" y="854"/>
                </a:lnTo>
                <a:lnTo>
                  <a:pt x="2729" y="854"/>
                </a:lnTo>
                <a:lnTo>
                  <a:pt x="2729" y="854"/>
                </a:lnTo>
                <a:lnTo>
                  <a:pt x="2771" y="850"/>
                </a:lnTo>
                <a:lnTo>
                  <a:pt x="2821" y="846"/>
                </a:lnTo>
                <a:lnTo>
                  <a:pt x="2763" y="852"/>
                </a:lnTo>
                <a:lnTo>
                  <a:pt x="2763" y="852"/>
                </a:lnTo>
                <a:lnTo>
                  <a:pt x="2803" y="850"/>
                </a:lnTo>
                <a:lnTo>
                  <a:pt x="2861" y="844"/>
                </a:lnTo>
                <a:lnTo>
                  <a:pt x="2995" y="830"/>
                </a:lnTo>
                <a:lnTo>
                  <a:pt x="2995" y="830"/>
                </a:lnTo>
                <a:lnTo>
                  <a:pt x="2987" y="830"/>
                </a:lnTo>
                <a:lnTo>
                  <a:pt x="2987" y="828"/>
                </a:lnTo>
                <a:lnTo>
                  <a:pt x="2987" y="828"/>
                </a:lnTo>
                <a:lnTo>
                  <a:pt x="3021" y="822"/>
                </a:lnTo>
                <a:lnTo>
                  <a:pt x="3021" y="822"/>
                </a:lnTo>
                <a:lnTo>
                  <a:pt x="3045" y="822"/>
                </a:lnTo>
                <a:lnTo>
                  <a:pt x="3093" y="818"/>
                </a:lnTo>
                <a:lnTo>
                  <a:pt x="3093" y="818"/>
                </a:lnTo>
                <a:lnTo>
                  <a:pt x="3093" y="820"/>
                </a:lnTo>
                <a:lnTo>
                  <a:pt x="3097" y="820"/>
                </a:lnTo>
                <a:lnTo>
                  <a:pt x="3111" y="818"/>
                </a:lnTo>
                <a:lnTo>
                  <a:pt x="3117" y="820"/>
                </a:lnTo>
                <a:lnTo>
                  <a:pt x="3097" y="822"/>
                </a:lnTo>
                <a:lnTo>
                  <a:pt x="3097" y="822"/>
                </a:lnTo>
                <a:lnTo>
                  <a:pt x="3077" y="822"/>
                </a:lnTo>
                <a:lnTo>
                  <a:pt x="3053" y="824"/>
                </a:lnTo>
                <a:lnTo>
                  <a:pt x="3053" y="824"/>
                </a:lnTo>
                <a:lnTo>
                  <a:pt x="3135" y="820"/>
                </a:lnTo>
                <a:lnTo>
                  <a:pt x="3135" y="820"/>
                </a:lnTo>
                <a:lnTo>
                  <a:pt x="3095" y="824"/>
                </a:lnTo>
                <a:lnTo>
                  <a:pt x="3095" y="824"/>
                </a:lnTo>
                <a:lnTo>
                  <a:pt x="3101" y="824"/>
                </a:lnTo>
                <a:lnTo>
                  <a:pt x="3099" y="822"/>
                </a:lnTo>
              </a:path>
            </a:pathLst>
          </a:custGeom>
          <a:solidFill>
            <a:schemeClr val="bg1">
              <a:alpha val="6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pic>
        <p:nvPicPr>
          <p:cNvPr id="22" name="Picture 7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426" y="1306170"/>
            <a:ext cx="2712434" cy="1558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4196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dirty="0"/>
          </a:p>
        </p:txBody>
      </p:sp>
      <p:pic>
        <p:nvPicPr>
          <p:cNvPr id="7" name="Grafik 12" descr="primaerlogo-wts-weiss.png"/>
          <p:cNvPicPr>
            <a:picLocks noChangeAspect="1"/>
          </p:cNvPicPr>
          <p:nvPr userDrawn="1"/>
        </p:nvPicPr>
        <p:blipFill rotWithShape="1">
          <a:blip r:embed="rId7" cstate="print"/>
          <a:srcRect r="59833"/>
          <a:stretch/>
        </p:blipFill>
        <p:spPr bwMode="gray">
          <a:xfrm>
            <a:off x="439738" y="514350"/>
            <a:ext cx="110696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68313" y="1520825"/>
            <a:ext cx="5675312" cy="1470025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8313" y="3218006"/>
            <a:ext cx="5675312" cy="1292662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 smtClean="0"/>
              <a:t>Formatvorlage</a:t>
            </a:r>
            <a:r>
              <a:rPr lang="en-GB" dirty="0" smtClean="0"/>
              <a:t> des </a:t>
            </a:r>
            <a:r>
              <a:rPr lang="en-GB" dirty="0" err="1" smtClean="0"/>
              <a:t>Unter-titelmasters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17" name="Freeform 50"/>
          <p:cNvSpPr>
            <a:spLocks/>
          </p:cNvSpPr>
          <p:nvPr userDrawn="1"/>
        </p:nvSpPr>
        <p:spPr bwMode="auto">
          <a:xfrm>
            <a:off x="-6673269" y="2604674"/>
            <a:ext cx="13334479" cy="3384550"/>
          </a:xfrm>
          <a:custGeom>
            <a:avLst/>
            <a:gdLst>
              <a:gd name="T0" fmla="*/ 2457 w 5760"/>
              <a:gd name="T1" fmla="*/ 1278 h 1462"/>
              <a:gd name="T2" fmla="*/ 2601 w 5760"/>
              <a:gd name="T3" fmla="*/ 1266 h 1462"/>
              <a:gd name="T4" fmla="*/ 2656 w 5760"/>
              <a:gd name="T5" fmla="*/ 1257 h 1462"/>
              <a:gd name="T6" fmla="*/ 2732 w 5760"/>
              <a:gd name="T7" fmla="*/ 1252 h 1462"/>
              <a:gd name="T8" fmla="*/ 3014 w 5760"/>
              <a:gd name="T9" fmla="*/ 1222 h 1462"/>
              <a:gd name="T10" fmla="*/ 3175 w 5760"/>
              <a:gd name="T11" fmla="*/ 1204 h 1462"/>
              <a:gd name="T12" fmla="*/ 3282 w 5760"/>
              <a:gd name="T13" fmla="*/ 1193 h 1462"/>
              <a:gd name="T14" fmla="*/ 3479 w 5760"/>
              <a:gd name="T15" fmla="*/ 1172 h 1462"/>
              <a:gd name="T16" fmla="*/ 3533 w 5760"/>
              <a:gd name="T17" fmla="*/ 1168 h 1462"/>
              <a:gd name="T18" fmla="*/ 3653 w 5760"/>
              <a:gd name="T19" fmla="*/ 1154 h 1462"/>
              <a:gd name="T20" fmla="*/ 3945 w 5760"/>
              <a:gd name="T21" fmla="*/ 1118 h 1462"/>
              <a:gd name="T22" fmla="*/ 4049 w 5760"/>
              <a:gd name="T23" fmla="*/ 1098 h 1462"/>
              <a:gd name="T24" fmla="*/ 4198 w 5760"/>
              <a:gd name="T25" fmla="*/ 1065 h 1462"/>
              <a:gd name="T26" fmla="*/ 4336 w 5760"/>
              <a:gd name="T27" fmla="*/ 1033 h 1462"/>
              <a:gd name="T28" fmla="*/ 4401 w 5760"/>
              <a:gd name="T29" fmla="*/ 1013 h 1462"/>
              <a:gd name="T30" fmla="*/ 4726 w 5760"/>
              <a:gd name="T31" fmla="*/ 877 h 1462"/>
              <a:gd name="T32" fmla="*/ 4872 w 5760"/>
              <a:gd name="T33" fmla="*/ 799 h 1462"/>
              <a:gd name="T34" fmla="*/ 4913 w 5760"/>
              <a:gd name="T35" fmla="*/ 770 h 1462"/>
              <a:gd name="T36" fmla="*/ 5019 w 5760"/>
              <a:gd name="T37" fmla="*/ 696 h 1462"/>
              <a:gd name="T38" fmla="*/ 5127 w 5760"/>
              <a:gd name="T39" fmla="*/ 618 h 1462"/>
              <a:gd name="T40" fmla="*/ 5168 w 5760"/>
              <a:gd name="T41" fmla="*/ 583 h 1462"/>
              <a:gd name="T42" fmla="*/ 5335 w 5760"/>
              <a:gd name="T43" fmla="*/ 439 h 1462"/>
              <a:gd name="T44" fmla="*/ 5462 w 5760"/>
              <a:gd name="T45" fmla="*/ 320 h 1462"/>
              <a:gd name="T46" fmla="*/ 5570 w 5760"/>
              <a:gd name="T47" fmla="*/ 207 h 1462"/>
              <a:gd name="T48" fmla="*/ 5625 w 5760"/>
              <a:gd name="T49" fmla="*/ 145 h 1462"/>
              <a:gd name="T50" fmla="*/ 5508 w 5760"/>
              <a:gd name="T51" fmla="*/ 264 h 1462"/>
              <a:gd name="T52" fmla="*/ 5676 w 5760"/>
              <a:gd name="T53" fmla="*/ 95 h 1462"/>
              <a:gd name="T54" fmla="*/ 5720 w 5760"/>
              <a:gd name="T55" fmla="*/ 41 h 1462"/>
              <a:gd name="T56" fmla="*/ 5708 w 5760"/>
              <a:gd name="T57" fmla="*/ 51 h 1462"/>
              <a:gd name="T58" fmla="*/ 5657 w 5760"/>
              <a:gd name="T59" fmla="*/ 99 h 1462"/>
              <a:gd name="T60" fmla="*/ 5555 w 5760"/>
              <a:gd name="T61" fmla="*/ 208 h 1462"/>
              <a:gd name="T62" fmla="*/ 5501 w 5760"/>
              <a:gd name="T63" fmla="*/ 264 h 1462"/>
              <a:gd name="T64" fmla="*/ 5269 w 5760"/>
              <a:gd name="T65" fmla="*/ 487 h 1462"/>
              <a:gd name="T66" fmla="*/ 5314 w 5760"/>
              <a:gd name="T67" fmla="*/ 442 h 1462"/>
              <a:gd name="T68" fmla="*/ 5204 w 5760"/>
              <a:gd name="T69" fmla="*/ 540 h 1462"/>
              <a:gd name="T70" fmla="*/ 5138 w 5760"/>
              <a:gd name="T71" fmla="*/ 588 h 1462"/>
              <a:gd name="T72" fmla="*/ 4907 w 5760"/>
              <a:gd name="T73" fmla="*/ 760 h 1462"/>
              <a:gd name="T74" fmla="*/ 4751 w 5760"/>
              <a:gd name="T75" fmla="*/ 849 h 1462"/>
              <a:gd name="T76" fmla="*/ 4599 w 5760"/>
              <a:gd name="T77" fmla="*/ 920 h 1462"/>
              <a:gd name="T78" fmla="*/ 4318 w 5760"/>
              <a:gd name="T79" fmla="*/ 1019 h 1462"/>
              <a:gd name="T80" fmla="*/ 4283 w 5760"/>
              <a:gd name="T81" fmla="*/ 1031 h 1462"/>
              <a:gd name="T82" fmla="*/ 4180 w 5760"/>
              <a:gd name="T83" fmla="*/ 1059 h 1462"/>
              <a:gd name="T84" fmla="*/ 4053 w 5760"/>
              <a:gd name="T85" fmla="*/ 1080 h 1462"/>
              <a:gd name="T86" fmla="*/ 3512 w 5760"/>
              <a:gd name="T87" fmla="*/ 1151 h 1462"/>
              <a:gd name="T88" fmla="*/ 2844 w 5760"/>
              <a:gd name="T89" fmla="*/ 1224 h 1462"/>
              <a:gd name="T90" fmla="*/ 2655 w 5760"/>
              <a:gd name="T91" fmla="*/ 1239 h 1462"/>
              <a:gd name="T92" fmla="*/ 2159 w 5760"/>
              <a:gd name="T93" fmla="*/ 1288 h 1462"/>
              <a:gd name="T94" fmla="*/ 1983 w 5760"/>
              <a:gd name="T95" fmla="*/ 1305 h 1462"/>
              <a:gd name="T96" fmla="*/ 1693 w 5760"/>
              <a:gd name="T97" fmla="*/ 1331 h 1462"/>
              <a:gd name="T98" fmla="*/ 889 w 5760"/>
              <a:gd name="T99" fmla="*/ 1403 h 1462"/>
              <a:gd name="T100" fmla="*/ 372 w 5760"/>
              <a:gd name="T101" fmla="*/ 1442 h 1462"/>
              <a:gd name="T102" fmla="*/ 26 w 5760"/>
              <a:gd name="T103" fmla="*/ 1456 h 1462"/>
              <a:gd name="T104" fmla="*/ 148 w 5760"/>
              <a:gd name="T105" fmla="*/ 1461 h 1462"/>
              <a:gd name="T106" fmla="*/ 346 w 5760"/>
              <a:gd name="T107" fmla="*/ 1451 h 1462"/>
              <a:gd name="T108" fmla="*/ 525 w 5760"/>
              <a:gd name="T109" fmla="*/ 1442 h 1462"/>
              <a:gd name="T110" fmla="*/ 733 w 5760"/>
              <a:gd name="T111" fmla="*/ 1427 h 1462"/>
              <a:gd name="T112" fmla="*/ 1009 w 5760"/>
              <a:gd name="T113" fmla="*/ 1410 h 1462"/>
              <a:gd name="T114" fmla="*/ 1146 w 5760"/>
              <a:gd name="T115" fmla="*/ 1399 h 1462"/>
              <a:gd name="T116" fmla="*/ 1338 w 5760"/>
              <a:gd name="T117" fmla="*/ 1383 h 1462"/>
              <a:gd name="T118" fmla="*/ 1575 w 5760"/>
              <a:gd name="T119" fmla="*/ 1358 h 1462"/>
              <a:gd name="T120" fmla="*/ 1812 w 5760"/>
              <a:gd name="T121" fmla="*/ 1341 h 1462"/>
              <a:gd name="T122" fmla="*/ 2162 w 5760"/>
              <a:gd name="T123" fmla="*/ 1303 h 1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760" h="1462">
                <a:moveTo>
                  <a:pt x="2242" y="1298"/>
                </a:moveTo>
                <a:lnTo>
                  <a:pt x="2242" y="1298"/>
                </a:lnTo>
                <a:lnTo>
                  <a:pt x="2224" y="1300"/>
                </a:lnTo>
                <a:lnTo>
                  <a:pt x="2230" y="1300"/>
                </a:lnTo>
                <a:lnTo>
                  <a:pt x="2241" y="1300"/>
                </a:lnTo>
                <a:lnTo>
                  <a:pt x="2245" y="1300"/>
                </a:lnTo>
                <a:lnTo>
                  <a:pt x="2245" y="1300"/>
                </a:lnTo>
                <a:lnTo>
                  <a:pt x="2267" y="1298"/>
                </a:lnTo>
                <a:lnTo>
                  <a:pt x="2274" y="1298"/>
                </a:lnTo>
                <a:lnTo>
                  <a:pt x="2272" y="1296"/>
                </a:lnTo>
                <a:lnTo>
                  <a:pt x="2272" y="1296"/>
                </a:lnTo>
                <a:lnTo>
                  <a:pt x="2294" y="1295"/>
                </a:lnTo>
                <a:lnTo>
                  <a:pt x="2320" y="1292"/>
                </a:lnTo>
                <a:lnTo>
                  <a:pt x="2348" y="1289"/>
                </a:lnTo>
                <a:lnTo>
                  <a:pt x="2372" y="1288"/>
                </a:lnTo>
                <a:lnTo>
                  <a:pt x="2372" y="1288"/>
                </a:lnTo>
                <a:lnTo>
                  <a:pt x="2366" y="1288"/>
                </a:lnTo>
                <a:lnTo>
                  <a:pt x="2375" y="1286"/>
                </a:lnTo>
                <a:lnTo>
                  <a:pt x="2375" y="1286"/>
                </a:lnTo>
                <a:lnTo>
                  <a:pt x="2400" y="1284"/>
                </a:lnTo>
                <a:lnTo>
                  <a:pt x="2411" y="1284"/>
                </a:lnTo>
                <a:lnTo>
                  <a:pt x="2411" y="1284"/>
                </a:lnTo>
                <a:lnTo>
                  <a:pt x="2457" y="1278"/>
                </a:lnTo>
                <a:lnTo>
                  <a:pt x="2457" y="1278"/>
                </a:lnTo>
                <a:lnTo>
                  <a:pt x="2461" y="1278"/>
                </a:lnTo>
                <a:lnTo>
                  <a:pt x="2457" y="1278"/>
                </a:lnTo>
                <a:lnTo>
                  <a:pt x="2454" y="1277"/>
                </a:lnTo>
                <a:lnTo>
                  <a:pt x="2463" y="1275"/>
                </a:lnTo>
                <a:lnTo>
                  <a:pt x="2463" y="1275"/>
                </a:lnTo>
                <a:lnTo>
                  <a:pt x="2492" y="1273"/>
                </a:lnTo>
                <a:lnTo>
                  <a:pt x="2523" y="1270"/>
                </a:lnTo>
                <a:lnTo>
                  <a:pt x="2523" y="1270"/>
                </a:lnTo>
                <a:lnTo>
                  <a:pt x="2529" y="1270"/>
                </a:lnTo>
                <a:lnTo>
                  <a:pt x="2518" y="1270"/>
                </a:lnTo>
                <a:lnTo>
                  <a:pt x="2489" y="1274"/>
                </a:lnTo>
                <a:lnTo>
                  <a:pt x="2557" y="1267"/>
                </a:lnTo>
                <a:lnTo>
                  <a:pt x="2557" y="1267"/>
                </a:lnTo>
                <a:lnTo>
                  <a:pt x="2564" y="1266"/>
                </a:lnTo>
                <a:lnTo>
                  <a:pt x="2557" y="1267"/>
                </a:lnTo>
                <a:lnTo>
                  <a:pt x="2528" y="1270"/>
                </a:lnTo>
                <a:lnTo>
                  <a:pt x="2528" y="1270"/>
                </a:lnTo>
                <a:lnTo>
                  <a:pt x="2570" y="1266"/>
                </a:lnTo>
                <a:lnTo>
                  <a:pt x="2598" y="1263"/>
                </a:lnTo>
                <a:lnTo>
                  <a:pt x="2598" y="1263"/>
                </a:lnTo>
                <a:lnTo>
                  <a:pt x="2641" y="1259"/>
                </a:lnTo>
                <a:lnTo>
                  <a:pt x="2641" y="1259"/>
                </a:lnTo>
                <a:lnTo>
                  <a:pt x="2624" y="1261"/>
                </a:lnTo>
                <a:lnTo>
                  <a:pt x="2601" y="1266"/>
                </a:lnTo>
                <a:lnTo>
                  <a:pt x="2601" y="1266"/>
                </a:lnTo>
                <a:lnTo>
                  <a:pt x="2585" y="1267"/>
                </a:lnTo>
                <a:lnTo>
                  <a:pt x="2588" y="1266"/>
                </a:lnTo>
                <a:lnTo>
                  <a:pt x="2592" y="1264"/>
                </a:lnTo>
                <a:lnTo>
                  <a:pt x="2581" y="1266"/>
                </a:lnTo>
                <a:lnTo>
                  <a:pt x="2577" y="1267"/>
                </a:lnTo>
                <a:lnTo>
                  <a:pt x="2577" y="1267"/>
                </a:lnTo>
                <a:lnTo>
                  <a:pt x="2556" y="1268"/>
                </a:lnTo>
                <a:lnTo>
                  <a:pt x="2534" y="1271"/>
                </a:lnTo>
                <a:lnTo>
                  <a:pt x="2534" y="1271"/>
                </a:lnTo>
                <a:lnTo>
                  <a:pt x="2531" y="1271"/>
                </a:lnTo>
                <a:lnTo>
                  <a:pt x="2532" y="1271"/>
                </a:lnTo>
                <a:lnTo>
                  <a:pt x="2542" y="1270"/>
                </a:lnTo>
                <a:lnTo>
                  <a:pt x="2542" y="1270"/>
                </a:lnTo>
                <a:lnTo>
                  <a:pt x="2503" y="1274"/>
                </a:lnTo>
                <a:lnTo>
                  <a:pt x="2468" y="1278"/>
                </a:lnTo>
                <a:lnTo>
                  <a:pt x="2468" y="1278"/>
                </a:lnTo>
                <a:lnTo>
                  <a:pt x="2534" y="1273"/>
                </a:lnTo>
                <a:lnTo>
                  <a:pt x="2584" y="1267"/>
                </a:lnTo>
                <a:lnTo>
                  <a:pt x="2662" y="1259"/>
                </a:lnTo>
                <a:lnTo>
                  <a:pt x="2662" y="1259"/>
                </a:lnTo>
                <a:lnTo>
                  <a:pt x="2651" y="1259"/>
                </a:lnTo>
                <a:lnTo>
                  <a:pt x="2648" y="1259"/>
                </a:lnTo>
                <a:lnTo>
                  <a:pt x="2656" y="1257"/>
                </a:lnTo>
                <a:lnTo>
                  <a:pt x="2656" y="1257"/>
                </a:lnTo>
                <a:lnTo>
                  <a:pt x="2680" y="1256"/>
                </a:lnTo>
                <a:lnTo>
                  <a:pt x="2719" y="1253"/>
                </a:lnTo>
                <a:lnTo>
                  <a:pt x="2719" y="1253"/>
                </a:lnTo>
                <a:lnTo>
                  <a:pt x="2718" y="1253"/>
                </a:lnTo>
                <a:lnTo>
                  <a:pt x="2722" y="1252"/>
                </a:lnTo>
                <a:lnTo>
                  <a:pt x="2737" y="1250"/>
                </a:lnTo>
                <a:lnTo>
                  <a:pt x="2751" y="1247"/>
                </a:lnTo>
                <a:lnTo>
                  <a:pt x="2754" y="1247"/>
                </a:lnTo>
                <a:lnTo>
                  <a:pt x="2752" y="1247"/>
                </a:lnTo>
                <a:lnTo>
                  <a:pt x="2752" y="1247"/>
                </a:lnTo>
                <a:lnTo>
                  <a:pt x="2736" y="1249"/>
                </a:lnTo>
                <a:lnTo>
                  <a:pt x="2729" y="1249"/>
                </a:lnTo>
                <a:lnTo>
                  <a:pt x="2729" y="1249"/>
                </a:lnTo>
                <a:lnTo>
                  <a:pt x="2741" y="1247"/>
                </a:lnTo>
                <a:lnTo>
                  <a:pt x="2744" y="1247"/>
                </a:lnTo>
                <a:lnTo>
                  <a:pt x="2743" y="1246"/>
                </a:lnTo>
                <a:lnTo>
                  <a:pt x="2748" y="1246"/>
                </a:lnTo>
                <a:lnTo>
                  <a:pt x="2748" y="1246"/>
                </a:lnTo>
                <a:lnTo>
                  <a:pt x="2775" y="1243"/>
                </a:lnTo>
                <a:lnTo>
                  <a:pt x="2798" y="1242"/>
                </a:lnTo>
                <a:lnTo>
                  <a:pt x="2798" y="1242"/>
                </a:lnTo>
                <a:lnTo>
                  <a:pt x="2732" y="1252"/>
                </a:lnTo>
                <a:lnTo>
                  <a:pt x="2732" y="1252"/>
                </a:lnTo>
                <a:lnTo>
                  <a:pt x="2772" y="1247"/>
                </a:lnTo>
                <a:lnTo>
                  <a:pt x="2772" y="1247"/>
                </a:lnTo>
                <a:lnTo>
                  <a:pt x="2766" y="1247"/>
                </a:lnTo>
                <a:lnTo>
                  <a:pt x="2771" y="1247"/>
                </a:lnTo>
                <a:lnTo>
                  <a:pt x="2775" y="1246"/>
                </a:lnTo>
                <a:lnTo>
                  <a:pt x="2771" y="1246"/>
                </a:lnTo>
                <a:lnTo>
                  <a:pt x="2771" y="1246"/>
                </a:lnTo>
                <a:lnTo>
                  <a:pt x="2913" y="1231"/>
                </a:lnTo>
                <a:lnTo>
                  <a:pt x="2913" y="1231"/>
                </a:lnTo>
                <a:lnTo>
                  <a:pt x="2896" y="1234"/>
                </a:lnTo>
                <a:lnTo>
                  <a:pt x="2868" y="1236"/>
                </a:lnTo>
                <a:lnTo>
                  <a:pt x="2846" y="1239"/>
                </a:lnTo>
                <a:lnTo>
                  <a:pt x="2840" y="1240"/>
                </a:lnTo>
                <a:lnTo>
                  <a:pt x="2843" y="1240"/>
                </a:lnTo>
                <a:lnTo>
                  <a:pt x="2843" y="1240"/>
                </a:lnTo>
                <a:lnTo>
                  <a:pt x="2867" y="1238"/>
                </a:lnTo>
                <a:lnTo>
                  <a:pt x="2888" y="1235"/>
                </a:lnTo>
                <a:lnTo>
                  <a:pt x="2888" y="1235"/>
                </a:lnTo>
                <a:lnTo>
                  <a:pt x="2928" y="1232"/>
                </a:lnTo>
                <a:lnTo>
                  <a:pt x="2981" y="1227"/>
                </a:lnTo>
                <a:lnTo>
                  <a:pt x="2966" y="1227"/>
                </a:lnTo>
                <a:lnTo>
                  <a:pt x="2966" y="1227"/>
                </a:lnTo>
                <a:lnTo>
                  <a:pt x="3019" y="1222"/>
                </a:lnTo>
                <a:lnTo>
                  <a:pt x="3014" y="1222"/>
                </a:lnTo>
                <a:lnTo>
                  <a:pt x="3030" y="1221"/>
                </a:lnTo>
                <a:lnTo>
                  <a:pt x="3030" y="1221"/>
                </a:lnTo>
                <a:lnTo>
                  <a:pt x="3033" y="1221"/>
                </a:lnTo>
                <a:lnTo>
                  <a:pt x="3033" y="1221"/>
                </a:lnTo>
                <a:lnTo>
                  <a:pt x="3122" y="1211"/>
                </a:lnTo>
                <a:lnTo>
                  <a:pt x="3122" y="1211"/>
                </a:lnTo>
                <a:lnTo>
                  <a:pt x="3104" y="1213"/>
                </a:lnTo>
                <a:lnTo>
                  <a:pt x="3076" y="1215"/>
                </a:lnTo>
                <a:lnTo>
                  <a:pt x="3076" y="1215"/>
                </a:lnTo>
                <a:lnTo>
                  <a:pt x="3059" y="1217"/>
                </a:lnTo>
                <a:lnTo>
                  <a:pt x="3054" y="1217"/>
                </a:lnTo>
                <a:lnTo>
                  <a:pt x="3056" y="1217"/>
                </a:lnTo>
                <a:lnTo>
                  <a:pt x="3056" y="1217"/>
                </a:lnTo>
                <a:lnTo>
                  <a:pt x="3166" y="1204"/>
                </a:lnTo>
                <a:lnTo>
                  <a:pt x="3152" y="1206"/>
                </a:lnTo>
                <a:lnTo>
                  <a:pt x="3152" y="1206"/>
                </a:lnTo>
                <a:lnTo>
                  <a:pt x="3207" y="1199"/>
                </a:lnTo>
                <a:lnTo>
                  <a:pt x="3207" y="1199"/>
                </a:lnTo>
                <a:lnTo>
                  <a:pt x="3219" y="1199"/>
                </a:lnTo>
                <a:lnTo>
                  <a:pt x="3210" y="1200"/>
                </a:lnTo>
                <a:lnTo>
                  <a:pt x="3198" y="1201"/>
                </a:lnTo>
                <a:lnTo>
                  <a:pt x="3203" y="1201"/>
                </a:lnTo>
                <a:lnTo>
                  <a:pt x="3203" y="1201"/>
                </a:lnTo>
                <a:lnTo>
                  <a:pt x="3175" y="1204"/>
                </a:lnTo>
                <a:lnTo>
                  <a:pt x="3157" y="1207"/>
                </a:lnTo>
                <a:lnTo>
                  <a:pt x="3182" y="1206"/>
                </a:lnTo>
                <a:lnTo>
                  <a:pt x="3182" y="1206"/>
                </a:lnTo>
                <a:lnTo>
                  <a:pt x="3211" y="1203"/>
                </a:lnTo>
                <a:lnTo>
                  <a:pt x="3237" y="1200"/>
                </a:lnTo>
                <a:lnTo>
                  <a:pt x="3222" y="1201"/>
                </a:lnTo>
                <a:lnTo>
                  <a:pt x="3222" y="1201"/>
                </a:lnTo>
                <a:lnTo>
                  <a:pt x="3233" y="1200"/>
                </a:lnTo>
                <a:lnTo>
                  <a:pt x="3247" y="1199"/>
                </a:lnTo>
                <a:lnTo>
                  <a:pt x="3236" y="1199"/>
                </a:lnTo>
                <a:lnTo>
                  <a:pt x="3236" y="1199"/>
                </a:lnTo>
                <a:lnTo>
                  <a:pt x="3207" y="1201"/>
                </a:lnTo>
                <a:lnTo>
                  <a:pt x="3183" y="1204"/>
                </a:lnTo>
                <a:lnTo>
                  <a:pt x="3183" y="1204"/>
                </a:lnTo>
                <a:lnTo>
                  <a:pt x="3218" y="1200"/>
                </a:lnTo>
                <a:lnTo>
                  <a:pt x="3260" y="1194"/>
                </a:lnTo>
                <a:lnTo>
                  <a:pt x="3260" y="1194"/>
                </a:lnTo>
                <a:lnTo>
                  <a:pt x="3256" y="1196"/>
                </a:lnTo>
                <a:lnTo>
                  <a:pt x="3246" y="1197"/>
                </a:lnTo>
                <a:lnTo>
                  <a:pt x="3246" y="1197"/>
                </a:lnTo>
                <a:lnTo>
                  <a:pt x="3272" y="1194"/>
                </a:lnTo>
                <a:lnTo>
                  <a:pt x="3306" y="1190"/>
                </a:lnTo>
                <a:lnTo>
                  <a:pt x="3306" y="1190"/>
                </a:lnTo>
                <a:lnTo>
                  <a:pt x="3282" y="1193"/>
                </a:lnTo>
                <a:lnTo>
                  <a:pt x="3278" y="1194"/>
                </a:lnTo>
                <a:lnTo>
                  <a:pt x="3286" y="1194"/>
                </a:lnTo>
                <a:lnTo>
                  <a:pt x="3299" y="1192"/>
                </a:lnTo>
                <a:lnTo>
                  <a:pt x="3299" y="1192"/>
                </a:lnTo>
                <a:lnTo>
                  <a:pt x="3311" y="1190"/>
                </a:lnTo>
                <a:lnTo>
                  <a:pt x="3311" y="1190"/>
                </a:lnTo>
                <a:lnTo>
                  <a:pt x="3318" y="1190"/>
                </a:lnTo>
                <a:lnTo>
                  <a:pt x="3320" y="1190"/>
                </a:lnTo>
                <a:lnTo>
                  <a:pt x="3335" y="1188"/>
                </a:lnTo>
                <a:lnTo>
                  <a:pt x="3335" y="1188"/>
                </a:lnTo>
                <a:lnTo>
                  <a:pt x="3342" y="1188"/>
                </a:lnTo>
                <a:lnTo>
                  <a:pt x="3345" y="1188"/>
                </a:lnTo>
                <a:lnTo>
                  <a:pt x="3343" y="1188"/>
                </a:lnTo>
                <a:lnTo>
                  <a:pt x="3343" y="1188"/>
                </a:lnTo>
                <a:lnTo>
                  <a:pt x="3367" y="1185"/>
                </a:lnTo>
                <a:lnTo>
                  <a:pt x="3388" y="1182"/>
                </a:lnTo>
                <a:lnTo>
                  <a:pt x="3388" y="1182"/>
                </a:lnTo>
                <a:lnTo>
                  <a:pt x="3373" y="1183"/>
                </a:lnTo>
                <a:lnTo>
                  <a:pt x="3367" y="1183"/>
                </a:lnTo>
                <a:lnTo>
                  <a:pt x="3373" y="1182"/>
                </a:lnTo>
                <a:lnTo>
                  <a:pt x="3388" y="1181"/>
                </a:lnTo>
                <a:lnTo>
                  <a:pt x="3388" y="1181"/>
                </a:lnTo>
                <a:lnTo>
                  <a:pt x="3437" y="1175"/>
                </a:lnTo>
                <a:lnTo>
                  <a:pt x="3479" y="1172"/>
                </a:lnTo>
                <a:lnTo>
                  <a:pt x="3495" y="1169"/>
                </a:lnTo>
                <a:lnTo>
                  <a:pt x="3495" y="1169"/>
                </a:lnTo>
                <a:lnTo>
                  <a:pt x="3493" y="1169"/>
                </a:lnTo>
                <a:lnTo>
                  <a:pt x="3494" y="1169"/>
                </a:lnTo>
                <a:lnTo>
                  <a:pt x="3505" y="1169"/>
                </a:lnTo>
                <a:lnTo>
                  <a:pt x="3532" y="1167"/>
                </a:lnTo>
                <a:lnTo>
                  <a:pt x="3532" y="1167"/>
                </a:lnTo>
                <a:lnTo>
                  <a:pt x="3525" y="1167"/>
                </a:lnTo>
                <a:lnTo>
                  <a:pt x="3504" y="1169"/>
                </a:lnTo>
                <a:lnTo>
                  <a:pt x="3484" y="1172"/>
                </a:lnTo>
                <a:lnTo>
                  <a:pt x="3474" y="1174"/>
                </a:lnTo>
                <a:lnTo>
                  <a:pt x="3474" y="1174"/>
                </a:lnTo>
                <a:lnTo>
                  <a:pt x="3490" y="1172"/>
                </a:lnTo>
                <a:lnTo>
                  <a:pt x="3480" y="1175"/>
                </a:lnTo>
                <a:lnTo>
                  <a:pt x="3480" y="1175"/>
                </a:lnTo>
                <a:lnTo>
                  <a:pt x="3494" y="1172"/>
                </a:lnTo>
                <a:lnTo>
                  <a:pt x="3497" y="1172"/>
                </a:lnTo>
                <a:lnTo>
                  <a:pt x="3498" y="1171"/>
                </a:lnTo>
                <a:lnTo>
                  <a:pt x="3502" y="1169"/>
                </a:lnTo>
                <a:lnTo>
                  <a:pt x="3502" y="1169"/>
                </a:lnTo>
                <a:lnTo>
                  <a:pt x="3523" y="1168"/>
                </a:lnTo>
                <a:lnTo>
                  <a:pt x="3534" y="1167"/>
                </a:lnTo>
                <a:lnTo>
                  <a:pt x="3536" y="1168"/>
                </a:lnTo>
                <a:lnTo>
                  <a:pt x="3533" y="1168"/>
                </a:lnTo>
                <a:lnTo>
                  <a:pt x="3533" y="1168"/>
                </a:lnTo>
                <a:lnTo>
                  <a:pt x="3557" y="1165"/>
                </a:lnTo>
                <a:lnTo>
                  <a:pt x="3576" y="1162"/>
                </a:lnTo>
                <a:lnTo>
                  <a:pt x="3576" y="1162"/>
                </a:lnTo>
                <a:lnTo>
                  <a:pt x="3573" y="1164"/>
                </a:lnTo>
                <a:lnTo>
                  <a:pt x="3572" y="1164"/>
                </a:lnTo>
                <a:lnTo>
                  <a:pt x="3573" y="1165"/>
                </a:lnTo>
                <a:lnTo>
                  <a:pt x="3573" y="1165"/>
                </a:lnTo>
                <a:lnTo>
                  <a:pt x="3601" y="1162"/>
                </a:lnTo>
                <a:lnTo>
                  <a:pt x="3601" y="1162"/>
                </a:lnTo>
                <a:lnTo>
                  <a:pt x="3600" y="1161"/>
                </a:lnTo>
                <a:lnTo>
                  <a:pt x="3601" y="1161"/>
                </a:lnTo>
                <a:lnTo>
                  <a:pt x="3589" y="1162"/>
                </a:lnTo>
                <a:lnTo>
                  <a:pt x="3589" y="1162"/>
                </a:lnTo>
                <a:lnTo>
                  <a:pt x="3614" y="1160"/>
                </a:lnTo>
                <a:lnTo>
                  <a:pt x="3635" y="1157"/>
                </a:lnTo>
                <a:lnTo>
                  <a:pt x="3635" y="1157"/>
                </a:lnTo>
                <a:lnTo>
                  <a:pt x="3660" y="1155"/>
                </a:lnTo>
                <a:lnTo>
                  <a:pt x="3699" y="1151"/>
                </a:lnTo>
                <a:lnTo>
                  <a:pt x="3699" y="1151"/>
                </a:lnTo>
                <a:lnTo>
                  <a:pt x="3692" y="1151"/>
                </a:lnTo>
                <a:lnTo>
                  <a:pt x="3678" y="1153"/>
                </a:lnTo>
                <a:lnTo>
                  <a:pt x="3663" y="1154"/>
                </a:lnTo>
                <a:lnTo>
                  <a:pt x="3653" y="1154"/>
                </a:lnTo>
                <a:lnTo>
                  <a:pt x="3653" y="1154"/>
                </a:lnTo>
                <a:lnTo>
                  <a:pt x="3717" y="1147"/>
                </a:lnTo>
                <a:lnTo>
                  <a:pt x="3792" y="1137"/>
                </a:lnTo>
                <a:lnTo>
                  <a:pt x="3792" y="1137"/>
                </a:lnTo>
                <a:lnTo>
                  <a:pt x="3809" y="1136"/>
                </a:lnTo>
                <a:lnTo>
                  <a:pt x="3810" y="1136"/>
                </a:lnTo>
                <a:lnTo>
                  <a:pt x="3807" y="1136"/>
                </a:lnTo>
                <a:lnTo>
                  <a:pt x="3802" y="1137"/>
                </a:lnTo>
                <a:lnTo>
                  <a:pt x="3799" y="1139"/>
                </a:lnTo>
                <a:lnTo>
                  <a:pt x="3801" y="1139"/>
                </a:lnTo>
                <a:lnTo>
                  <a:pt x="3801" y="1139"/>
                </a:lnTo>
                <a:lnTo>
                  <a:pt x="3724" y="1147"/>
                </a:lnTo>
                <a:lnTo>
                  <a:pt x="3724" y="1147"/>
                </a:lnTo>
                <a:lnTo>
                  <a:pt x="3785" y="1140"/>
                </a:lnTo>
                <a:lnTo>
                  <a:pt x="3840" y="1133"/>
                </a:lnTo>
                <a:lnTo>
                  <a:pt x="3840" y="1133"/>
                </a:lnTo>
                <a:lnTo>
                  <a:pt x="3880" y="1128"/>
                </a:lnTo>
                <a:lnTo>
                  <a:pt x="3899" y="1126"/>
                </a:lnTo>
                <a:lnTo>
                  <a:pt x="3926" y="1122"/>
                </a:lnTo>
                <a:lnTo>
                  <a:pt x="3926" y="1122"/>
                </a:lnTo>
                <a:lnTo>
                  <a:pt x="3919" y="1122"/>
                </a:lnTo>
                <a:lnTo>
                  <a:pt x="3906" y="1123"/>
                </a:lnTo>
                <a:lnTo>
                  <a:pt x="3906" y="1123"/>
                </a:lnTo>
                <a:lnTo>
                  <a:pt x="3945" y="1118"/>
                </a:lnTo>
                <a:lnTo>
                  <a:pt x="3945" y="1118"/>
                </a:lnTo>
                <a:lnTo>
                  <a:pt x="3947" y="1118"/>
                </a:lnTo>
                <a:lnTo>
                  <a:pt x="3947" y="1118"/>
                </a:lnTo>
                <a:lnTo>
                  <a:pt x="3941" y="1118"/>
                </a:lnTo>
                <a:lnTo>
                  <a:pt x="3937" y="1118"/>
                </a:lnTo>
                <a:lnTo>
                  <a:pt x="3944" y="1116"/>
                </a:lnTo>
                <a:lnTo>
                  <a:pt x="3944" y="1116"/>
                </a:lnTo>
                <a:lnTo>
                  <a:pt x="3957" y="1115"/>
                </a:lnTo>
                <a:lnTo>
                  <a:pt x="3962" y="1115"/>
                </a:lnTo>
                <a:lnTo>
                  <a:pt x="3959" y="1115"/>
                </a:lnTo>
                <a:lnTo>
                  <a:pt x="3959" y="1115"/>
                </a:lnTo>
                <a:lnTo>
                  <a:pt x="3983" y="1111"/>
                </a:lnTo>
                <a:lnTo>
                  <a:pt x="3996" y="1110"/>
                </a:lnTo>
                <a:lnTo>
                  <a:pt x="4008" y="1108"/>
                </a:lnTo>
                <a:lnTo>
                  <a:pt x="4028" y="1104"/>
                </a:lnTo>
                <a:lnTo>
                  <a:pt x="4028" y="1104"/>
                </a:lnTo>
                <a:lnTo>
                  <a:pt x="4008" y="1108"/>
                </a:lnTo>
                <a:lnTo>
                  <a:pt x="4008" y="1108"/>
                </a:lnTo>
                <a:lnTo>
                  <a:pt x="4007" y="1108"/>
                </a:lnTo>
                <a:lnTo>
                  <a:pt x="4007" y="1107"/>
                </a:lnTo>
                <a:lnTo>
                  <a:pt x="4015" y="1105"/>
                </a:lnTo>
                <a:lnTo>
                  <a:pt x="4040" y="1100"/>
                </a:lnTo>
                <a:lnTo>
                  <a:pt x="4040" y="1100"/>
                </a:lnTo>
                <a:lnTo>
                  <a:pt x="4049" y="1098"/>
                </a:lnTo>
                <a:lnTo>
                  <a:pt x="4067" y="1096"/>
                </a:lnTo>
                <a:lnTo>
                  <a:pt x="4067" y="1096"/>
                </a:lnTo>
                <a:lnTo>
                  <a:pt x="4068" y="1096"/>
                </a:lnTo>
                <a:lnTo>
                  <a:pt x="4065" y="1096"/>
                </a:lnTo>
                <a:lnTo>
                  <a:pt x="4054" y="1098"/>
                </a:lnTo>
                <a:lnTo>
                  <a:pt x="4032" y="1103"/>
                </a:lnTo>
                <a:lnTo>
                  <a:pt x="4064" y="1097"/>
                </a:lnTo>
                <a:lnTo>
                  <a:pt x="4057" y="1098"/>
                </a:lnTo>
                <a:lnTo>
                  <a:pt x="4093" y="1090"/>
                </a:lnTo>
                <a:lnTo>
                  <a:pt x="4093" y="1090"/>
                </a:lnTo>
                <a:lnTo>
                  <a:pt x="4081" y="1093"/>
                </a:lnTo>
                <a:lnTo>
                  <a:pt x="4079" y="1093"/>
                </a:lnTo>
                <a:lnTo>
                  <a:pt x="4092" y="1089"/>
                </a:lnTo>
                <a:lnTo>
                  <a:pt x="4092" y="1089"/>
                </a:lnTo>
                <a:lnTo>
                  <a:pt x="4125" y="1083"/>
                </a:lnTo>
                <a:lnTo>
                  <a:pt x="4136" y="1080"/>
                </a:lnTo>
                <a:lnTo>
                  <a:pt x="4139" y="1080"/>
                </a:lnTo>
                <a:lnTo>
                  <a:pt x="4139" y="1080"/>
                </a:lnTo>
                <a:lnTo>
                  <a:pt x="4159" y="1076"/>
                </a:lnTo>
                <a:lnTo>
                  <a:pt x="4194" y="1068"/>
                </a:lnTo>
                <a:lnTo>
                  <a:pt x="4194" y="1068"/>
                </a:lnTo>
                <a:lnTo>
                  <a:pt x="4184" y="1069"/>
                </a:lnTo>
                <a:lnTo>
                  <a:pt x="4184" y="1069"/>
                </a:lnTo>
                <a:lnTo>
                  <a:pt x="4198" y="1065"/>
                </a:lnTo>
                <a:lnTo>
                  <a:pt x="4233" y="1058"/>
                </a:lnTo>
                <a:lnTo>
                  <a:pt x="4233" y="1058"/>
                </a:lnTo>
                <a:lnTo>
                  <a:pt x="4219" y="1062"/>
                </a:lnTo>
                <a:lnTo>
                  <a:pt x="4221" y="1061"/>
                </a:lnTo>
                <a:lnTo>
                  <a:pt x="4231" y="1059"/>
                </a:lnTo>
                <a:lnTo>
                  <a:pt x="4234" y="1059"/>
                </a:lnTo>
                <a:lnTo>
                  <a:pt x="4233" y="1059"/>
                </a:lnTo>
                <a:lnTo>
                  <a:pt x="4233" y="1059"/>
                </a:lnTo>
                <a:lnTo>
                  <a:pt x="4209" y="1066"/>
                </a:lnTo>
                <a:lnTo>
                  <a:pt x="4180" y="1073"/>
                </a:lnTo>
                <a:lnTo>
                  <a:pt x="4180" y="1073"/>
                </a:lnTo>
                <a:lnTo>
                  <a:pt x="4205" y="1068"/>
                </a:lnTo>
                <a:lnTo>
                  <a:pt x="4226" y="1062"/>
                </a:lnTo>
                <a:lnTo>
                  <a:pt x="4267" y="1051"/>
                </a:lnTo>
                <a:lnTo>
                  <a:pt x="4267" y="1051"/>
                </a:lnTo>
                <a:lnTo>
                  <a:pt x="4263" y="1052"/>
                </a:lnTo>
                <a:lnTo>
                  <a:pt x="4249" y="1057"/>
                </a:lnTo>
                <a:lnTo>
                  <a:pt x="4249" y="1057"/>
                </a:lnTo>
                <a:lnTo>
                  <a:pt x="4302" y="1043"/>
                </a:lnTo>
                <a:lnTo>
                  <a:pt x="4302" y="1043"/>
                </a:lnTo>
                <a:lnTo>
                  <a:pt x="4294" y="1044"/>
                </a:lnTo>
                <a:lnTo>
                  <a:pt x="4295" y="1043"/>
                </a:lnTo>
                <a:lnTo>
                  <a:pt x="4305" y="1040"/>
                </a:lnTo>
                <a:lnTo>
                  <a:pt x="4336" y="1033"/>
                </a:lnTo>
                <a:lnTo>
                  <a:pt x="4336" y="1033"/>
                </a:lnTo>
                <a:lnTo>
                  <a:pt x="4352" y="1027"/>
                </a:lnTo>
                <a:lnTo>
                  <a:pt x="4357" y="1026"/>
                </a:lnTo>
                <a:lnTo>
                  <a:pt x="4361" y="1025"/>
                </a:lnTo>
                <a:lnTo>
                  <a:pt x="4375" y="1019"/>
                </a:lnTo>
                <a:lnTo>
                  <a:pt x="4355" y="1025"/>
                </a:lnTo>
                <a:lnTo>
                  <a:pt x="4355" y="1025"/>
                </a:lnTo>
                <a:lnTo>
                  <a:pt x="4376" y="1018"/>
                </a:lnTo>
                <a:lnTo>
                  <a:pt x="4389" y="1013"/>
                </a:lnTo>
                <a:lnTo>
                  <a:pt x="4394" y="1012"/>
                </a:lnTo>
                <a:lnTo>
                  <a:pt x="4394" y="1012"/>
                </a:lnTo>
                <a:lnTo>
                  <a:pt x="4372" y="1019"/>
                </a:lnTo>
                <a:lnTo>
                  <a:pt x="4348" y="1026"/>
                </a:lnTo>
                <a:lnTo>
                  <a:pt x="4348" y="1026"/>
                </a:lnTo>
                <a:lnTo>
                  <a:pt x="4348" y="1026"/>
                </a:lnTo>
                <a:lnTo>
                  <a:pt x="4350" y="1025"/>
                </a:lnTo>
                <a:lnTo>
                  <a:pt x="4359" y="1022"/>
                </a:lnTo>
                <a:lnTo>
                  <a:pt x="4382" y="1015"/>
                </a:lnTo>
                <a:lnTo>
                  <a:pt x="4440" y="997"/>
                </a:lnTo>
                <a:lnTo>
                  <a:pt x="4440" y="997"/>
                </a:lnTo>
                <a:lnTo>
                  <a:pt x="4435" y="1001"/>
                </a:lnTo>
                <a:lnTo>
                  <a:pt x="4419" y="1006"/>
                </a:lnTo>
                <a:lnTo>
                  <a:pt x="4405" y="1012"/>
                </a:lnTo>
                <a:lnTo>
                  <a:pt x="4401" y="1013"/>
                </a:lnTo>
                <a:lnTo>
                  <a:pt x="4401" y="1015"/>
                </a:lnTo>
                <a:lnTo>
                  <a:pt x="4401" y="1015"/>
                </a:lnTo>
                <a:lnTo>
                  <a:pt x="4401" y="1015"/>
                </a:lnTo>
                <a:lnTo>
                  <a:pt x="4463" y="994"/>
                </a:lnTo>
                <a:lnTo>
                  <a:pt x="4514" y="976"/>
                </a:lnTo>
                <a:lnTo>
                  <a:pt x="4514" y="976"/>
                </a:lnTo>
                <a:lnTo>
                  <a:pt x="4541" y="965"/>
                </a:lnTo>
                <a:lnTo>
                  <a:pt x="4542" y="963"/>
                </a:lnTo>
                <a:lnTo>
                  <a:pt x="4541" y="963"/>
                </a:lnTo>
                <a:lnTo>
                  <a:pt x="4538" y="963"/>
                </a:lnTo>
                <a:lnTo>
                  <a:pt x="4538" y="963"/>
                </a:lnTo>
                <a:lnTo>
                  <a:pt x="4567" y="952"/>
                </a:lnTo>
                <a:lnTo>
                  <a:pt x="4552" y="959"/>
                </a:lnTo>
                <a:lnTo>
                  <a:pt x="4552" y="959"/>
                </a:lnTo>
                <a:lnTo>
                  <a:pt x="4602" y="938"/>
                </a:lnTo>
                <a:lnTo>
                  <a:pt x="4653" y="914"/>
                </a:lnTo>
                <a:lnTo>
                  <a:pt x="4653" y="914"/>
                </a:lnTo>
                <a:lnTo>
                  <a:pt x="4669" y="907"/>
                </a:lnTo>
                <a:lnTo>
                  <a:pt x="4662" y="909"/>
                </a:lnTo>
                <a:lnTo>
                  <a:pt x="4685" y="898"/>
                </a:lnTo>
                <a:lnTo>
                  <a:pt x="4681" y="899"/>
                </a:lnTo>
                <a:lnTo>
                  <a:pt x="4681" y="899"/>
                </a:lnTo>
                <a:lnTo>
                  <a:pt x="4699" y="889"/>
                </a:lnTo>
                <a:lnTo>
                  <a:pt x="4726" y="877"/>
                </a:lnTo>
                <a:lnTo>
                  <a:pt x="4726" y="877"/>
                </a:lnTo>
                <a:lnTo>
                  <a:pt x="4716" y="882"/>
                </a:lnTo>
                <a:lnTo>
                  <a:pt x="4716" y="882"/>
                </a:lnTo>
                <a:lnTo>
                  <a:pt x="4741" y="870"/>
                </a:lnTo>
                <a:lnTo>
                  <a:pt x="4764" y="857"/>
                </a:lnTo>
                <a:lnTo>
                  <a:pt x="4764" y="857"/>
                </a:lnTo>
                <a:lnTo>
                  <a:pt x="4758" y="862"/>
                </a:lnTo>
                <a:lnTo>
                  <a:pt x="4738" y="873"/>
                </a:lnTo>
                <a:lnTo>
                  <a:pt x="4738" y="873"/>
                </a:lnTo>
                <a:lnTo>
                  <a:pt x="4736" y="874"/>
                </a:lnTo>
                <a:lnTo>
                  <a:pt x="4706" y="888"/>
                </a:lnTo>
                <a:lnTo>
                  <a:pt x="4706" y="888"/>
                </a:lnTo>
                <a:lnTo>
                  <a:pt x="4745" y="868"/>
                </a:lnTo>
                <a:lnTo>
                  <a:pt x="4757" y="864"/>
                </a:lnTo>
                <a:lnTo>
                  <a:pt x="4759" y="863"/>
                </a:lnTo>
                <a:lnTo>
                  <a:pt x="4759" y="863"/>
                </a:lnTo>
                <a:lnTo>
                  <a:pt x="4769" y="857"/>
                </a:lnTo>
                <a:lnTo>
                  <a:pt x="4764" y="860"/>
                </a:lnTo>
                <a:lnTo>
                  <a:pt x="4758" y="863"/>
                </a:lnTo>
                <a:lnTo>
                  <a:pt x="4772" y="856"/>
                </a:lnTo>
                <a:lnTo>
                  <a:pt x="4772" y="856"/>
                </a:lnTo>
                <a:lnTo>
                  <a:pt x="4810" y="836"/>
                </a:lnTo>
                <a:lnTo>
                  <a:pt x="4843" y="817"/>
                </a:lnTo>
                <a:lnTo>
                  <a:pt x="4872" y="799"/>
                </a:lnTo>
                <a:lnTo>
                  <a:pt x="4897" y="786"/>
                </a:lnTo>
                <a:lnTo>
                  <a:pt x="4897" y="786"/>
                </a:lnTo>
                <a:lnTo>
                  <a:pt x="4981" y="728"/>
                </a:lnTo>
                <a:lnTo>
                  <a:pt x="4981" y="728"/>
                </a:lnTo>
                <a:lnTo>
                  <a:pt x="4992" y="719"/>
                </a:lnTo>
                <a:lnTo>
                  <a:pt x="4999" y="715"/>
                </a:lnTo>
                <a:lnTo>
                  <a:pt x="5000" y="714"/>
                </a:lnTo>
                <a:lnTo>
                  <a:pt x="5000" y="712"/>
                </a:lnTo>
                <a:lnTo>
                  <a:pt x="5000" y="712"/>
                </a:lnTo>
                <a:lnTo>
                  <a:pt x="4953" y="746"/>
                </a:lnTo>
                <a:lnTo>
                  <a:pt x="4932" y="760"/>
                </a:lnTo>
                <a:lnTo>
                  <a:pt x="4910" y="774"/>
                </a:lnTo>
                <a:lnTo>
                  <a:pt x="4910" y="774"/>
                </a:lnTo>
                <a:lnTo>
                  <a:pt x="4899" y="781"/>
                </a:lnTo>
                <a:lnTo>
                  <a:pt x="4895" y="785"/>
                </a:lnTo>
                <a:lnTo>
                  <a:pt x="4895" y="785"/>
                </a:lnTo>
                <a:lnTo>
                  <a:pt x="4875" y="797"/>
                </a:lnTo>
                <a:lnTo>
                  <a:pt x="4865" y="803"/>
                </a:lnTo>
                <a:lnTo>
                  <a:pt x="4865" y="803"/>
                </a:lnTo>
                <a:lnTo>
                  <a:pt x="4881" y="792"/>
                </a:lnTo>
                <a:lnTo>
                  <a:pt x="4886" y="788"/>
                </a:lnTo>
                <a:lnTo>
                  <a:pt x="4893" y="783"/>
                </a:lnTo>
                <a:lnTo>
                  <a:pt x="4913" y="770"/>
                </a:lnTo>
                <a:lnTo>
                  <a:pt x="4913" y="770"/>
                </a:lnTo>
                <a:lnTo>
                  <a:pt x="4861" y="802"/>
                </a:lnTo>
                <a:lnTo>
                  <a:pt x="4861" y="802"/>
                </a:lnTo>
                <a:lnTo>
                  <a:pt x="4862" y="800"/>
                </a:lnTo>
                <a:lnTo>
                  <a:pt x="4861" y="802"/>
                </a:lnTo>
                <a:lnTo>
                  <a:pt x="4850" y="807"/>
                </a:lnTo>
                <a:lnTo>
                  <a:pt x="4850" y="807"/>
                </a:lnTo>
                <a:lnTo>
                  <a:pt x="4895" y="777"/>
                </a:lnTo>
                <a:lnTo>
                  <a:pt x="4895" y="777"/>
                </a:lnTo>
                <a:lnTo>
                  <a:pt x="4893" y="778"/>
                </a:lnTo>
                <a:lnTo>
                  <a:pt x="4895" y="778"/>
                </a:lnTo>
                <a:lnTo>
                  <a:pt x="4896" y="777"/>
                </a:lnTo>
                <a:lnTo>
                  <a:pt x="4896" y="778"/>
                </a:lnTo>
                <a:lnTo>
                  <a:pt x="4896" y="778"/>
                </a:lnTo>
                <a:lnTo>
                  <a:pt x="4936" y="750"/>
                </a:lnTo>
                <a:lnTo>
                  <a:pt x="4936" y="750"/>
                </a:lnTo>
                <a:lnTo>
                  <a:pt x="4949" y="743"/>
                </a:lnTo>
                <a:lnTo>
                  <a:pt x="4949" y="743"/>
                </a:lnTo>
                <a:lnTo>
                  <a:pt x="4946" y="746"/>
                </a:lnTo>
                <a:lnTo>
                  <a:pt x="4946" y="746"/>
                </a:lnTo>
                <a:lnTo>
                  <a:pt x="4985" y="718"/>
                </a:lnTo>
                <a:lnTo>
                  <a:pt x="5000" y="708"/>
                </a:lnTo>
                <a:lnTo>
                  <a:pt x="5007" y="704"/>
                </a:lnTo>
                <a:lnTo>
                  <a:pt x="5007" y="704"/>
                </a:lnTo>
                <a:lnTo>
                  <a:pt x="5019" y="696"/>
                </a:lnTo>
                <a:lnTo>
                  <a:pt x="5013" y="698"/>
                </a:lnTo>
                <a:lnTo>
                  <a:pt x="4995" y="711"/>
                </a:lnTo>
                <a:lnTo>
                  <a:pt x="4998" y="710"/>
                </a:lnTo>
                <a:lnTo>
                  <a:pt x="4967" y="731"/>
                </a:lnTo>
                <a:lnTo>
                  <a:pt x="4967" y="731"/>
                </a:lnTo>
                <a:lnTo>
                  <a:pt x="4971" y="728"/>
                </a:lnTo>
                <a:lnTo>
                  <a:pt x="4984" y="718"/>
                </a:lnTo>
                <a:lnTo>
                  <a:pt x="4998" y="708"/>
                </a:lnTo>
                <a:lnTo>
                  <a:pt x="5006" y="703"/>
                </a:lnTo>
                <a:lnTo>
                  <a:pt x="5006" y="703"/>
                </a:lnTo>
                <a:lnTo>
                  <a:pt x="5009" y="698"/>
                </a:lnTo>
                <a:lnTo>
                  <a:pt x="5014" y="694"/>
                </a:lnTo>
                <a:lnTo>
                  <a:pt x="5031" y="683"/>
                </a:lnTo>
                <a:lnTo>
                  <a:pt x="5052" y="669"/>
                </a:lnTo>
                <a:lnTo>
                  <a:pt x="5070" y="655"/>
                </a:lnTo>
                <a:lnTo>
                  <a:pt x="5046" y="676"/>
                </a:lnTo>
                <a:lnTo>
                  <a:pt x="5067" y="659"/>
                </a:lnTo>
                <a:lnTo>
                  <a:pt x="5067" y="659"/>
                </a:lnTo>
                <a:lnTo>
                  <a:pt x="5056" y="671"/>
                </a:lnTo>
                <a:lnTo>
                  <a:pt x="5038" y="685"/>
                </a:lnTo>
                <a:lnTo>
                  <a:pt x="5038" y="685"/>
                </a:lnTo>
                <a:lnTo>
                  <a:pt x="5087" y="648"/>
                </a:lnTo>
                <a:lnTo>
                  <a:pt x="5127" y="618"/>
                </a:lnTo>
                <a:lnTo>
                  <a:pt x="5127" y="618"/>
                </a:lnTo>
                <a:lnTo>
                  <a:pt x="5136" y="612"/>
                </a:lnTo>
                <a:lnTo>
                  <a:pt x="5137" y="612"/>
                </a:lnTo>
                <a:lnTo>
                  <a:pt x="5136" y="614"/>
                </a:lnTo>
                <a:lnTo>
                  <a:pt x="5136" y="614"/>
                </a:lnTo>
                <a:lnTo>
                  <a:pt x="5172" y="584"/>
                </a:lnTo>
                <a:lnTo>
                  <a:pt x="5204" y="558"/>
                </a:lnTo>
                <a:lnTo>
                  <a:pt x="5204" y="558"/>
                </a:lnTo>
                <a:lnTo>
                  <a:pt x="5211" y="552"/>
                </a:lnTo>
                <a:lnTo>
                  <a:pt x="5203" y="558"/>
                </a:lnTo>
                <a:lnTo>
                  <a:pt x="5193" y="566"/>
                </a:lnTo>
                <a:lnTo>
                  <a:pt x="5193" y="566"/>
                </a:lnTo>
                <a:lnTo>
                  <a:pt x="5196" y="562"/>
                </a:lnTo>
                <a:lnTo>
                  <a:pt x="5196" y="562"/>
                </a:lnTo>
                <a:lnTo>
                  <a:pt x="5211" y="551"/>
                </a:lnTo>
                <a:lnTo>
                  <a:pt x="5225" y="538"/>
                </a:lnTo>
                <a:lnTo>
                  <a:pt x="5225" y="538"/>
                </a:lnTo>
                <a:lnTo>
                  <a:pt x="5201" y="558"/>
                </a:lnTo>
                <a:lnTo>
                  <a:pt x="5170" y="583"/>
                </a:lnTo>
                <a:lnTo>
                  <a:pt x="5170" y="583"/>
                </a:lnTo>
                <a:lnTo>
                  <a:pt x="5182" y="572"/>
                </a:lnTo>
                <a:lnTo>
                  <a:pt x="5186" y="568"/>
                </a:lnTo>
                <a:lnTo>
                  <a:pt x="5162" y="587"/>
                </a:lnTo>
                <a:lnTo>
                  <a:pt x="5162" y="587"/>
                </a:lnTo>
                <a:lnTo>
                  <a:pt x="5168" y="583"/>
                </a:lnTo>
                <a:lnTo>
                  <a:pt x="5179" y="573"/>
                </a:lnTo>
                <a:lnTo>
                  <a:pt x="5201" y="554"/>
                </a:lnTo>
                <a:lnTo>
                  <a:pt x="5201" y="554"/>
                </a:lnTo>
                <a:lnTo>
                  <a:pt x="5193" y="563"/>
                </a:lnTo>
                <a:lnTo>
                  <a:pt x="5193" y="563"/>
                </a:lnTo>
                <a:lnTo>
                  <a:pt x="5260" y="506"/>
                </a:lnTo>
                <a:lnTo>
                  <a:pt x="5260" y="506"/>
                </a:lnTo>
                <a:lnTo>
                  <a:pt x="5262" y="505"/>
                </a:lnTo>
                <a:lnTo>
                  <a:pt x="5258" y="508"/>
                </a:lnTo>
                <a:lnTo>
                  <a:pt x="5247" y="519"/>
                </a:lnTo>
                <a:lnTo>
                  <a:pt x="5247" y="519"/>
                </a:lnTo>
                <a:lnTo>
                  <a:pt x="5258" y="509"/>
                </a:lnTo>
                <a:lnTo>
                  <a:pt x="5271" y="499"/>
                </a:lnTo>
                <a:lnTo>
                  <a:pt x="5271" y="499"/>
                </a:lnTo>
                <a:lnTo>
                  <a:pt x="5262" y="506"/>
                </a:lnTo>
                <a:lnTo>
                  <a:pt x="5251" y="516"/>
                </a:lnTo>
                <a:lnTo>
                  <a:pt x="5251" y="516"/>
                </a:lnTo>
                <a:lnTo>
                  <a:pt x="5310" y="464"/>
                </a:lnTo>
                <a:lnTo>
                  <a:pt x="5310" y="464"/>
                </a:lnTo>
                <a:lnTo>
                  <a:pt x="5286" y="487"/>
                </a:lnTo>
                <a:lnTo>
                  <a:pt x="5286" y="487"/>
                </a:lnTo>
                <a:lnTo>
                  <a:pt x="5310" y="464"/>
                </a:lnTo>
                <a:lnTo>
                  <a:pt x="5335" y="439"/>
                </a:lnTo>
                <a:lnTo>
                  <a:pt x="5335" y="439"/>
                </a:lnTo>
                <a:lnTo>
                  <a:pt x="5363" y="416"/>
                </a:lnTo>
                <a:lnTo>
                  <a:pt x="5371" y="409"/>
                </a:lnTo>
                <a:lnTo>
                  <a:pt x="5373" y="407"/>
                </a:lnTo>
                <a:lnTo>
                  <a:pt x="5371" y="409"/>
                </a:lnTo>
                <a:lnTo>
                  <a:pt x="5371" y="409"/>
                </a:lnTo>
                <a:lnTo>
                  <a:pt x="5375" y="403"/>
                </a:lnTo>
                <a:lnTo>
                  <a:pt x="5374" y="405"/>
                </a:lnTo>
                <a:lnTo>
                  <a:pt x="5374" y="405"/>
                </a:lnTo>
                <a:lnTo>
                  <a:pt x="5399" y="379"/>
                </a:lnTo>
                <a:lnTo>
                  <a:pt x="5416" y="363"/>
                </a:lnTo>
                <a:lnTo>
                  <a:pt x="5405" y="372"/>
                </a:lnTo>
                <a:lnTo>
                  <a:pt x="5405" y="372"/>
                </a:lnTo>
                <a:lnTo>
                  <a:pt x="5416" y="361"/>
                </a:lnTo>
                <a:lnTo>
                  <a:pt x="5419" y="359"/>
                </a:lnTo>
                <a:lnTo>
                  <a:pt x="5421" y="356"/>
                </a:lnTo>
                <a:lnTo>
                  <a:pt x="5431" y="346"/>
                </a:lnTo>
                <a:lnTo>
                  <a:pt x="5431" y="346"/>
                </a:lnTo>
                <a:lnTo>
                  <a:pt x="5430" y="347"/>
                </a:lnTo>
                <a:lnTo>
                  <a:pt x="5430" y="349"/>
                </a:lnTo>
                <a:lnTo>
                  <a:pt x="5435" y="346"/>
                </a:lnTo>
                <a:lnTo>
                  <a:pt x="5435" y="346"/>
                </a:lnTo>
                <a:lnTo>
                  <a:pt x="5445" y="335"/>
                </a:lnTo>
                <a:lnTo>
                  <a:pt x="5462" y="320"/>
                </a:lnTo>
                <a:lnTo>
                  <a:pt x="5462" y="320"/>
                </a:lnTo>
                <a:lnTo>
                  <a:pt x="5460" y="321"/>
                </a:lnTo>
                <a:lnTo>
                  <a:pt x="5462" y="320"/>
                </a:lnTo>
                <a:lnTo>
                  <a:pt x="5467" y="314"/>
                </a:lnTo>
                <a:lnTo>
                  <a:pt x="5470" y="310"/>
                </a:lnTo>
                <a:lnTo>
                  <a:pt x="5465" y="314"/>
                </a:lnTo>
                <a:lnTo>
                  <a:pt x="5465" y="314"/>
                </a:lnTo>
                <a:lnTo>
                  <a:pt x="5491" y="287"/>
                </a:lnTo>
                <a:lnTo>
                  <a:pt x="5512" y="267"/>
                </a:lnTo>
                <a:lnTo>
                  <a:pt x="5512" y="267"/>
                </a:lnTo>
                <a:lnTo>
                  <a:pt x="5511" y="268"/>
                </a:lnTo>
                <a:lnTo>
                  <a:pt x="5516" y="261"/>
                </a:lnTo>
                <a:lnTo>
                  <a:pt x="5522" y="254"/>
                </a:lnTo>
                <a:lnTo>
                  <a:pt x="5522" y="254"/>
                </a:lnTo>
                <a:lnTo>
                  <a:pt x="5520" y="255"/>
                </a:lnTo>
                <a:lnTo>
                  <a:pt x="5520" y="255"/>
                </a:lnTo>
                <a:lnTo>
                  <a:pt x="5545" y="230"/>
                </a:lnTo>
                <a:lnTo>
                  <a:pt x="5551" y="226"/>
                </a:lnTo>
                <a:lnTo>
                  <a:pt x="5552" y="225"/>
                </a:lnTo>
                <a:lnTo>
                  <a:pt x="5551" y="226"/>
                </a:lnTo>
                <a:lnTo>
                  <a:pt x="5551" y="226"/>
                </a:lnTo>
                <a:lnTo>
                  <a:pt x="5540" y="239"/>
                </a:lnTo>
                <a:lnTo>
                  <a:pt x="5534" y="246"/>
                </a:lnTo>
                <a:lnTo>
                  <a:pt x="5570" y="207"/>
                </a:lnTo>
                <a:lnTo>
                  <a:pt x="5570" y="207"/>
                </a:lnTo>
                <a:lnTo>
                  <a:pt x="5586" y="193"/>
                </a:lnTo>
                <a:lnTo>
                  <a:pt x="5594" y="184"/>
                </a:lnTo>
                <a:lnTo>
                  <a:pt x="5594" y="184"/>
                </a:lnTo>
                <a:lnTo>
                  <a:pt x="5618" y="161"/>
                </a:lnTo>
                <a:lnTo>
                  <a:pt x="5630" y="148"/>
                </a:lnTo>
                <a:lnTo>
                  <a:pt x="5639" y="138"/>
                </a:lnTo>
                <a:lnTo>
                  <a:pt x="5639" y="138"/>
                </a:lnTo>
                <a:lnTo>
                  <a:pt x="5622" y="155"/>
                </a:lnTo>
                <a:lnTo>
                  <a:pt x="5611" y="166"/>
                </a:lnTo>
                <a:lnTo>
                  <a:pt x="5616" y="161"/>
                </a:lnTo>
                <a:lnTo>
                  <a:pt x="5614" y="163"/>
                </a:lnTo>
                <a:lnTo>
                  <a:pt x="5628" y="145"/>
                </a:lnTo>
                <a:lnTo>
                  <a:pt x="5628" y="145"/>
                </a:lnTo>
                <a:lnTo>
                  <a:pt x="5621" y="152"/>
                </a:lnTo>
                <a:lnTo>
                  <a:pt x="5618" y="157"/>
                </a:lnTo>
                <a:lnTo>
                  <a:pt x="5615" y="161"/>
                </a:lnTo>
                <a:lnTo>
                  <a:pt x="5604" y="172"/>
                </a:lnTo>
                <a:lnTo>
                  <a:pt x="5604" y="172"/>
                </a:lnTo>
                <a:lnTo>
                  <a:pt x="5600" y="175"/>
                </a:lnTo>
                <a:lnTo>
                  <a:pt x="5603" y="173"/>
                </a:lnTo>
                <a:lnTo>
                  <a:pt x="5615" y="158"/>
                </a:lnTo>
                <a:lnTo>
                  <a:pt x="5628" y="144"/>
                </a:lnTo>
                <a:lnTo>
                  <a:pt x="5629" y="141"/>
                </a:lnTo>
                <a:lnTo>
                  <a:pt x="5625" y="145"/>
                </a:lnTo>
                <a:lnTo>
                  <a:pt x="5625" y="145"/>
                </a:lnTo>
                <a:lnTo>
                  <a:pt x="5611" y="161"/>
                </a:lnTo>
                <a:lnTo>
                  <a:pt x="5600" y="175"/>
                </a:lnTo>
                <a:lnTo>
                  <a:pt x="5603" y="170"/>
                </a:lnTo>
                <a:lnTo>
                  <a:pt x="5573" y="202"/>
                </a:lnTo>
                <a:lnTo>
                  <a:pt x="5573" y="202"/>
                </a:lnTo>
                <a:lnTo>
                  <a:pt x="5576" y="198"/>
                </a:lnTo>
                <a:lnTo>
                  <a:pt x="5580" y="194"/>
                </a:lnTo>
                <a:lnTo>
                  <a:pt x="5580" y="194"/>
                </a:lnTo>
                <a:lnTo>
                  <a:pt x="5540" y="235"/>
                </a:lnTo>
                <a:lnTo>
                  <a:pt x="5498" y="276"/>
                </a:lnTo>
                <a:lnTo>
                  <a:pt x="5498" y="276"/>
                </a:lnTo>
                <a:lnTo>
                  <a:pt x="5502" y="272"/>
                </a:lnTo>
                <a:lnTo>
                  <a:pt x="5501" y="275"/>
                </a:lnTo>
                <a:lnTo>
                  <a:pt x="5492" y="285"/>
                </a:lnTo>
                <a:lnTo>
                  <a:pt x="5492" y="285"/>
                </a:lnTo>
                <a:lnTo>
                  <a:pt x="5478" y="299"/>
                </a:lnTo>
                <a:lnTo>
                  <a:pt x="5466" y="310"/>
                </a:lnTo>
                <a:lnTo>
                  <a:pt x="5466" y="310"/>
                </a:lnTo>
                <a:lnTo>
                  <a:pt x="5476" y="300"/>
                </a:lnTo>
                <a:lnTo>
                  <a:pt x="5487" y="289"/>
                </a:lnTo>
                <a:lnTo>
                  <a:pt x="5485" y="289"/>
                </a:lnTo>
                <a:lnTo>
                  <a:pt x="5485" y="289"/>
                </a:lnTo>
                <a:lnTo>
                  <a:pt x="5508" y="264"/>
                </a:lnTo>
                <a:lnTo>
                  <a:pt x="5537" y="230"/>
                </a:lnTo>
                <a:lnTo>
                  <a:pt x="5537" y="230"/>
                </a:lnTo>
                <a:lnTo>
                  <a:pt x="5555" y="211"/>
                </a:lnTo>
                <a:lnTo>
                  <a:pt x="5590" y="176"/>
                </a:lnTo>
                <a:lnTo>
                  <a:pt x="5579" y="186"/>
                </a:lnTo>
                <a:lnTo>
                  <a:pt x="5579" y="186"/>
                </a:lnTo>
                <a:lnTo>
                  <a:pt x="5589" y="175"/>
                </a:lnTo>
                <a:lnTo>
                  <a:pt x="5593" y="172"/>
                </a:lnTo>
                <a:lnTo>
                  <a:pt x="5597" y="168"/>
                </a:lnTo>
                <a:lnTo>
                  <a:pt x="5611" y="152"/>
                </a:lnTo>
                <a:lnTo>
                  <a:pt x="5611" y="152"/>
                </a:lnTo>
                <a:lnTo>
                  <a:pt x="5632" y="134"/>
                </a:lnTo>
                <a:lnTo>
                  <a:pt x="5637" y="130"/>
                </a:lnTo>
                <a:lnTo>
                  <a:pt x="5632" y="137"/>
                </a:lnTo>
                <a:lnTo>
                  <a:pt x="5632" y="137"/>
                </a:lnTo>
                <a:lnTo>
                  <a:pt x="5655" y="112"/>
                </a:lnTo>
                <a:lnTo>
                  <a:pt x="5678" y="90"/>
                </a:lnTo>
                <a:lnTo>
                  <a:pt x="5678" y="90"/>
                </a:lnTo>
                <a:lnTo>
                  <a:pt x="5682" y="85"/>
                </a:lnTo>
                <a:lnTo>
                  <a:pt x="5681" y="88"/>
                </a:lnTo>
                <a:lnTo>
                  <a:pt x="5676" y="92"/>
                </a:lnTo>
                <a:lnTo>
                  <a:pt x="5675" y="95"/>
                </a:lnTo>
                <a:lnTo>
                  <a:pt x="5676" y="95"/>
                </a:lnTo>
                <a:lnTo>
                  <a:pt x="5676" y="95"/>
                </a:lnTo>
                <a:lnTo>
                  <a:pt x="5694" y="74"/>
                </a:lnTo>
                <a:lnTo>
                  <a:pt x="5699" y="70"/>
                </a:lnTo>
                <a:lnTo>
                  <a:pt x="5694" y="73"/>
                </a:lnTo>
                <a:lnTo>
                  <a:pt x="5720" y="46"/>
                </a:lnTo>
                <a:lnTo>
                  <a:pt x="5720" y="46"/>
                </a:lnTo>
                <a:lnTo>
                  <a:pt x="5708" y="59"/>
                </a:lnTo>
                <a:lnTo>
                  <a:pt x="5708" y="59"/>
                </a:lnTo>
                <a:lnTo>
                  <a:pt x="5727" y="39"/>
                </a:lnTo>
                <a:lnTo>
                  <a:pt x="5742" y="23"/>
                </a:lnTo>
                <a:lnTo>
                  <a:pt x="5742" y="23"/>
                </a:lnTo>
                <a:lnTo>
                  <a:pt x="5731" y="34"/>
                </a:lnTo>
                <a:lnTo>
                  <a:pt x="5731" y="34"/>
                </a:lnTo>
                <a:lnTo>
                  <a:pt x="5760" y="0"/>
                </a:lnTo>
                <a:lnTo>
                  <a:pt x="5760" y="0"/>
                </a:lnTo>
                <a:lnTo>
                  <a:pt x="5745" y="19"/>
                </a:lnTo>
                <a:lnTo>
                  <a:pt x="5728" y="35"/>
                </a:lnTo>
                <a:lnTo>
                  <a:pt x="5728" y="35"/>
                </a:lnTo>
                <a:lnTo>
                  <a:pt x="5731" y="31"/>
                </a:lnTo>
                <a:lnTo>
                  <a:pt x="5739" y="21"/>
                </a:lnTo>
                <a:lnTo>
                  <a:pt x="5739" y="21"/>
                </a:lnTo>
                <a:lnTo>
                  <a:pt x="5720" y="41"/>
                </a:lnTo>
                <a:lnTo>
                  <a:pt x="5707" y="55"/>
                </a:lnTo>
                <a:lnTo>
                  <a:pt x="5707" y="55"/>
                </a:lnTo>
                <a:lnTo>
                  <a:pt x="5720" y="41"/>
                </a:lnTo>
                <a:lnTo>
                  <a:pt x="5727" y="33"/>
                </a:lnTo>
                <a:lnTo>
                  <a:pt x="5727" y="33"/>
                </a:lnTo>
                <a:lnTo>
                  <a:pt x="5690" y="72"/>
                </a:lnTo>
                <a:lnTo>
                  <a:pt x="5690" y="72"/>
                </a:lnTo>
                <a:lnTo>
                  <a:pt x="5683" y="78"/>
                </a:lnTo>
                <a:lnTo>
                  <a:pt x="5672" y="91"/>
                </a:lnTo>
                <a:lnTo>
                  <a:pt x="5662" y="99"/>
                </a:lnTo>
                <a:lnTo>
                  <a:pt x="5661" y="101"/>
                </a:lnTo>
                <a:lnTo>
                  <a:pt x="5664" y="98"/>
                </a:lnTo>
                <a:lnTo>
                  <a:pt x="5664" y="98"/>
                </a:lnTo>
                <a:lnTo>
                  <a:pt x="5640" y="123"/>
                </a:lnTo>
                <a:lnTo>
                  <a:pt x="5640" y="123"/>
                </a:lnTo>
                <a:lnTo>
                  <a:pt x="5650" y="111"/>
                </a:lnTo>
                <a:lnTo>
                  <a:pt x="5667" y="92"/>
                </a:lnTo>
                <a:lnTo>
                  <a:pt x="5667" y="92"/>
                </a:lnTo>
                <a:lnTo>
                  <a:pt x="5683" y="74"/>
                </a:lnTo>
                <a:lnTo>
                  <a:pt x="5685" y="74"/>
                </a:lnTo>
                <a:lnTo>
                  <a:pt x="5682" y="76"/>
                </a:lnTo>
                <a:lnTo>
                  <a:pt x="5676" y="84"/>
                </a:lnTo>
                <a:lnTo>
                  <a:pt x="5675" y="85"/>
                </a:lnTo>
                <a:lnTo>
                  <a:pt x="5676" y="84"/>
                </a:lnTo>
                <a:lnTo>
                  <a:pt x="5706" y="53"/>
                </a:lnTo>
                <a:lnTo>
                  <a:pt x="5706" y="53"/>
                </a:lnTo>
                <a:lnTo>
                  <a:pt x="5708" y="51"/>
                </a:lnTo>
                <a:lnTo>
                  <a:pt x="5697" y="60"/>
                </a:lnTo>
                <a:lnTo>
                  <a:pt x="5697" y="60"/>
                </a:lnTo>
                <a:lnTo>
                  <a:pt x="5715" y="39"/>
                </a:lnTo>
                <a:lnTo>
                  <a:pt x="5740" y="14"/>
                </a:lnTo>
                <a:lnTo>
                  <a:pt x="5740" y="14"/>
                </a:lnTo>
                <a:lnTo>
                  <a:pt x="5736" y="17"/>
                </a:lnTo>
                <a:lnTo>
                  <a:pt x="5728" y="26"/>
                </a:lnTo>
                <a:lnTo>
                  <a:pt x="5728" y="26"/>
                </a:lnTo>
                <a:lnTo>
                  <a:pt x="5736" y="14"/>
                </a:lnTo>
                <a:lnTo>
                  <a:pt x="5738" y="14"/>
                </a:lnTo>
                <a:lnTo>
                  <a:pt x="5736" y="14"/>
                </a:lnTo>
                <a:lnTo>
                  <a:pt x="5725" y="27"/>
                </a:lnTo>
                <a:lnTo>
                  <a:pt x="5725" y="27"/>
                </a:lnTo>
                <a:lnTo>
                  <a:pt x="5727" y="26"/>
                </a:lnTo>
                <a:lnTo>
                  <a:pt x="5724" y="28"/>
                </a:lnTo>
                <a:lnTo>
                  <a:pt x="5722" y="31"/>
                </a:lnTo>
                <a:lnTo>
                  <a:pt x="5727" y="27"/>
                </a:lnTo>
                <a:lnTo>
                  <a:pt x="5727" y="27"/>
                </a:lnTo>
                <a:lnTo>
                  <a:pt x="5706" y="48"/>
                </a:lnTo>
                <a:lnTo>
                  <a:pt x="5699" y="55"/>
                </a:lnTo>
                <a:lnTo>
                  <a:pt x="5697" y="55"/>
                </a:lnTo>
                <a:lnTo>
                  <a:pt x="5700" y="53"/>
                </a:lnTo>
                <a:lnTo>
                  <a:pt x="5657" y="99"/>
                </a:lnTo>
                <a:lnTo>
                  <a:pt x="5657" y="99"/>
                </a:lnTo>
                <a:lnTo>
                  <a:pt x="5661" y="95"/>
                </a:lnTo>
                <a:lnTo>
                  <a:pt x="5669" y="85"/>
                </a:lnTo>
                <a:lnTo>
                  <a:pt x="5636" y="122"/>
                </a:lnTo>
                <a:lnTo>
                  <a:pt x="5646" y="112"/>
                </a:lnTo>
                <a:lnTo>
                  <a:pt x="5646" y="112"/>
                </a:lnTo>
                <a:lnTo>
                  <a:pt x="5614" y="147"/>
                </a:lnTo>
                <a:lnTo>
                  <a:pt x="5586" y="177"/>
                </a:lnTo>
                <a:lnTo>
                  <a:pt x="5586" y="177"/>
                </a:lnTo>
                <a:lnTo>
                  <a:pt x="5598" y="163"/>
                </a:lnTo>
                <a:lnTo>
                  <a:pt x="5618" y="141"/>
                </a:lnTo>
                <a:lnTo>
                  <a:pt x="5618" y="141"/>
                </a:lnTo>
                <a:lnTo>
                  <a:pt x="5611" y="148"/>
                </a:lnTo>
                <a:lnTo>
                  <a:pt x="5607" y="154"/>
                </a:lnTo>
                <a:lnTo>
                  <a:pt x="5589" y="173"/>
                </a:lnTo>
                <a:lnTo>
                  <a:pt x="5589" y="173"/>
                </a:lnTo>
                <a:lnTo>
                  <a:pt x="5586" y="175"/>
                </a:lnTo>
                <a:lnTo>
                  <a:pt x="5586" y="175"/>
                </a:lnTo>
                <a:lnTo>
                  <a:pt x="5570" y="193"/>
                </a:lnTo>
                <a:lnTo>
                  <a:pt x="5570" y="193"/>
                </a:lnTo>
                <a:lnTo>
                  <a:pt x="5568" y="194"/>
                </a:lnTo>
                <a:lnTo>
                  <a:pt x="5569" y="191"/>
                </a:lnTo>
                <a:lnTo>
                  <a:pt x="5569" y="191"/>
                </a:lnTo>
                <a:lnTo>
                  <a:pt x="5558" y="205"/>
                </a:lnTo>
                <a:lnTo>
                  <a:pt x="5555" y="208"/>
                </a:lnTo>
                <a:lnTo>
                  <a:pt x="5533" y="232"/>
                </a:lnTo>
                <a:lnTo>
                  <a:pt x="5533" y="232"/>
                </a:lnTo>
                <a:lnTo>
                  <a:pt x="5554" y="211"/>
                </a:lnTo>
                <a:lnTo>
                  <a:pt x="5572" y="191"/>
                </a:lnTo>
                <a:lnTo>
                  <a:pt x="5572" y="191"/>
                </a:lnTo>
                <a:lnTo>
                  <a:pt x="5575" y="190"/>
                </a:lnTo>
                <a:lnTo>
                  <a:pt x="5573" y="191"/>
                </a:lnTo>
                <a:lnTo>
                  <a:pt x="5565" y="200"/>
                </a:lnTo>
                <a:lnTo>
                  <a:pt x="5545" y="222"/>
                </a:lnTo>
                <a:lnTo>
                  <a:pt x="5545" y="222"/>
                </a:lnTo>
                <a:lnTo>
                  <a:pt x="5524" y="243"/>
                </a:lnTo>
                <a:lnTo>
                  <a:pt x="5499" y="267"/>
                </a:lnTo>
                <a:lnTo>
                  <a:pt x="5499" y="267"/>
                </a:lnTo>
                <a:lnTo>
                  <a:pt x="5509" y="257"/>
                </a:lnTo>
                <a:lnTo>
                  <a:pt x="5523" y="242"/>
                </a:lnTo>
                <a:lnTo>
                  <a:pt x="5523" y="242"/>
                </a:lnTo>
                <a:lnTo>
                  <a:pt x="5527" y="236"/>
                </a:lnTo>
                <a:lnTo>
                  <a:pt x="5524" y="240"/>
                </a:lnTo>
                <a:lnTo>
                  <a:pt x="5512" y="250"/>
                </a:lnTo>
                <a:lnTo>
                  <a:pt x="5512" y="250"/>
                </a:lnTo>
                <a:lnTo>
                  <a:pt x="5511" y="253"/>
                </a:lnTo>
                <a:lnTo>
                  <a:pt x="5511" y="253"/>
                </a:lnTo>
                <a:lnTo>
                  <a:pt x="5499" y="265"/>
                </a:lnTo>
                <a:lnTo>
                  <a:pt x="5501" y="264"/>
                </a:lnTo>
                <a:lnTo>
                  <a:pt x="5472" y="294"/>
                </a:lnTo>
                <a:lnTo>
                  <a:pt x="5472" y="294"/>
                </a:lnTo>
                <a:lnTo>
                  <a:pt x="5428" y="338"/>
                </a:lnTo>
                <a:lnTo>
                  <a:pt x="5409" y="357"/>
                </a:lnTo>
                <a:lnTo>
                  <a:pt x="5391" y="372"/>
                </a:lnTo>
                <a:lnTo>
                  <a:pt x="5396" y="370"/>
                </a:lnTo>
                <a:lnTo>
                  <a:pt x="5342" y="421"/>
                </a:lnTo>
                <a:lnTo>
                  <a:pt x="5342" y="421"/>
                </a:lnTo>
                <a:lnTo>
                  <a:pt x="5352" y="411"/>
                </a:lnTo>
                <a:lnTo>
                  <a:pt x="5368" y="396"/>
                </a:lnTo>
                <a:lnTo>
                  <a:pt x="5368" y="396"/>
                </a:lnTo>
                <a:lnTo>
                  <a:pt x="5288" y="471"/>
                </a:lnTo>
                <a:lnTo>
                  <a:pt x="5288" y="471"/>
                </a:lnTo>
                <a:lnTo>
                  <a:pt x="5322" y="444"/>
                </a:lnTo>
                <a:lnTo>
                  <a:pt x="5322" y="444"/>
                </a:lnTo>
                <a:lnTo>
                  <a:pt x="5310" y="456"/>
                </a:lnTo>
                <a:lnTo>
                  <a:pt x="5299" y="464"/>
                </a:lnTo>
                <a:lnTo>
                  <a:pt x="5286" y="474"/>
                </a:lnTo>
                <a:lnTo>
                  <a:pt x="5269" y="490"/>
                </a:lnTo>
                <a:lnTo>
                  <a:pt x="5269" y="490"/>
                </a:lnTo>
                <a:lnTo>
                  <a:pt x="5271" y="488"/>
                </a:lnTo>
                <a:lnTo>
                  <a:pt x="5272" y="487"/>
                </a:lnTo>
                <a:lnTo>
                  <a:pt x="5274" y="485"/>
                </a:lnTo>
                <a:lnTo>
                  <a:pt x="5269" y="487"/>
                </a:lnTo>
                <a:lnTo>
                  <a:pt x="5269" y="487"/>
                </a:lnTo>
                <a:lnTo>
                  <a:pt x="5250" y="506"/>
                </a:lnTo>
                <a:lnTo>
                  <a:pt x="5228" y="526"/>
                </a:lnTo>
                <a:lnTo>
                  <a:pt x="5228" y="526"/>
                </a:lnTo>
                <a:lnTo>
                  <a:pt x="5226" y="527"/>
                </a:lnTo>
                <a:lnTo>
                  <a:pt x="5230" y="522"/>
                </a:lnTo>
                <a:lnTo>
                  <a:pt x="5260" y="495"/>
                </a:lnTo>
                <a:lnTo>
                  <a:pt x="5260" y="495"/>
                </a:lnTo>
                <a:lnTo>
                  <a:pt x="5276" y="481"/>
                </a:lnTo>
                <a:lnTo>
                  <a:pt x="5292" y="466"/>
                </a:lnTo>
                <a:lnTo>
                  <a:pt x="5321" y="439"/>
                </a:lnTo>
                <a:lnTo>
                  <a:pt x="5310" y="449"/>
                </a:lnTo>
                <a:lnTo>
                  <a:pt x="5310" y="449"/>
                </a:lnTo>
                <a:lnTo>
                  <a:pt x="5360" y="400"/>
                </a:lnTo>
                <a:lnTo>
                  <a:pt x="5360" y="402"/>
                </a:lnTo>
                <a:lnTo>
                  <a:pt x="5368" y="392"/>
                </a:lnTo>
                <a:lnTo>
                  <a:pt x="5359" y="402"/>
                </a:lnTo>
                <a:lnTo>
                  <a:pt x="5359" y="402"/>
                </a:lnTo>
                <a:lnTo>
                  <a:pt x="5389" y="370"/>
                </a:lnTo>
                <a:lnTo>
                  <a:pt x="5389" y="370"/>
                </a:lnTo>
                <a:lnTo>
                  <a:pt x="5361" y="398"/>
                </a:lnTo>
                <a:lnTo>
                  <a:pt x="5346" y="414"/>
                </a:lnTo>
                <a:lnTo>
                  <a:pt x="5346" y="414"/>
                </a:lnTo>
                <a:lnTo>
                  <a:pt x="5314" y="442"/>
                </a:lnTo>
                <a:lnTo>
                  <a:pt x="5303" y="453"/>
                </a:lnTo>
                <a:lnTo>
                  <a:pt x="5290" y="464"/>
                </a:lnTo>
                <a:lnTo>
                  <a:pt x="5290" y="464"/>
                </a:lnTo>
                <a:lnTo>
                  <a:pt x="5282" y="470"/>
                </a:lnTo>
                <a:lnTo>
                  <a:pt x="5281" y="471"/>
                </a:lnTo>
                <a:lnTo>
                  <a:pt x="5285" y="467"/>
                </a:lnTo>
                <a:lnTo>
                  <a:pt x="5285" y="467"/>
                </a:lnTo>
                <a:lnTo>
                  <a:pt x="5303" y="450"/>
                </a:lnTo>
                <a:lnTo>
                  <a:pt x="5311" y="442"/>
                </a:lnTo>
                <a:lnTo>
                  <a:pt x="5311" y="442"/>
                </a:lnTo>
                <a:lnTo>
                  <a:pt x="5278" y="473"/>
                </a:lnTo>
                <a:lnTo>
                  <a:pt x="5278" y="473"/>
                </a:lnTo>
                <a:lnTo>
                  <a:pt x="5264" y="487"/>
                </a:lnTo>
                <a:lnTo>
                  <a:pt x="5240" y="510"/>
                </a:lnTo>
                <a:lnTo>
                  <a:pt x="5240" y="510"/>
                </a:lnTo>
                <a:lnTo>
                  <a:pt x="5211" y="537"/>
                </a:lnTo>
                <a:lnTo>
                  <a:pt x="5183" y="559"/>
                </a:lnTo>
                <a:lnTo>
                  <a:pt x="5183" y="559"/>
                </a:lnTo>
                <a:lnTo>
                  <a:pt x="5207" y="537"/>
                </a:lnTo>
                <a:lnTo>
                  <a:pt x="5214" y="531"/>
                </a:lnTo>
                <a:lnTo>
                  <a:pt x="5215" y="530"/>
                </a:lnTo>
                <a:lnTo>
                  <a:pt x="5214" y="530"/>
                </a:lnTo>
                <a:lnTo>
                  <a:pt x="5214" y="530"/>
                </a:lnTo>
                <a:lnTo>
                  <a:pt x="5204" y="540"/>
                </a:lnTo>
                <a:lnTo>
                  <a:pt x="5193" y="548"/>
                </a:lnTo>
                <a:lnTo>
                  <a:pt x="5184" y="555"/>
                </a:lnTo>
                <a:lnTo>
                  <a:pt x="5183" y="556"/>
                </a:lnTo>
                <a:lnTo>
                  <a:pt x="5183" y="556"/>
                </a:lnTo>
                <a:lnTo>
                  <a:pt x="5183" y="556"/>
                </a:lnTo>
                <a:lnTo>
                  <a:pt x="5145" y="587"/>
                </a:lnTo>
                <a:lnTo>
                  <a:pt x="5130" y="600"/>
                </a:lnTo>
                <a:lnTo>
                  <a:pt x="5122" y="605"/>
                </a:lnTo>
                <a:lnTo>
                  <a:pt x="5122" y="605"/>
                </a:lnTo>
                <a:lnTo>
                  <a:pt x="5152" y="580"/>
                </a:lnTo>
                <a:lnTo>
                  <a:pt x="5180" y="558"/>
                </a:lnTo>
                <a:lnTo>
                  <a:pt x="5180" y="558"/>
                </a:lnTo>
                <a:lnTo>
                  <a:pt x="5173" y="563"/>
                </a:lnTo>
                <a:lnTo>
                  <a:pt x="5172" y="563"/>
                </a:lnTo>
                <a:lnTo>
                  <a:pt x="5173" y="563"/>
                </a:lnTo>
                <a:lnTo>
                  <a:pt x="5198" y="541"/>
                </a:lnTo>
                <a:lnTo>
                  <a:pt x="5198" y="541"/>
                </a:lnTo>
                <a:lnTo>
                  <a:pt x="5180" y="556"/>
                </a:lnTo>
                <a:lnTo>
                  <a:pt x="5158" y="574"/>
                </a:lnTo>
                <a:lnTo>
                  <a:pt x="5158" y="574"/>
                </a:lnTo>
                <a:lnTo>
                  <a:pt x="5161" y="573"/>
                </a:lnTo>
                <a:lnTo>
                  <a:pt x="5140" y="590"/>
                </a:lnTo>
                <a:lnTo>
                  <a:pt x="5138" y="588"/>
                </a:lnTo>
                <a:lnTo>
                  <a:pt x="5138" y="588"/>
                </a:lnTo>
                <a:lnTo>
                  <a:pt x="5099" y="620"/>
                </a:lnTo>
                <a:lnTo>
                  <a:pt x="5048" y="659"/>
                </a:lnTo>
                <a:lnTo>
                  <a:pt x="5051" y="657"/>
                </a:lnTo>
                <a:lnTo>
                  <a:pt x="5051" y="657"/>
                </a:lnTo>
                <a:lnTo>
                  <a:pt x="5034" y="669"/>
                </a:lnTo>
                <a:lnTo>
                  <a:pt x="5021" y="679"/>
                </a:lnTo>
                <a:lnTo>
                  <a:pt x="5009" y="690"/>
                </a:lnTo>
                <a:lnTo>
                  <a:pt x="4991" y="704"/>
                </a:lnTo>
                <a:lnTo>
                  <a:pt x="4991" y="704"/>
                </a:lnTo>
                <a:lnTo>
                  <a:pt x="4996" y="698"/>
                </a:lnTo>
                <a:lnTo>
                  <a:pt x="4993" y="700"/>
                </a:lnTo>
                <a:lnTo>
                  <a:pt x="4993" y="700"/>
                </a:lnTo>
                <a:lnTo>
                  <a:pt x="4973" y="714"/>
                </a:lnTo>
                <a:lnTo>
                  <a:pt x="4953" y="726"/>
                </a:lnTo>
                <a:lnTo>
                  <a:pt x="4953" y="726"/>
                </a:lnTo>
                <a:lnTo>
                  <a:pt x="4959" y="724"/>
                </a:lnTo>
                <a:lnTo>
                  <a:pt x="4956" y="726"/>
                </a:lnTo>
                <a:lnTo>
                  <a:pt x="4952" y="729"/>
                </a:lnTo>
                <a:lnTo>
                  <a:pt x="4954" y="728"/>
                </a:lnTo>
                <a:lnTo>
                  <a:pt x="4954" y="728"/>
                </a:lnTo>
                <a:lnTo>
                  <a:pt x="4950" y="732"/>
                </a:lnTo>
                <a:lnTo>
                  <a:pt x="4938" y="740"/>
                </a:lnTo>
                <a:lnTo>
                  <a:pt x="4907" y="760"/>
                </a:lnTo>
                <a:lnTo>
                  <a:pt x="4907" y="760"/>
                </a:lnTo>
                <a:lnTo>
                  <a:pt x="4906" y="761"/>
                </a:lnTo>
                <a:lnTo>
                  <a:pt x="4906" y="760"/>
                </a:lnTo>
                <a:lnTo>
                  <a:pt x="4910" y="757"/>
                </a:lnTo>
                <a:lnTo>
                  <a:pt x="4925" y="747"/>
                </a:lnTo>
                <a:lnTo>
                  <a:pt x="4925" y="747"/>
                </a:lnTo>
                <a:lnTo>
                  <a:pt x="4938" y="738"/>
                </a:lnTo>
                <a:lnTo>
                  <a:pt x="4938" y="738"/>
                </a:lnTo>
                <a:lnTo>
                  <a:pt x="4932" y="740"/>
                </a:lnTo>
                <a:lnTo>
                  <a:pt x="4932" y="740"/>
                </a:lnTo>
                <a:lnTo>
                  <a:pt x="4917" y="751"/>
                </a:lnTo>
                <a:lnTo>
                  <a:pt x="4924" y="747"/>
                </a:lnTo>
                <a:lnTo>
                  <a:pt x="4924" y="747"/>
                </a:lnTo>
                <a:lnTo>
                  <a:pt x="4886" y="771"/>
                </a:lnTo>
                <a:lnTo>
                  <a:pt x="4854" y="789"/>
                </a:lnTo>
                <a:lnTo>
                  <a:pt x="4854" y="789"/>
                </a:lnTo>
                <a:lnTo>
                  <a:pt x="4825" y="809"/>
                </a:lnTo>
                <a:lnTo>
                  <a:pt x="4803" y="822"/>
                </a:lnTo>
                <a:lnTo>
                  <a:pt x="4803" y="822"/>
                </a:lnTo>
                <a:lnTo>
                  <a:pt x="4816" y="813"/>
                </a:lnTo>
                <a:lnTo>
                  <a:pt x="4833" y="803"/>
                </a:lnTo>
                <a:lnTo>
                  <a:pt x="4815" y="816"/>
                </a:lnTo>
                <a:lnTo>
                  <a:pt x="4815" y="816"/>
                </a:lnTo>
                <a:lnTo>
                  <a:pt x="4780" y="834"/>
                </a:lnTo>
                <a:lnTo>
                  <a:pt x="4751" y="849"/>
                </a:lnTo>
                <a:lnTo>
                  <a:pt x="4769" y="839"/>
                </a:lnTo>
                <a:lnTo>
                  <a:pt x="4769" y="839"/>
                </a:lnTo>
                <a:lnTo>
                  <a:pt x="4769" y="839"/>
                </a:lnTo>
                <a:lnTo>
                  <a:pt x="4786" y="829"/>
                </a:lnTo>
                <a:lnTo>
                  <a:pt x="4797" y="822"/>
                </a:lnTo>
                <a:lnTo>
                  <a:pt x="4797" y="822"/>
                </a:lnTo>
                <a:lnTo>
                  <a:pt x="4773" y="836"/>
                </a:lnTo>
                <a:lnTo>
                  <a:pt x="4745" y="852"/>
                </a:lnTo>
                <a:lnTo>
                  <a:pt x="4745" y="852"/>
                </a:lnTo>
                <a:lnTo>
                  <a:pt x="4745" y="852"/>
                </a:lnTo>
                <a:lnTo>
                  <a:pt x="4718" y="866"/>
                </a:lnTo>
                <a:lnTo>
                  <a:pt x="4694" y="877"/>
                </a:lnTo>
                <a:lnTo>
                  <a:pt x="4672" y="888"/>
                </a:lnTo>
                <a:lnTo>
                  <a:pt x="4652" y="898"/>
                </a:lnTo>
                <a:lnTo>
                  <a:pt x="4652" y="898"/>
                </a:lnTo>
                <a:lnTo>
                  <a:pt x="4666" y="892"/>
                </a:lnTo>
                <a:lnTo>
                  <a:pt x="4670" y="891"/>
                </a:lnTo>
                <a:lnTo>
                  <a:pt x="4670" y="889"/>
                </a:lnTo>
                <a:lnTo>
                  <a:pt x="4670" y="891"/>
                </a:lnTo>
                <a:lnTo>
                  <a:pt x="4670" y="891"/>
                </a:lnTo>
                <a:lnTo>
                  <a:pt x="4649" y="899"/>
                </a:lnTo>
                <a:lnTo>
                  <a:pt x="4637" y="905"/>
                </a:lnTo>
                <a:lnTo>
                  <a:pt x="4645" y="901"/>
                </a:lnTo>
                <a:lnTo>
                  <a:pt x="4599" y="920"/>
                </a:lnTo>
                <a:lnTo>
                  <a:pt x="4599" y="920"/>
                </a:lnTo>
                <a:lnTo>
                  <a:pt x="4595" y="924"/>
                </a:lnTo>
                <a:lnTo>
                  <a:pt x="4584" y="930"/>
                </a:lnTo>
                <a:lnTo>
                  <a:pt x="4584" y="930"/>
                </a:lnTo>
                <a:lnTo>
                  <a:pt x="4568" y="935"/>
                </a:lnTo>
                <a:lnTo>
                  <a:pt x="4573" y="933"/>
                </a:lnTo>
                <a:lnTo>
                  <a:pt x="4580" y="928"/>
                </a:lnTo>
                <a:lnTo>
                  <a:pt x="4571" y="931"/>
                </a:lnTo>
                <a:lnTo>
                  <a:pt x="4571" y="931"/>
                </a:lnTo>
                <a:lnTo>
                  <a:pt x="4534" y="948"/>
                </a:lnTo>
                <a:lnTo>
                  <a:pt x="4525" y="951"/>
                </a:lnTo>
                <a:lnTo>
                  <a:pt x="4525" y="951"/>
                </a:lnTo>
                <a:lnTo>
                  <a:pt x="4444" y="980"/>
                </a:lnTo>
                <a:lnTo>
                  <a:pt x="4405" y="994"/>
                </a:lnTo>
                <a:lnTo>
                  <a:pt x="4361" y="1008"/>
                </a:lnTo>
                <a:lnTo>
                  <a:pt x="4361" y="1008"/>
                </a:lnTo>
                <a:lnTo>
                  <a:pt x="4368" y="1005"/>
                </a:lnTo>
                <a:lnTo>
                  <a:pt x="4384" y="999"/>
                </a:lnTo>
                <a:lnTo>
                  <a:pt x="4419" y="987"/>
                </a:lnTo>
                <a:lnTo>
                  <a:pt x="4419" y="987"/>
                </a:lnTo>
                <a:lnTo>
                  <a:pt x="4386" y="998"/>
                </a:lnTo>
                <a:lnTo>
                  <a:pt x="4347" y="1009"/>
                </a:lnTo>
                <a:lnTo>
                  <a:pt x="4347" y="1009"/>
                </a:lnTo>
                <a:lnTo>
                  <a:pt x="4318" y="1019"/>
                </a:lnTo>
                <a:lnTo>
                  <a:pt x="4309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308" y="1022"/>
                </a:lnTo>
                <a:lnTo>
                  <a:pt x="4286" y="1027"/>
                </a:lnTo>
                <a:lnTo>
                  <a:pt x="4283" y="1027"/>
                </a:lnTo>
                <a:lnTo>
                  <a:pt x="4283" y="1027"/>
                </a:lnTo>
                <a:lnTo>
                  <a:pt x="4272" y="1031"/>
                </a:lnTo>
                <a:lnTo>
                  <a:pt x="4252" y="1037"/>
                </a:lnTo>
                <a:lnTo>
                  <a:pt x="4212" y="1047"/>
                </a:lnTo>
                <a:lnTo>
                  <a:pt x="4210" y="1047"/>
                </a:lnTo>
                <a:lnTo>
                  <a:pt x="4171" y="1057"/>
                </a:lnTo>
                <a:lnTo>
                  <a:pt x="4171" y="1057"/>
                </a:lnTo>
                <a:lnTo>
                  <a:pt x="4177" y="1057"/>
                </a:lnTo>
                <a:lnTo>
                  <a:pt x="4173" y="1058"/>
                </a:lnTo>
                <a:lnTo>
                  <a:pt x="4163" y="1059"/>
                </a:lnTo>
                <a:lnTo>
                  <a:pt x="4163" y="1059"/>
                </a:lnTo>
                <a:lnTo>
                  <a:pt x="4194" y="1054"/>
                </a:lnTo>
                <a:lnTo>
                  <a:pt x="4224" y="1045"/>
                </a:lnTo>
                <a:lnTo>
                  <a:pt x="4256" y="1037"/>
                </a:lnTo>
                <a:lnTo>
                  <a:pt x="4286" y="1030"/>
                </a:lnTo>
                <a:lnTo>
                  <a:pt x="4286" y="1030"/>
                </a:lnTo>
                <a:lnTo>
                  <a:pt x="4281" y="1031"/>
                </a:lnTo>
                <a:lnTo>
                  <a:pt x="4283" y="1031"/>
                </a:lnTo>
                <a:lnTo>
                  <a:pt x="4283" y="1033"/>
                </a:lnTo>
                <a:lnTo>
                  <a:pt x="4279" y="1034"/>
                </a:lnTo>
                <a:lnTo>
                  <a:pt x="4279" y="1034"/>
                </a:lnTo>
                <a:lnTo>
                  <a:pt x="4266" y="1037"/>
                </a:lnTo>
                <a:lnTo>
                  <a:pt x="4266" y="1037"/>
                </a:lnTo>
                <a:lnTo>
                  <a:pt x="4255" y="1040"/>
                </a:lnTo>
                <a:lnTo>
                  <a:pt x="4265" y="1038"/>
                </a:lnTo>
                <a:lnTo>
                  <a:pt x="4265" y="1038"/>
                </a:lnTo>
                <a:lnTo>
                  <a:pt x="4258" y="1041"/>
                </a:lnTo>
                <a:lnTo>
                  <a:pt x="4241" y="1045"/>
                </a:lnTo>
                <a:lnTo>
                  <a:pt x="4195" y="1057"/>
                </a:lnTo>
                <a:lnTo>
                  <a:pt x="4195" y="1057"/>
                </a:lnTo>
                <a:lnTo>
                  <a:pt x="4189" y="1058"/>
                </a:lnTo>
                <a:lnTo>
                  <a:pt x="4199" y="1054"/>
                </a:lnTo>
                <a:lnTo>
                  <a:pt x="4230" y="1047"/>
                </a:lnTo>
                <a:lnTo>
                  <a:pt x="4230" y="1047"/>
                </a:lnTo>
                <a:lnTo>
                  <a:pt x="4214" y="1051"/>
                </a:lnTo>
                <a:lnTo>
                  <a:pt x="4195" y="1055"/>
                </a:lnTo>
                <a:lnTo>
                  <a:pt x="4198" y="1052"/>
                </a:lnTo>
                <a:lnTo>
                  <a:pt x="4198" y="1052"/>
                </a:lnTo>
                <a:lnTo>
                  <a:pt x="4177" y="1058"/>
                </a:lnTo>
                <a:lnTo>
                  <a:pt x="4180" y="1058"/>
                </a:lnTo>
                <a:lnTo>
                  <a:pt x="4181" y="1059"/>
                </a:lnTo>
                <a:lnTo>
                  <a:pt x="4180" y="1059"/>
                </a:lnTo>
                <a:lnTo>
                  <a:pt x="4180" y="1059"/>
                </a:lnTo>
                <a:lnTo>
                  <a:pt x="4168" y="1062"/>
                </a:lnTo>
                <a:lnTo>
                  <a:pt x="4156" y="1065"/>
                </a:lnTo>
                <a:lnTo>
                  <a:pt x="4132" y="1069"/>
                </a:lnTo>
                <a:lnTo>
                  <a:pt x="4145" y="1066"/>
                </a:lnTo>
                <a:lnTo>
                  <a:pt x="4145" y="1066"/>
                </a:lnTo>
                <a:lnTo>
                  <a:pt x="4111" y="1075"/>
                </a:lnTo>
                <a:lnTo>
                  <a:pt x="4079" y="1080"/>
                </a:lnTo>
                <a:lnTo>
                  <a:pt x="4067" y="1083"/>
                </a:lnTo>
                <a:lnTo>
                  <a:pt x="4067" y="1083"/>
                </a:lnTo>
                <a:lnTo>
                  <a:pt x="4088" y="1079"/>
                </a:lnTo>
                <a:lnTo>
                  <a:pt x="4103" y="1075"/>
                </a:lnTo>
                <a:lnTo>
                  <a:pt x="4115" y="1072"/>
                </a:lnTo>
                <a:lnTo>
                  <a:pt x="4128" y="1069"/>
                </a:lnTo>
                <a:lnTo>
                  <a:pt x="4128" y="1069"/>
                </a:lnTo>
                <a:lnTo>
                  <a:pt x="4109" y="1072"/>
                </a:lnTo>
                <a:lnTo>
                  <a:pt x="4117" y="1069"/>
                </a:lnTo>
                <a:lnTo>
                  <a:pt x="4155" y="1059"/>
                </a:lnTo>
                <a:lnTo>
                  <a:pt x="4155" y="1059"/>
                </a:lnTo>
                <a:lnTo>
                  <a:pt x="4124" y="1066"/>
                </a:lnTo>
                <a:lnTo>
                  <a:pt x="4100" y="1070"/>
                </a:lnTo>
                <a:lnTo>
                  <a:pt x="4100" y="1070"/>
                </a:lnTo>
                <a:lnTo>
                  <a:pt x="4076" y="1076"/>
                </a:lnTo>
                <a:lnTo>
                  <a:pt x="4053" y="1080"/>
                </a:lnTo>
                <a:lnTo>
                  <a:pt x="4028" y="1084"/>
                </a:lnTo>
                <a:lnTo>
                  <a:pt x="4004" y="1090"/>
                </a:lnTo>
                <a:lnTo>
                  <a:pt x="4004" y="1090"/>
                </a:lnTo>
                <a:lnTo>
                  <a:pt x="3998" y="1090"/>
                </a:lnTo>
                <a:lnTo>
                  <a:pt x="4003" y="1090"/>
                </a:lnTo>
                <a:lnTo>
                  <a:pt x="4007" y="1089"/>
                </a:lnTo>
                <a:lnTo>
                  <a:pt x="4001" y="1090"/>
                </a:lnTo>
                <a:lnTo>
                  <a:pt x="3898" y="1107"/>
                </a:lnTo>
                <a:lnTo>
                  <a:pt x="3898" y="1107"/>
                </a:lnTo>
                <a:lnTo>
                  <a:pt x="3884" y="1108"/>
                </a:lnTo>
                <a:lnTo>
                  <a:pt x="3879" y="1108"/>
                </a:lnTo>
                <a:lnTo>
                  <a:pt x="3774" y="1123"/>
                </a:lnTo>
                <a:lnTo>
                  <a:pt x="3774" y="1123"/>
                </a:lnTo>
                <a:lnTo>
                  <a:pt x="3724" y="1130"/>
                </a:lnTo>
                <a:lnTo>
                  <a:pt x="3663" y="1137"/>
                </a:lnTo>
                <a:lnTo>
                  <a:pt x="3676" y="1135"/>
                </a:lnTo>
                <a:lnTo>
                  <a:pt x="3676" y="1135"/>
                </a:lnTo>
                <a:lnTo>
                  <a:pt x="3649" y="1137"/>
                </a:lnTo>
                <a:lnTo>
                  <a:pt x="3629" y="1140"/>
                </a:lnTo>
                <a:lnTo>
                  <a:pt x="3629" y="1140"/>
                </a:lnTo>
                <a:lnTo>
                  <a:pt x="3605" y="1142"/>
                </a:lnTo>
                <a:lnTo>
                  <a:pt x="3573" y="1146"/>
                </a:lnTo>
                <a:lnTo>
                  <a:pt x="3540" y="1149"/>
                </a:lnTo>
                <a:lnTo>
                  <a:pt x="3512" y="1151"/>
                </a:lnTo>
                <a:lnTo>
                  <a:pt x="3512" y="1151"/>
                </a:lnTo>
                <a:lnTo>
                  <a:pt x="3470" y="1155"/>
                </a:lnTo>
                <a:lnTo>
                  <a:pt x="3435" y="1161"/>
                </a:lnTo>
                <a:lnTo>
                  <a:pt x="3435" y="1161"/>
                </a:lnTo>
                <a:lnTo>
                  <a:pt x="3438" y="1160"/>
                </a:lnTo>
                <a:lnTo>
                  <a:pt x="3427" y="1160"/>
                </a:lnTo>
                <a:lnTo>
                  <a:pt x="3427" y="1160"/>
                </a:lnTo>
                <a:lnTo>
                  <a:pt x="3102" y="1194"/>
                </a:lnTo>
                <a:lnTo>
                  <a:pt x="3102" y="1194"/>
                </a:lnTo>
                <a:lnTo>
                  <a:pt x="3112" y="1193"/>
                </a:lnTo>
                <a:lnTo>
                  <a:pt x="3112" y="1193"/>
                </a:lnTo>
                <a:lnTo>
                  <a:pt x="2998" y="1206"/>
                </a:lnTo>
                <a:lnTo>
                  <a:pt x="2895" y="1215"/>
                </a:lnTo>
                <a:lnTo>
                  <a:pt x="2895" y="1215"/>
                </a:lnTo>
                <a:lnTo>
                  <a:pt x="2867" y="1220"/>
                </a:lnTo>
                <a:lnTo>
                  <a:pt x="2857" y="1221"/>
                </a:lnTo>
                <a:lnTo>
                  <a:pt x="2856" y="1221"/>
                </a:lnTo>
                <a:lnTo>
                  <a:pt x="2857" y="1221"/>
                </a:lnTo>
                <a:lnTo>
                  <a:pt x="2857" y="1221"/>
                </a:lnTo>
                <a:lnTo>
                  <a:pt x="2871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74" y="1221"/>
                </a:lnTo>
                <a:lnTo>
                  <a:pt x="2844" y="1224"/>
                </a:lnTo>
                <a:lnTo>
                  <a:pt x="2833" y="1225"/>
                </a:lnTo>
                <a:lnTo>
                  <a:pt x="2826" y="1225"/>
                </a:lnTo>
                <a:lnTo>
                  <a:pt x="2807" y="1227"/>
                </a:lnTo>
                <a:lnTo>
                  <a:pt x="2807" y="1227"/>
                </a:lnTo>
                <a:lnTo>
                  <a:pt x="2804" y="1227"/>
                </a:lnTo>
                <a:lnTo>
                  <a:pt x="2805" y="1227"/>
                </a:lnTo>
                <a:lnTo>
                  <a:pt x="2815" y="1225"/>
                </a:lnTo>
                <a:lnTo>
                  <a:pt x="2826" y="1224"/>
                </a:lnTo>
                <a:lnTo>
                  <a:pt x="2831" y="1222"/>
                </a:lnTo>
                <a:lnTo>
                  <a:pt x="2776" y="1228"/>
                </a:lnTo>
                <a:lnTo>
                  <a:pt x="2776" y="1228"/>
                </a:lnTo>
                <a:lnTo>
                  <a:pt x="2730" y="1234"/>
                </a:lnTo>
                <a:lnTo>
                  <a:pt x="2687" y="1236"/>
                </a:lnTo>
                <a:lnTo>
                  <a:pt x="2687" y="1236"/>
                </a:lnTo>
                <a:lnTo>
                  <a:pt x="2695" y="1235"/>
                </a:lnTo>
                <a:lnTo>
                  <a:pt x="2711" y="1234"/>
                </a:lnTo>
                <a:lnTo>
                  <a:pt x="2711" y="1234"/>
                </a:lnTo>
                <a:lnTo>
                  <a:pt x="2706" y="1235"/>
                </a:lnTo>
                <a:lnTo>
                  <a:pt x="2706" y="1235"/>
                </a:lnTo>
                <a:lnTo>
                  <a:pt x="2741" y="1231"/>
                </a:lnTo>
                <a:lnTo>
                  <a:pt x="2772" y="1227"/>
                </a:lnTo>
                <a:lnTo>
                  <a:pt x="2772" y="1227"/>
                </a:lnTo>
                <a:lnTo>
                  <a:pt x="2655" y="1239"/>
                </a:lnTo>
                <a:lnTo>
                  <a:pt x="2655" y="1239"/>
                </a:lnTo>
                <a:lnTo>
                  <a:pt x="2656" y="1239"/>
                </a:lnTo>
                <a:lnTo>
                  <a:pt x="2654" y="1239"/>
                </a:lnTo>
                <a:lnTo>
                  <a:pt x="2644" y="1240"/>
                </a:lnTo>
                <a:lnTo>
                  <a:pt x="2620" y="1243"/>
                </a:lnTo>
                <a:lnTo>
                  <a:pt x="2619" y="1243"/>
                </a:lnTo>
                <a:lnTo>
                  <a:pt x="2619" y="1243"/>
                </a:lnTo>
                <a:lnTo>
                  <a:pt x="2592" y="1247"/>
                </a:lnTo>
                <a:lnTo>
                  <a:pt x="2584" y="1246"/>
                </a:lnTo>
                <a:lnTo>
                  <a:pt x="2584" y="1246"/>
                </a:lnTo>
                <a:lnTo>
                  <a:pt x="2578" y="1247"/>
                </a:lnTo>
                <a:lnTo>
                  <a:pt x="2574" y="1249"/>
                </a:lnTo>
                <a:lnTo>
                  <a:pt x="2574" y="1249"/>
                </a:lnTo>
                <a:lnTo>
                  <a:pt x="2520" y="1254"/>
                </a:lnTo>
                <a:lnTo>
                  <a:pt x="2492" y="1256"/>
                </a:lnTo>
                <a:lnTo>
                  <a:pt x="2478" y="1257"/>
                </a:lnTo>
                <a:lnTo>
                  <a:pt x="2478" y="1257"/>
                </a:lnTo>
                <a:lnTo>
                  <a:pt x="2421" y="1263"/>
                </a:lnTo>
                <a:lnTo>
                  <a:pt x="2421" y="1263"/>
                </a:lnTo>
                <a:lnTo>
                  <a:pt x="2431" y="1261"/>
                </a:lnTo>
                <a:lnTo>
                  <a:pt x="2431" y="1261"/>
                </a:lnTo>
                <a:lnTo>
                  <a:pt x="2344" y="1270"/>
                </a:lnTo>
                <a:lnTo>
                  <a:pt x="2261" y="1277"/>
                </a:lnTo>
                <a:lnTo>
                  <a:pt x="2261" y="1277"/>
                </a:lnTo>
                <a:lnTo>
                  <a:pt x="2159" y="1288"/>
                </a:lnTo>
                <a:lnTo>
                  <a:pt x="2159" y="1288"/>
                </a:lnTo>
                <a:lnTo>
                  <a:pt x="2182" y="1286"/>
                </a:lnTo>
                <a:lnTo>
                  <a:pt x="2188" y="1286"/>
                </a:lnTo>
                <a:lnTo>
                  <a:pt x="2182" y="1288"/>
                </a:lnTo>
                <a:lnTo>
                  <a:pt x="2182" y="1288"/>
                </a:lnTo>
                <a:lnTo>
                  <a:pt x="2136" y="1292"/>
                </a:lnTo>
                <a:lnTo>
                  <a:pt x="2136" y="1292"/>
                </a:lnTo>
                <a:lnTo>
                  <a:pt x="2121" y="1293"/>
                </a:lnTo>
                <a:lnTo>
                  <a:pt x="2116" y="1293"/>
                </a:lnTo>
                <a:lnTo>
                  <a:pt x="2128" y="1292"/>
                </a:lnTo>
                <a:lnTo>
                  <a:pt x="2128" y="1292"/>
                </a:lnTo>
                <a:lnTo>
                  <a:pt x="2113" y="1292"/>
                </a:lnTo>
                <a:lnTo>
                  <a:pt x="2088" y="1295"/>
                </a:lnTo>
                <a:lnTo>
                  <a:pt x="2064" y="1298"/>
                </a:lnTo>
                <a:lnTo>
                  <a:pt x="2054" y="1298"/>
                </a:lnTo>
                <a:lnTo>
                  <a:pt x="2054" y="1298"/>
                </a:lnTo>
                <a:lnTo>
                  <a:pt x="2021" y="1300"/>
                </a:lnTo>
                <a:lnTo>
                  <a:pt x="1980" y="1306"/>
                </a:lnTo>
                <a:lnTo>
                  <a:pt x="1980" y="1306"/>
                </a:lnTo>
                <a:lnTo>
                  <a:pt x="1992" y="1305"/>
                </a:lnTo>
                <a:lnTo>
                  <a:pt x="2005" y="1302"/>
                </a:lnTo>
                <a:lnTo>
                  <a:pt x="1983" y="1305"/>
                </a:lnTo>
                <a:lnTo>
                  <a:pt x="1983" y="1305"/>
                </a:lnTo>
                <a:lnTo>
                  <a:pt x="1983" y="1305"/>
                </a:lnTo>
                <a:lnTo>
                  <a:pt x="1940" y="1309"/>
                </a:lnTo>
                <a:lnTo>
                  <a:pt x="1909" y="1313"/>
                </a:lnTo>
                <a:lnTo>
                  <a:pt x="1909" y="1313"/>
                </a:lnTo>
                <a:lnTo>
                  <a:pt x="1893" y="1314"/>
                </a:lnTo>
                <a:lnTo>
                  <a:pt x="1912" y="1312"/>
                </a:lnTo>
                <a:lnTo>
                  <a:pt x="1912" y="1312"/>
                </a:lnTo>
                <a:lnTo>
                  <a:pt x="1841" y="1320"/>
                </a:lnTo>
                <a:lnTo>
                  <a:pt x="1838" y="1320"/>
                </a:lnTo>
                <a:lnTo>
                  <a:pt x="1820" y="1321"/>
                </a:lnTo>
                <a:lnTo>
                  <a:pt x="1820" y="1321"/>
                </a:lnTo>
                <a:lnTo>
                  <a:pt x="1823" y="1321"/>
                </a:lnTo>
                <a:lnTo>
                  <a:pt x="1823" y="1321"/>
                </a:lnTo>
                <a:lnTo>
                  <a:pt x="1785" y="1325"/>
                </a:lnTo>
                <a:lnTo>
                  <a:pt x="1750" y="1330"/>
                </a:lnTo>
                <a:lnTo>
                  <a:pt x="1750" y="1330"/>
                </a:lnTo>
                <a:lnTo>
                  <a:pt x="1732" y="1330"/>
                </a:lnTo>
                <a:lnTo>
                  <a:pt x="1711" y="1332"/>
                </a:lnTo>
                <a:lnTo>
                  <a:pt x="1714" y="1330"/>
                </a:lnTo>
                <a:lnTo>
                  <a:pt x="1714" y="1330"/>
                </a:lnTo>
                <a:lnTo>
                  <a:pt x="1742" y="1328"/>
                </a:lnTo>
                <a:lnTo>
                  <a:pt x="1771" y="1325"/>
                </a:lnTo>
                <a:lnTo>
                  <a:pt x="1771" y="1325"/>
                </a:lnTo>
                <a:lnTo>
                  <a:pt x="1739" y="1327"/>
                </a:lnTo>
                <a:lnTo>
                  <a:pt x="1693" y="1331"/>
                </a:lnTo>
                <a:lnTo>
                  <a:pt x="1594" y="1341"/>
                </a:lnTo>
                <a:lnTo>
                  <a:pt x="1594" y="1341"/>
                </a:lnTo>
                <a:lnTo>
                  <a:pt x="1512" y="1348"/>
                </a:lnTo>
                <a:lnTo>
                  <a:pt x="1474" y="1352"/>
                </a:lnTo>
                <a:lnTo>
                  <a:pt x="1451" y="1355"/>
                </a:lnTo>
                <a:lnTo>
                  <a:pt x="1455" y="1353"/>
                </a:lnTo>
                <a:lnTo>
                  <a:pt x="1376" y="1359"/>
                </a:lnTo>
                <a:lnTo>
                  <a:pt x="1376" y="1359"/>
                </a:lnTo>
                <a:lnTo>
                  <a:pt x="1275" y="1369"/>
                </a:lnTo>
                <a:lnTo>
                  <a:pt x="1187" y="1377"/>
                </a:lnTo>
                <a:lnTo>
                  <a:pt x="1173" y="1377"/>
                </a:lnTo>
                <a:lnTo>
                  <a:pt x="1173" y="1377"/>
                </a:lnTo>
                <a:lnTo>
                  <a:pt x="1122" y="1383"/>
                </a:lnTo>
                <a:lnTo>
                  <a:pt x="1059" y="1388"/>
                </a:lnTo>
                <a:lnTo>
                  <a:pt x="998" y="1394"/>
                </a:lnTo>
                <a:lnTo>
                  <a:pt x="957" y="1399"/>
                </a:lnTo>
                <a:lnTo>
                  <a:pt x="957" y="1399"/>
                </a:lnTo>
                <a:lnTo>
                  <a:pt x="946" y="1399"/>
                </a:lnTo>
                <a:lnTo>
                  <a:pt x="950" y="1399"/>
                </a:lnTo>
                <a:lnTo>
                  <a:pt x="970" y="1397"/>
                </a:lnTo>
                <a:lnTo>
                  <a:pt x="970" y="1397"/>
                </a:lnTo>
                <a:lnTo>
                  <a:pt x="928" y="1401"/>
                </a:lnTo>
                <a:lnTo>
                  <a:pt x="907" y="1402"/>
                </a:lnTo>
                <a:lnTo>
                  <a:pt x="889" y="1403"/>
                </a:lnTo>
                <a:lnTo>
                  <a:pt x="889" y="1403"/>
                </a:lnTo>
                <a:lnTo>
                  <a:pt x="903" y="1402"/>
                </a:lnTo>
                <a:lnTo>
                  <a:pt x="909" y="1401"/>
                </a:lnTo>
                <a:lnTo>
                  <a:pt x="906" y="1401"/>
                </a:lnTo>
                <a:lnTo>
                  <a:pt x="906" y="1401"/>
                </a:lnTo>
                <a:lnTo>
                  <a:pt x="886" y="1403"/>
                </a:lnTo>
                <a:lnTo>
                  <a:pt x="864" y="1405"/>
                </a:lnTo>
                <a:lnTo>
                  <a:pt x="864" y="1405"/>
                </a:lnTo>
                <a:lnTo>
                  <a:pt x="865" y="1405"/>
                </a:lnTo>
                <a:lnTo>
                  <a:pt x="863" y="1405"/>
                </a:lnTo>
                <a:lnTo>
                  <a:pt x="850" y="1408"/>
                </a:lnTo>
                <a:lnTo>
                  <a:pt x="808" y="1410"/>
                </a:lnTo>
                <a:lnTo>
                  <a:pt x="808" y="1410"/>
                </a:lnTo>
                <a:lnTo>
                  <a:pt x="815" y="1410"/>
                </a:lnTo>
                <a:lnTo>
                  <a:pt x="815" y="1410"/>
                </a:lnTo>
                <a:lnTo>
                  <a:pt x="808" y="1412"/>
                </a:lnTo>
                <a:lnTo>
                  <a:pt x="789" y="1413"/>
                </a:lnTo>
                <a:lnTo>
                  <a:pt x="789" y="1413"/>
                </a:lnTo>
                <a:lnTo>
                  <a:pt x="793" y="1413"/>
                </a:lnTo>
                <a:lnTo>
                  <a:pt x="793" y="1413"/>
                </a:lnTo>
                <a:lnTo>
                  <a:pt x="571" y="1430"/>
                </a:lnTo>
                <a:lnTo>
                  <a:pt x="457" y="1438"/>
                </a:lnTo>
                <a:lnTo>
                  <a:pt x="346" y="1445"/>
                </a:lnTo>
                <a:lnTo>
                  <a:pt x="372" y="1442"/>
                </a:lnTo>
                <a:lnTo>
                  <a:pt x="372" y="1442"/>
                </a:lnTo>
                <a:lnTo>
                  <a:pt x="334" y="1445"/>
                </a:lnTo>
                <a:lnTo>
                  <a:pt x="302" y="1447"/>
                </a:lnTo>
                <a:lnTo>
                  <a:pt x="305" y="1447"/>
                </a:lnTo>
                <a:lnTo>
                  <a:pt x="305" y="1447"/>
                </a:lnTo>
                <a:lnTo>
                  <a:pt x="282" y="1448"/>
                </a:lnTo>
                <a:lnTo>
                  <a:pt x="265" y="1449"/>
                </a:lnTo>
                <a:lnTo>
                  <a:pt x="249" y="1451"/>
                </a:lnTo>
                <a:lnTo>
                  <a:pt x="230" y="1451"/>
                </a:lnTo>
                <a:lnTo>
                  <a:pt x="237" y="1451"/>
                </a:lnTo>
                <a:lnTo>
                  <a:pt x="237" y="1451"/>
                </a:lnTo>
                <a:lnTo>
                  <a:pt x="176" y="1452"/>
                </a:lnTo>
                <a:lnTo>
                  <a:pt x="114" y="1455"/>
                </a:lnTo>
                <a:lnTo>
                  <a:pt x="114" y="1455"/>
                </a:lnTo>
                <a:lnTo>
                  <a:pt x="82" y="1455"/>
                </a:lnTo>
                <a:lnTo>
                  <a:pt x="57" y="1454"/>
                </a:lnTo>
                <a:lnTo>
                  <a:pt x="57" y="1454"/>
                </a:lnTo>
                <a:lnTo>
                  <a:pt x="25" y="1455"/>
                </a:lnTo>
                <a:lnTo>
                  <a:pt x="35" y="1455"/>
                </a:lnTo>
                <a:lnTo>
                  <a:pt x="35" y="1455"/>
                </a:lnTo>
                <a:lnTo>
                  <a:pt x="38" y="1455"/>
                </a:lnTo>
                <a:lnTo>
                  <a:pt x="36" y="1456"/>
                </a:lnTo>
                <a:lnTo>
                  <a:pt x="26" y="1456"/>
                </a:lnTo>
                <a:lnTo>
                  <a:pt x="26" y="1456"/>
                </a:lnTo>
                <a:lnTo>
                  <a:pt x="11" y="1455"/>
                </a:lnTo>
                <a:lnTo>
                  <a:pt x="11" y="1455"/>
                </a:lnTo>
                <a:lnTo>
                  <a:pt x="4" y="1455"/>
                </a:lnTo>
                <a:lnTo>
                  <a:pt x="4" y="1455"/>
                </a:lnTo>
                <a:lnTo>
                  <a:pt x="3" y="1454"/>
                </a:lnTo>
                <a:lnTo>
                  <a:pt x="0" y="1452"/>
                </a:lnTo>
                <a:lnTo>
                  <a:pt x="0" y="1452"/>
                </a:lnTo>
                <a:lnTo>
                  <a:pt x="1" y="1454"/>
                </a:lnTo>
                <a:lnTo>
                  <a:pt x="3" y="1455"/>
                </a:lnTo>
                <a:lnTo>
                  <a:pt x="3" y="1455"/>
                </a:lnTo>
                <a:lnTo>
                  <a:pt x="4" y="1455"/>
                </a:lnTo>
                <a:lnTo>
                  <a:pt x="4" y="1455"/>
                </a:lnTo>
                <a:lnTo>
                  <a:pt x="10" y="1458"/>
                </a:lnTo>
                <a:lnTo>
                  <a:pt x="10" y="1458"/>
                </a:lnTo>
                <a:lnTo>
                  <a:pt x="21" y="1459"/>
                </a:lnTo>
                <a:lnTo>
                  <a:pt x="45" y="1461"/>
                </a:lnTo>
                <a:lnTo>
                  <a:pt x="45" y="1461"/>
                </a:lnTo>
                <a:lnTo>
                  <a:pt x="64" y="1461"/>
                </a:lnTo>
                <a:lnTo>
                  <a:pt x="77" y="1462"/>
                </a:lnTo>
                <a:lnTo>
                  <a:pt x="91" y="1462"/>
                </a:lnTo>
                <a:lnTo>
                  <a:pt x="111" y="1462"/>
                </a:lnTo>
                <a:lnTo>
                  <a:pt x="111" y="1462"/>
                </a:lnTo>
                <a:lnTo>
                  <a:pt x="128" y="1461"/>
                </a:lnTo>
                <a:lnTo>
                  <a:pt x="148" y="1461"/>
                </a:lnTo>
                <a:lnTo>
                  <a:pt x="170" y="1461"/>
                </a:lnTo>
                <a:lnTo>
                  <a:pt x="194" y="1458"/>
                </a:lnTo>
                <a:lnTo>
                  <a:pt x="194" y="1458"/>
                </a:lnTo>
                <a:lnTo>
                  <a:pt x="191" y="1459"/>
                </a:lnTo>
                <a:lnTo>
                  <a:pt x="192" y="1459"/>
                </a:lnTo>
                <a:lnTo>
                  <a:pt x="203" y="1459"/>
                </a:lnTo>
                <a:lnTo>
                  <a:pt x="212" y="1459"/>
                </a:lnTo>
                <a:lnTo>
                  <a:pt x="203" y="1459"/>
                </a:lnTo>
                <a:lnTo>
                  <a:pt x="203" y="1459"/>
                </a:lnTo>
                <a:lnTo>
                  <a:pt x="247" y="1458"/>
                </a:lnTo>
                <a:lnTo>
                  <a:pt x="298" y="1455"/>
                </a:lnTo>
                <a:lnTo>
                  <a:pt x="298" y="1455"/>
                </a:lnTo>
                <a:lnTo>
                  <a:pt x="288" y="1456"/>
                </a:lnTo>
                <a:lnTo>
                  <a:pt x="288" y="1456"/>
                </a:lnTo>
                <a:lnTo>
                  <a:pt x="318" y="1455"/>
                </a:lnTo>
                <a:lnTo>
                  <a:pt x="339" y="1454"/>
                </a:lnTo>
                <a:lnTo>
                  <a:pt x="339" y="1452"/>
                </a:lnTo>
                <a:lnTo>
                  <a:pt x="339" y="1452"/>
                </a:lnTo>
                <a:lnTo>
                  <a:pt x="361" y="1452"/>
                </a:lnTo>
                <a:lnTo>
                  <a:pt x="361" y="1452"/>
                </a:lnTo>
                <a:lnTo>
                  <a:pt x="347" y="1452"/>
                </a:lnTo>
                <a:lnTo>
                  <a:pt x="344" y="1452"/>
                </a:lnTo>
                <a:lnTo>
                  <a:pt x="346" y="1451"/>
                </a:lnTo>
                <a:lnTo>
                  <a:pt x="346" y="1451"/>
                </a:lnTo>
                <a:lnTo>
                  <a:pt x="382" y="1448"/>
                </a:lnTo>
                <a:lnTo>
                  <a:pt x="382" y="1448"/>
                </a:lnTo>
                <a:lnTo>
                  <a:pt x="367" y="1451"/>
                </a:lnTo>
                <a:lnTo>
                  <a:pt x="367" y="1451"/>
                </a:lnTo>
                <a:lnTo>
                  <a:pt x="397" y="1449"/>
                </a:lnTo>
                <a:lnTo>
                  <a:pt x="397" y="1449"/>
                </a:lnTo>
                <a:lnTo>
                  <a:pt x="365" y="1452"/>
                </a:lnTo>
                <a:lnTo>
                  <a:pt x="365" y="1452"/>
                </a:lnTo>
                <a:lnTo>
                  <a:pt x="382" y="1452"/>
                </a:lnTo>
                <a:lnTo>
                  <a:pt x="380" y="1452"/>
                </a:lnTo>
                <a:lnTo>
                  <a:pt x="386" y="1452"/>
                </a:lnTo>
                <a:lnTo>
                  <a:pt x="386" y="1452"/>
                </a:lnTo>
                <a:lnTo>
                  <a:pt x="385" y="1452"/>
                </a:lnTo>
                <a:lnTo>
                  <a:pt x="386" y="1452"/>
                </a:lnTo>
                <a:lnTo>
                  <a:pt x="389" y="1451"/>
                </a:lnTo>
                <a:lnTo>
                  <a:pt x="403" y="1451"/>
                </a:lnTo>
                <a:lnTo>
                  <a:pt x="438" y="1448"/>
                </a:lnTo>
                <a:lnTo>
                  <a:pt x="438" y="1448"/>
                </a:lnTo>
                <a:lnTo>
                  <a:pt x="431" y="1449"/>
                </a:lnTo>
                <a:lnTo>
                  <a:pt x="419" y="1449"/>
                </a:lnTo>
                <a:lnTo>
                  <a:pt x="419" y="1449"/>
                </a:lnTo>
                <a:lnTo>
                  <a:pt x="445" y="1449"/>
                </a:lnTo>
                <a:lnTo>
                  <a:pt x="468" y="1447"/>
                </a:lnTo>
                <a:lnTo>
                  <a:pt x="525" y="1442"/>
                </a:lnTo>
                <a:lnTo>
                  <a:pt x="525" y="1442"/>
                </a:lnTo>
                <a:lnTo>
                  <a:pt x="516" y="1444"/>
                </a:lnTo>
                <a:lnTo>
                  <a:pt x="516" y="1444"/>
                </a:lnTo>
                <a:lnTo>
                  <a:pt x="546" y="1442"/>
                </a:lnTo>
                <a:lnTo>
                  <a:pt x="570" y="1440"/>
                </a:lnTo>
                <a:lnTo>
                  <a:pt x="570" y="1440"/>
                </a:lnTo>
                <a:lnTo>
                  <a:pt x="581" y="1440"/>
                </a:lnTo>
                <a:lnTo>
                  <a:pt x="585" y="1440"/>
                </a:lnTo>
                <a:lnTo>
                  <a:pt x="609" y="1438"/>
                </a:lnTo>
                <a:lnTo>
                  <a:pt x="609" y="1438"/>
                </a:lnTo>
                <a:lnTo>
                  <a:pt x="608" y="1438"/>
                </a:lnTo>
                <a:lnTo>
                  <a:pt x="610" y="1438"/>
                </a:lnTo>
                <a:lnTo>
                  <a:pt x="624" y="1437"/>
                </a:lnTo>
                <a:lnTo>
                  <a:pt x="641" y="1436"/>
                </a:lnTo>
                <a:lnTo>
                  <a:pt x="649" y="1434"/>
                </a:lnTo>
                <a:lnTo>
                  <a:pt x="676" y="1434"/>
                </a:lnTo>
                <a:lnTo>
                  <a:pt x="676" y="1434"/>
                </a:lnTo>
                <a:lnTo>
                  <a:pt x="686" y="1433"/>
                </a:lnTo>
                <a:lnTo>
                  <a:pt x="687" y="1431"/>
                </a:lnTo>
                <a:lnTo>
                  <a:pt x="693" y="1430"/>
                </a:lnTo>
                <a:lnTo>
                  <a:pt x="715" y="1427"/>
                </a:lnTo>
                <a:lnTo>
                  <a:pt x="715" y="1427"/>
                </a:lnTo>
                <a:lnTo>
                  <a:pt x="732" y="1427"/>
                </a:lnTo>
                <a:lnTo>
                  <a:pt x="733" y="1427"/>
                </a:lnTo>
                <a:lnTo>
                  <a:pt x="732" y="1429"/>
                </a:lnTo>
                <a:lnTo>
                  <a:pt x="727" y="1430"/>
                </a:lnTo>
                <a:lnTo>
                  <a:pt x="736" y="1430"/>
                </a:lnTo>
                <a:lnTo>
                  <a:pt x="746" y="1429"/>
                </a:lnTo>
                <a:lnTo>
                  <a:pt x="765" y="1427"/>
                </a:lnTo>
                <a:lnTo>
                  <a:pt x="762" y="1427"/>
                </a:lnTo>
                <a:lnTo>
                  <a:pt x="762" y="1427"/>
                </a:lnTo>
                <a:lnTo>
                  <a:pt x="797" y="1426"/>
                </a:lnTo>
                <a:lnTo>
                  <a:pt x="797" y="1426"/>
                </a:lnTo>
                <a:lnTo>
                  <a:pt x="780" y="1427"/>
                </a:lnTo>
                <a:lnTo>
                  <a:pt x="780" y="1427"/>
                </a:lnTo>
                <a:lnTo>
                  <a:pt x="831" y="1424"/>
                </a:lnTo>
                <a:lnTo>
                  <a:pt x="858" y="1422"/>
                </a:lnTo>
                <a:lnTo>
                  <a:pt x="881" y="1419"/>
                </a:lnTo>
                <a:lnTo>
                  <a:pt x="881" y="1419"/>
                </a:lnTo>
                <a:lnTo>
                  <a:pt x="903" y="1417"/>
                </a:lnTo>
                <a:lnTo>
                  <a:pt x="914" y="1417"/>
                </a:lnTo>
                <a:lnTo>
                  <a:pt x="914" y="1417"/>
                </a:lnTo>
                <a:lnTo>
                  <a:pt x="946" y="1415"/>
                </a:lnTo>
                <a:lnTo>
                  <a:pt x="984" y="1412"/>
                </a:lnTo>
                <a:lnTo>
                  <a:pt x="984" y="1412"/>
                </a:lnTo>
                <a:lnTo>
                  <a:pt x="991" y="1412"/>
                </a:lnTo>
                <a:lnTo>
                  <a:pt x="1009" y="1410"/>
                </a:lnTo>
                <a:lnTo>
                  <a:pt x="1009" y="1410"/>
                </a:lnTo>
                <a:lnTo>
                  <a:pt x="1001" y="1410"/>
                </a:lnTo>
                <a:lnTo>
                  <a:pt x="1013" y="1409"/>
                </a:lnTo>
                <a:lnTo>
                  <a:pt x="1013" y="1409"/>
                </a:lnTo>
                <a:lnTo>
                  <a:pt x="1047" y="1406"/>
                </a:lnTo>
                <a:lnTo>
                  <a:pt x="1075" y="1405"/>
                </a:lnTo>
                <a:lnTo>
                  <a:pt x="1075" y="1405"/>
                </a:lnTo>
                <a:lnTo>
                  <a:pt x="1090" y="1402"/>
                </a:lnTo>
                <a:lnTo>
                  <a:pt x="1091" y="1402"/>
                </a:lnTo>
                <a:lnTo>
                  <a:pt x="1093" y="1401"/>
                </a:lnTo>
                <a:lnTo>
                  <a:pt x="1093" y="1401"/>
                </a:lnTo>
                <a:lnTo>
                  <a:pt x="1127" y="1399"/>
                </a:lnTo>
                <a:lnTo>
                  <a:pt x="1141" y="1398"/>
                </a:lnTo>
                <a:lnTo>
                  <a:pt x="1146" y="1398"/>
                </a:lnTo>
                <a:lnTo>
                  <a:pt x="1144" y="1398"/>
                </a:lnTo>
                <a:lnTo>
                  <a:pt x="1144" y="1398"/>
                </a:lnTo>
                <a:lnTo>
                  <a:pt x="1121" y="1401"/>
                </a:lnTo>
                <a:lnTo>
                  <a:pt x="1112" y="1401"/>
                </a:lnTo>
                <a:lnTo>
                  <a:pt x="1109" y="1402"/>
                </a:lnTo>
                <a:lnTo>
                  <a:pt x="1111" y="1402"/>
                </a:lnTo>
                <a:lnTo>
                  <a:pt x="1111" y="1402"/>
                </a:lnTo>
                <a:lnTo>
                  <a:pt x="1126" y="1401"/>
                </a:lnTo>
                <a:lnTo>
                  <a:pt x="1140" y="1399"/>
                </a:lnTo>
                <a:lnTo>
                  <a:pt x="1140" y="1399"/>
                </a:lnTo>
                <a:lnTo>
                  <a:pt x="1146" y="1399"/>
                </a:lnTo>
                <a:lnTo>
                  <a:pt x="1148" y="1399"/>
                </a:lnTo>
                <a:lnTo>
                  <a:pt x="1148" y="1399"/>
                </a:lnTo>
                <a:lnTo>
                  <a:pt x="1192" y="1397"/>
                </a:lnTo>
                <a:lnTo>
                  <a:pt x="1192" y="1397"/>
                </a:lnTo>
                <a:lnTo>
                  <a:pt x="1183" y="1397"/>
                </a:lnTo>
                <a:lnTo>
                  <a:pt x="1189" y="1395"/>
                </a:lnTo>
                <a:lnTo>
                  <a:pt x="1196" y="1394"/>
                </a:lnTo>
                <a:lnTo>
                  <a:pt x="1193" y="1394"/>
                </a:lnTo>
                <a:lnTo>
                  <a:pt x="1169" y="1398"/>
                </a:lnTo>
                <a:lnTo>
                  <a:pt x="1169" y="1398"/>
                </a:lnTo>
                <a:lnTo>
                  <a:pt x="1154" y="1398"/>
                </a:lnTo>
                <a:lnTo>
                  <a:pt x="1155" y="1398"/>
                </a:lnTo>
                <a:lnTo>
                  <a:pt x="1151" y="1398"/>
                </a:lnTo>
                <a:lnTo>
                  <a:pt x="1151" y="1398"/>
                </a:lnTo>
                <a:lnTo>
                  <a:pt x="1197" y="1392"/>
                </a:lnTo>
                <a:lnTo>
                  <a:pt x="1240" y="1388"/>
                </a:lnTo>
                <a:lnTo>
                  <a:pt x="1271" y="1385"/>
                </a:lnTo>
                <a:lnTo>
                  <a:pt x="1271" y="1385"/>
                </a:lnTo>
                <a:lnTo>
                  <a:pt x="1260" y="1387"/>
                </a:lnTo>
                <a:lnTo>
                  <a:pt x="1267" y="1388"/>
                </a:lnTo>
                <a:lnTo>
                  <a:pt x="1267" y="1388"/>
                </a:lnTo>
                <a:lnTo>
                  <a:pt x="1304" y="1384"/>
                </a:lnTo>
                <a:lnTo>
                  <a:pt x="1338" y="1383"/>
                </a:lnTo>
                <a:lnTo>
                  <a:pt x="1338" y="1383"/>
                </a:lnTo>
                <a:lnTo>
                  <a:pt x="1327" y="1383"/>
                </a:lnTo>
                <a:lnTo>
                  <a:pt x="1335" y="1381"/>
                </a:lnTo>
                <a:lnTo>
                  <a:pt x="1335" y="1381"/>
                </a:lnTo>
                <a:lnTo>
                  <a:pt x="1364" y="1378"/>
                </a:lnTo>
                <a:lnTo>
                  <a:pt x="1366" y="1378"/>
                </a:lnTo>
                <a:lnTo>
                  <a:pt x="1374" y="1378"/>
                </a:lnTo>
                <a:lnTo>
                  <a:pt x="1374" y="1378"/>
                </a:lnTo>
                <a:lnTo>
                  <a:pt x="1466" y="1371"/>
                </a:lnTo>
                <a:lnTo>
                  <a:pt x="1548" y="1364"/>
                </a:lnTo>
                <a:lnTo>
                  <a:pt x="1520" y="1366"/>
                </a:lnTo>
                <a:lnTo>
                  <a:pt x="1512" y="1367"/>
                </a:lnTo>
                <a:lnTo>
                  <a:pt x="1512" y="1367"/>
                </a:lnTo>
                <a:lnTo>
                  <a:pt x="1504" y="1367"/>
                </a:lnTo>
                <a:lnTo>
                  <a:pt x="1507" y="1366"/>
                </a:lnTo>
                <a:lnTo>
                  <a:pt x="1527" y="1363"/>
                </a:lnTo>
                <a:lnTo>
                  <a:pt x="1527" y="1363"/>
                </a:lnTo>
                <a:lnTo>
                  <a:pt x="1546" y="1362"/>
                </a:lnTo>
                <a:lnTo>
                  <a:pt x="1554" y="1360"/>
                </a:lnTo>
                <a:lnTo>
                  <a:pt x="1551" y="1362"/>
                </a:lnTo>
                <a:lnTo>
                  <a:pt x="1586" y="1358"/>
                </a:lnTo>
                <a:lnTo>
                  <a:pt x="1586" y="1358"/>
                </a:lnTo>
                <a:lnTo>
                  <a:pt x="1572" y="1359"/>
                </a:lnTo>
                <a:lnTo>
                  <a:pt x="1569" y="1359"/>
                </a:lnTo>
                <a:lnTo>
                  <a:pt x="1575" y="1358"/>
                </a:lnTo>
                <a:lnTo>
                  <a:pt x="1575" y="1358"/>
                </a:lnTo>
                <a:lnTo>
                  <a:pt x="1600" y="1356"/>
                </a:lnTo>
                <a:lnTo>
                  <a:pt x="1605" y="1356"/>
                </a:lnTo>
                <a:lnTo>
                  <a:pt x="1599" y="1358"/>
                </a:lnTo>
                <a:lnTo>
                  <a:pt x="1599" y="1358"/>
                </a:lnTo>
                <a:lnTo>
                  <a:pt x="1626" y="1355"/>
                </a:lnTo>
                <a:lnTo>
                  <a:pt x="1636" y="1352"/>
                </a:lnTo>
                <a:lnTo>
                  <a:pt x="1636" y="1352"/>
                </a:lnTo>
                <a:lnTo>
                  <a:pt x="1647" y="1352"/>
                </a:lnTo>
                <a:lnTo>
                  <a:pt x="1645" y="1352"/>
                </a:lnTo>
                <a:lnTo>
                  <a:pt x="1621" y="1356"/>
                </a:lnTo>
                <a:lnTo>
                  <a:pt x="1621" y="1356"/>
                </a:lnTo>
                <a:lnTo>
                  <a:pt x="1638" y="1355"/>
                </a:lnTo>
                <a:lnTo>
                  <a:pt x="1633" y="1356"/>
                </a:lnTo>
                <a:lnTo>
                  <a:pt x="1665" y="1353"/>
                </a:lnTo>
                <a:lnTo>
                  <a:pt x="1665" y="1353"/>
                </a:lnTo>
                <a:lnTo>
                  <a:pt x="1651" y="1356"/>
                </a:lnTo>
                <a:lnTo>
                  <a:pt x="1651" y="1356"/>
                </a:lnTo>
                <a:lnTo>
                  <a:pt x="1679" y="1353"/>
                </a:lnTo>
                <a:lnTo>
                  <a:pt x="1706" y="1351"/>
                </a:lnTo>
                <a:lnTo>
                  <a:pt x="1714" y="1349"/>
                </a:lnTo>
                <a:lnTo>
                  <a:pt x="1714" y="1349"/>
                </a:lnTo>
                <a:lnTo>
                  <a:pt x="1820" y="1341"/>
                </a:lnTo>
                <a:lnTo>
                  <a:pt x="1812" y="1341"/>
                </a:lnTo>
                <a:lnTo>
                  <a:pt x="1812" y="1341"/>
                </a:lnTo>
                <a:lnTo>
                  <a:pt x="1834" y="1338"/>
                </a:lnTo>
                <a:lnTo>
                  <a:pt x="1849" y="1337"/>
                </a:lnTo>
                <a:lnTo>
                  <a:pt x="1866" y="1335"/>
                </a:lnTo>
                <a:lnTo>
                  <a:pt x="1897" y="1332"/>
                </a:lnTo>
                <a:lnTo>
                  <a:pt x="1897" y="1332"/>
                </a:lnTo>
                <a:lnTo>
                  <a:pt x="1934" y="1328"/>
                </a:lnTo>
                <a:lnTo>
                  <a:pt x="1943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44" y="1327"/>
                </a:lnTo>
                <a:lnTo>
                  <a:pt x="1962" y="1325"/>
                </a:lnTo>
                <a:lnTo>
                  <a:pt x="1975" y="1324"/>
                </a:lnTo>
                <a:lnTo>
                  <a:pt x="1975" y="1324"/>
                </a:lnTo>
                <a:lnTo>
                  <a:pt x="2004" y="1321"/>
                </a:lnTo>
                <a:lnTo>
                  <a:pt x="2040" y="1317"/>
                </a:lnTo>
                <a:lnTo>
                  <a:pt x="2000" y="1321"/>
                </a:lnTo>
                <a:lnTo>
                  <a:pt x="2000" y="1321"/>
                </a:lnTo>
                <a:lnTo>
                  <a:pt x="2028" y="1320"/>
                </a:lnTo>
                <a:lnTo>
                  <a:pt x="2071" y="1316"/>
                </a:lnTo>
                <a:lnTo>
                  <a:pt x="2169" y="1303"/>
                </a:lnTo>
                <a:lnTo>
                  <a:pt x="2169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62" y="1303"/>
                </a:lnTo>
                <a:lnTo>
                  <a:pt x="2185" y="1299"/>
                </a:lnTo>
                <a:lnTo>
                  <a:pt x="2185" y="1299"/>
                </a:lnTo>
                <a:lnTo>
                  <a:pt x="2205" y="1298"/>
                </a:lnTo>
                <a:lnTo>
                  <a:pt x="2240" y="1295"/>
                </a:lnTo>
                <a:lnTo>
                  <a:pt x="2240" y="1295"/>
                </a:lnTo>
                <a:lnTo>
                  <a:pt x="2238" y="1295"/>
                </a:lnTo>
                <a:lnTo>
                  <a:pt x="2241" y="1295"/>
                </a:lnTo>
                <a:lnTo>
                  <a:pt x="2251" y="1295"/>
                </a:lnTo>
                <a:lnTo>
                  <a:pt x="2256" y="1295"/>
                </a:lnTo>
                <a:lnTo>
                  <a:pt x="2241" y="1296"/>
                </a:lnTo>
                <a:lnTo>
                  <a:pt x="2241" y="1296"/>
                </a:lnTo>
                <a:lnTo>
                  <a:pt x="2227" y="1298"/>
                </a:lnTo>
                <a:lnTo>
                  <a:pt x="2210" y="1299"/>
                </a:lnTo>
                <a:lnTo>
                  <a:pt x="2210" y="1299"/>
                </a:lnTo>
                <a:lnTo>
                  <a:pt x="2269" y="1295"/>
                </a:lnTo>
                <a:lnTo>
                  <a:pt x="2269" y="1295"/>
                </a:lnTo>
                <a:lnTo>
                  <a:pt x="2241" y="1299"/>
                </a:lnTo>
                <a:lnTo>
                  <a:pt x="2241" y="1299"/>
                </a:lnTo>
                <a:lnTo>
                  <a:pt x="2245" y="1298"/>
                </a:lnTo>
                <a:lnTo>
                  <a:pt x="2242" y="129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8" name="Freeform 80"/>
          <p:cNvSpPr>
            <a:spLocks/>
          </p:cNvSpPr>
          <p:nvPr userDrawn="1"/>
        </p:nvSpPr>
        <p:spPr bwMode="auto">
          <a:xfrm>
            <a:off x="-6670675" y="4348163"/>
            <a:ext cx="13284200" cy="1938338"/>
          </a:xfrm>
          <a:custGeom>
            <a:avLst/>
            <a:gdLst>
              <a:gd name="T0" fmla="*/ 3398 w 8368"/>
              <a:gd name="T1" fmla="*/ 972 h 1221"/>
              <a:gd name="T2" fmla="*/ 3597 w 8368"/>
              <a:gd name="T3" fmla="*/ 954 h 1221"/>
              <a:gd name="T4" fmla="*/ 3673 w 8368"/>
              <a:gd name="T5" fmla="*/ 942 h 1221"/>
              <a:gd name="T6" fmla="*/ 3777 w 8368"/>
              <a:gd name="T7" fmla="*/ 934 h 1221"/>
              <a:gd name="T8" fmla="*/ 4168 w 8368"/>
              <a:gd name="T9" fmla="*/ 894 h 1221"/>
              <a:gd name="T10" fmla="*/ 4427 w 8368"/>
              <a:gd name="T11" fmla="*/ 864 h 1221"/>
              <a:gd name="T12" fmla="*/ 4571 w 8368"/>
              <a:gd name="T13" fmla="*/ 848 h 1221"/>
              <a:gd name="T14" fmla="*/ 4753 w 8368"/>
              <a:gd name="T15" fmla="*/ 826 h 1221"/>
              <a:gd name="T16" fmla="*/ 4890 w 8368"/>
              <a:gd name="T17" fmla="*/ 816 h 1221"/>
              <a:gd name="T18" fmla="*/ 5064 w 8368"/>
              <a:gd name="T19" fmla="*/ 796 h 1221"/>
              <a:gd name="T20" fmla="*/ 5403 w 8368"/>
              <a:gd name="T21" fmla="*/ 760 h 1221"/>
              <a:gd name="T22" fmla="*/ 5587 w 8368"/>
              <a:gd name="T23" fmla="*/ 736 h 1221"/>
              <a:gd name="T24" fmla="*/ 5788 w 8368"/>
              <a:gd name="T25" fmla="*/ 708 h 1221"/>
              <a:gd name="T26" fmla="*/ 5954 w 8368"/>
              <a:gd name="T27" fmla="*/ 688 h 1221"/>
              <a:gd name="T28" fmla="*/ 6153 w 8368"/>
              <a:gd name="T29" fmla="*/ 651 h 1221"/>
              <a:gd name="T30" fmla="*/ 6505 w 8368"/>
              <a:gd name="T31" fmla="*/ 583 h 1221"/>
              <a:gd name="T32" fmla="*/ 6750 w 8368"/>
              <a:gd name="T33" fmla="*/ 529 h 1221"/>
              <a:gd name="T34" fmla="*/ 6862 w 8368"/>
              <a:gd name="T35" fmla="*/ 497 h 1221"/>
              <a:gd name="T36" fmla="*/ 7031 w 8368"/>
              <a:gd name="T37" fmla="*/ 445 h 1221"/>
              <a:gd name="T38" fmla="*/ 7211 w 8368"/>
              <a:gd name="T39" fmla="*/ 397 h 1221"/>
              <a:gd name="T40" fmla="*/ 7279 w 8368"/>
              <a:gd name="T41" fmla="*/ 371 h 1221"/>
              <a:gd name="T42" fmla="*/ 7572 w 8368"/>
              <a:gd name="T43" fmla="*/ 281 h 1221"/>
              <a:gd name="T44" fmla="*/ 7799 w 8368"/>
              <a:gd name="T45" fmla="*/ 204 h 1221"/>
              <a:gd name="T46" fmla="*/ 8003 w 8368"/>
              <a:gd name="T47" fmla="*/ 132 h 1221"/>
              <a:gd name="T48" fmla="*/ 8109 w 8368"/>
              <a:gd name="T49" fmla="*/ 90 h 1221"/>
              <a:gd name="T50" fmla="*/ 7947 w 8368"/>
              <a:gd name="T51" fmla="*/ 140 h 1221"/>
              <a:gd name="T52" fmla="*/ 8240 w 8368"/>
              <a:gd name="T53" fmla="*/ 48 h 1221"/>
              <a:gd name="T54" fmla="*/ 8306 w 8368"/>
              <a:gd name="T55" fmla="*/ 16 h 1221"/>
              <a:gd name="T56" fmla="*/ 8254 w 8368"/>
              <a:gd name="T57" fmla="*/ 32 h 1221"/>
              <a:gd name="T58" fmla="*/ 8202 w 8368"/>
              <a:gd name="T59" fmla="*/ 44 h 1221"/>
              <a:gd name="T60" fmla="*/ 7941 w 8368"/>
              <a:gd name="T61" fmla="*/ 138 h 1221"/>
              <a:gd name="T62" fmla="*/ 7829 w 8368"/>
              <a:gd name="T63" fmla="*/ 178 h 1221"/>
              <a:gd name="T64" fmla="*/ 7462 w 8368"/>
              <a:gd name="T65" fmla="*/ 303 h 1221"/>
              <a:gd name="T66" fmla="*/ 7500 w 8368"/>
              <a:gd name="T67" fmla="*/ 287 h 1221"/>
              <a:gd name="T68" fmla="*/ 7313 w 8368"/>
              <a:gd name="T69" fmla="*/ 347 h 1221"/>
              <a:gd name="T70" fmla="*/ 7093 w 8368"/>
              <a:gd name="T71" fmla="*/ 409 h 1221"/>
              <a:gd name="T72" fmla="*/ 6886 w 8368"/>
              <a:gd name="T73" fmla="*/ 471 h 1221"/>
              <a:gd name="T74" fmla="*/ 6686 w 8368"/>
              <a:gd name="T75" fmla="*/ 519 h 1221"/>
              <a:gd name="T76" fmla="*/ 6363 w 8368"/>
              <a:gd name="T77" fmla="*/ 593 h 1221"/>
              <a:gd name="T78" fmla="*/ 5934 w 8368"/>
              <a:gd name="T79" fmla="*/ 663 h 1221"/>
              <a:gd name="T80" fmla="*/ 5890 w 8368"/>
              <a:gd name="T81" fmla="*/ 677 h 1221"/>
              <a:gd name="T82" fmla="*/ 5734 w 8368"/>
              <a:gd name="T83" fmla="*/ 700 h 1221"/>
              <a:gd name="T84" fmla="*/ 5533 w 8368"/>
              <a:gd name="T85" fmla="*/ 718 h 1221"/>
              <a:gd name="T86" fmla="*/ 4753 w 8368"/>
              <a:gd name="T87" fmla="*/ 804 h 1221"/>
              <a:gd name="T88" fmla="*/ 3877 w 8368"/>
              <a:gd name="T89" fmla="*/ 898 h 1221"/>
              <a:gd name="T90" fmla="*/ 3621 w 8368"/>
              <a:gd name="T91" fmla="*/ 922 h 1221"/>
              <a:gd name="T92" fmla="*/ 3017 w 8368"/>
              <a:gd name="T93" fmla="*/ 984 h 1221"/>
              <a:gd name="T94" fmla="*/ 2644 w 8368"/>
              <a:gd name="T95" fmla="*/ 1018 h 1221"/>
              <a:gd name="T96" fmla="*/ 2005 w 8368"/>
              <a:gd name="T97" fmla="*/ 1078 h 1221"/>
              <a:gd name="T98" fmla="*/ 1253 w 8368"/>
              <a:gd name="T99" fmla="*/ 1141 h 1221"/>
              <a:gd name="T100" fmla="*/ 421 w 8368"/>
              <a:gd name="T101" fmla="*/ 1201 h 1221"/>
              <a:gd name="T102" fmla="*/ 4 w 8368"/>
              <a:gd name="T103" fmla="*/ 1207 h 1221"/>
              <a:gd name="T104" fmla="*/ 281 w 8368"/>
              <a:gd name="T105" fmla="*/ 1217 h 1221"/>
              <a:gd name="T106" fmla="*/ 547 w 8368"/>
              <a:gd name="T107" fmla="*/ 1205 h 1221"/>
              <a:gd name="T108" fmla="*/ 788 w 8368"/>
              <a:gd name="T109" fmla="*/ 1195 h 1221"/>
              <a:gd name="T110" fmla="*/ 1055 w 8368"/>
              <a:gd name="T111" fmla="*/ 1177 h 1221"/>
              <a:gd name="T112" fmla="*/ 1486 w 8368"/>
              <a:gd name="T113" fmla="*/ 1147 h 1221"/>
              <a:gd name="T114" fmla="*/ 1644 w 8368"/>
              <a:gd name="T115" fmla="*/ 1135 h 1221"/>
              <a:gd name="T116" fmla="*/ 1901 w 8368"/>
              <a:gd name="T117" fmla="*/ 1112 h 1221"/>
              <a:gd name="T118" fmla="*/ 2247 w 8368"/>
              <a:gd name="T119" fmla="*/ 1078 h 1221"/>
              <a:gd name="T120" fmla="*/ 2624 w 8368"/>
              <a:gd name="T121" fmla="*/ 1048 h 1221"/>
              <a:gd name="T122" fmla="*/ 3095 w 8368"/>
              <a:gd name="T123" fmla="*/ 996 h 1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68" h="1221">
                <a:moveTo>
                  <a:pt x="3101" y="1000"/>
                </a:moveTo>
                <a:lnTo>
                  <a:pt x="3101" y="1000"/>
                </a:lnTo>
                <a:lnTo>
                  <a:pt x="3075" y="1002"/>
                </a:lnTo>
                <a:lnTo>
                  <a:pt x="3083" y="1002"/>
                </a:lnTo>
                <a:lnTo>
                  <a:pt x="3099" y="1002"/>
                </a:lnTo>
                <a:lnTo>
                  <a:pt x="3105" y="1002"/>
                </a:lnTo>
                <a:lnTo>
                  <a:pt x="3105" y="1002"/>
                </a:lnTo>
                <a:lnTo>
                  <a:pt x="3135" y="1000"/>
                </a:lnTo>
                <a:lnTo>
                  <a:pt x="3145" y="998"/>
                </a:lnTo>
                <a:lnTo>
                  <a:pt x="3141" y="998"/>
                </a:lnTo>
                <a:lnTo>
                  <a:pt x="3141" y="998"/>
                </a:lnTo>
                <a:lnTo>
                  <a:pt x="3172" y="996"/>
                </a:lnTo>
                <a:lnTo>
                  <a:pt x="3210" y="992"/>
                </a:lnTo>
                <a:lnTo>
                  <a:pt x="3248" y="988"/>
                </a:lnTo>
                <a:lnTo>
                  <a:pt x="3280" y="986"/>
                </a:lnTo>
                <a:lnTo>
                  <a:pt x="3280" y="986"/>
                </a:lnTo>
                <a:lnTo>
                  <a:pt x="3274" y="986"/>
                </a:lnTo>
                <a:lnTo>
                  <a:pt x="3284" y="984"/>
                </a:lnTo>
                <a:lnTo>
                  <a:pt x="3284" y="984"/>
                </a:lnTo>
                <a:lnTo>
                  <a:pt x="3318" y="980"/>
                </a:lnTo>
                <a:lnTo>
                  <a:pt x="3334" y="980"/>
                </a:lnTo>
                <a:lnTo>
                  <a:pt x="3334" y="980"/>
                </a:lnTo>
                <a:lnTo>
                  <a:pt x="3398" y="972"/>
                </a:lnTo>
                <a:lnTo>
                  <a:pt x="3398" y="972"/>
                </a:lnTo>
                <a:lnTo>
                  <a:pt x="3404" y="972"/>
                </a:lnTo>
                <a:lnTo>
                  <a:pt x="3398" y="970"/>
                </a:lnTo>
                <a:lnTo>
                  <a:pt x="3392" y="970"/>
                </a:lnTo>
                <a:lnTo>
                  <a:pt x="3404" y="968"/>
                </a:lnTo>
                <a:lnTo>
                  <a:pt x="3404" y="968"/>
                </a:lnTo>
                <a:lnTo>
                  <a:pt x="3444" y="964"/>
                </a:lnTo>
                <a:lnTo>
                  <a:pt x="3488" y="960"/>
                </a:lnTo>
                <a:lnTo>
                  <a:pt x="3488" y="960"/>
                </a:lnTo>
                <a:lnTo>
                  <a:pt x="3496" y="958"/>
                </a:lnTo>
                <a:lnTo>
                  <a:pt x="3482" y="960"/>
                </a:lnTo>
                <a:lnTo>
                  <a:pt x="3442" y="966"/>
                </a:lnTo>
                <a:lnTo>
                  <a:pt x="3536" y="956"/>
                </a:lnTo>
                <a:lnTo>
                  <a:pt x="3536" y="956"/>
                </a:lnTo>
                <a:lnTo>
                  <a:pt x="3544" y="954"/>
                </a:lnTo>
                <a:lnTo>
                  <a:pt x="3536" y="956"/>
                </a:lnTo>
                <a:lnTo>
                  <a:pt x="3496" y="960"/>
                </a:lnTo>
                <a:lnTo>
                  <a:pt x="3496" y="960"/>
                </a:lnTo>
                <a:lnTo>
                  <a:pt x="3554" y="956"/>
                </a:lnTo>
                <a:lnTo>
                  <a:pt x="3593" y="950"/>
                </a:lnTo>
                <a:lnTo>
                  <a:pt x="3593" y="950"/>
                </a:lnTo>
                <a:lnTo>
                  <a:pt x="3651" y="944"/>
                </a:lnTo>
                <a:lnTo>
                  <a:pt x="3651" y="944"/>
                </a:lnTo>
                <a:lnTo>
                  <a:pt x="3629" y="948"/>
                </a:lnTo>
                <a:lnTo>
                  <a:pt x="3597" y="954"/>
                </a:lnTo>
                <a:lnTo>
                  <a:pt x="3597" y="954"/>
                </a:lnTo>
                <a:lnTo>
                  <a:pt x="3575" y="956"/>
                </a:lnTo>
                <a:lnTo>
                  <a:pt x="3579" y="954"/>
                </a:lnTo>
                <a:lnTo>
                  <a:pt x="3585" y="952"/>
                </a:lnTo>
                <a:lnTo>
                  <a:pt x="3569" y="954"/>
                </a:lnTo>
                <a:lnTo>
                  <a:pt x="3564" y="956"/>
                </a:lnTo>
                <a:lnTo>
                  <a:pt x="3564" y="956"/>
                </a:lnTo>
                <a:lnTo>
                  <a:pt x="3534" y="958"/>
                </a:lnTo>
                <a:lnTo>
                  <a:pt x="3504" y="962"/>
                </a:lnTo>
                <a:lnTo>
                  <a:pt x="3504" y="962"/>
                </a:lnTo>
                <a:lnTo>
                  <a:pt x="3500" y="962"/>
                </a:lnTo>
                <a:lnTo>
                  <a:pt x="3502" y="962"/>
                </a:lnTo>
                <a:lnTo>
                  <a:pt x="3514" y="960"/>
                </a:lnTo>
                <a:lnTo>
                  <a:pt x="3514" y="960"/>
                </a:lnTo>
                <a:lnTo>
                  <a:pt x="3460" y="966"/>
                </a:lnTo>
                <a:lnTo>
                  <a:pt x="3412" y="972"/>
                </a:lnTo>
                <a:lnTo>
                  <a:pt x="3412" y="972"/>
                </a:lnTo>
                <a:lnTo>
                  <a:pt x="3504" y="964"/>
                </a:lnTo>
                <a:lnTo>
                  <a:pt x="3573" y="956"/>
                </a:lnTo>
                <a:lnTo>
                  <a:pt x="3681" y="944"/>
                </a:lnTo>
                <a:lnTo>
                  <a:pt x="3681" y="944"/>
                </a:lnTo>
                <a:lnTo>
                  <a:pt x="3665" y="944"/>
                </a:lnTo>
                <a:lnTo>
                  <a:pt x="3661" y="944"/>
                </a:lnTo>
                <a:lnTo>
                  <a:pt x="3673" y="942"/>
                </a:lnTo>
                <a:lnTo>
                  <a:pt x="3673" y="942"/>
                </a:lnTo>
                <a:lnTo>
                  <a:pt x="3705" y="940"/>
                </a:lnTo>
                <a:lnTo>
                  <a:pt x="3759" y="936"/>
                </a:lnTo>
                <a:lnTo>
                  <a:pt x="3759" y="936"/>
                </a:lnTo>
                <a:lnTo>
                  <a:pt x="3759" y="936"/>
                </a:lnTo>
                <a:lnTo>
                  <a:pt x="3763" y="934"/>
                </a:lnTo>
                <a:lnTo>
                  <a:pt x="3785" y="932"/>
                </a:lnTo>
                <a:lnTo>
                  <a:pt x="3805" y="930"/>
                </a:lnTo>
                <a:lnTo>
                  <a:pt x="3809" y="928"/>
                </a:lnTo>
                <a:lnTo>
                  <a:pt x="3805" y="928"/>
                </a:lnTo>
                <a:lnTo>
                  <a:pt x="3805" y="928"/>
                </a:lnTo>
                <a:lnTo>
                  <a:pt x="3783" y="930"/>
                </a:lnTo>
                <a:lnTo>
                  <a:pt x="3773" y="930"/>
                </a:lnTo>
                <a:lnTo>
                  <a:pt x="3773" y="930"/>
                </a:lnTo>
                <a:lnTo>
                  <a:pt x="3791" y="928"/>
                </a:lnTo>
                <a:lnTo>
                  <a:pt x="3793" y="928"/>
                </a:lnTo>
                <a:lnTo>
                  <a:pt x="3793" y="928"/>
                </a:lnTo>
                <a:lnTo>
                  <a:pt x="3801" y="926"/>
                </a:lnTo>
                <a:lnTo>
                  <a:pt x="3801" y="926"/>
                </a:lnTo>
                <a:lnTo>
                  <a:pt x="3835" y="924"/>
                </a:lnTo>
                <a:lnTo>
                  <a:pt x="3871" y="922"/>
                </a:lnTo>
                <a:lnTo>
                  <a:pt x="3871" y="922"/>
                </a:lnTo>
                <a:lnTo>
                  <a:pt x="3777" y="934"/>
                </a:lnTo>
                <a:lnTo>
                  <a:pt x="3777" y="934"/>
                </a:lnTo>
                <a:lnTo>
                  <a:pt x="3833" y="930"/>
                </a:lnTo>
                <a:lnTo>
                  <a:pt x="3833" y="930"/>
                </a:lnTo>
                <a:lnTo>
                  <a:pt x="3825" y="930"/>
                </a:lnTo>
                <a:lnTo>
                  <a:pt x="3831" y="928"/>
                </a:lnTo>
                <a:lnTo>
                  <a:pt x="3835" y="928"/>
                </a:lnTo>
                <a:lnTo>
                  <a:pt x="3831" y="928"/>
                </a:lnTo>
                <a:lnTo>
                  <a:pt x="3831" y="928"/>
                </a:lnTo>
                <a:lnTo>
                  <a:pt x="4028" y="904"/>
                </a:lnTo>
                <a:lnTo>
                  <a:pt x="4028" y="904"/>
                </a:lnTo>
                <a:lnTo>
                  <a:pt x="4004" y="908"/>
                </a:lnTo>
                <a:lnTo>
                  <a:pt x="3967" y="912"/>
                </a:lnTo>
                <a:lnTo>
                  <a:pt x="3935" y="918"/>
                </a:lnTo>
                <a:lnTo>
                  <a:pt x="3927" y="918"/>
                </a:lnTo>
                <a:lnTo>
                  <a:pt x="3931" y="920"/>
                </a:lnTo>
                <a:lnTo>
                  <a:pt x="3931" y="920"/>
                </a:lnTo>
                <a:lnTo>
                  <a:pt x="3963" y="914"/>
                </a:lnTo>
                <a:lnTo>
                  <a:pt x="3994" y="912"/>
                </a:lnTo>
                <a:lnTo>
                  <a:pt x="3994" y="912"/>
                </a:lnTo>
                <a:lnTo>
                  <a:pt x="4050" y="906"/>
                </a:lnTo>
                <a:lnTo>
                  <a:pt x="4122" y="898"/>
                </a:lnTo>
                <a:lnTo>
                  <a:pt x="4102" y="900"/>
                </a:lnTo>
                <a:lnTo>
                  <a:pt x="4102" y="900"/>
                </a:lnTo>
                <a:lnTo>
                  <a:pt x="4174" y="892"/>
                </a:lnTo>
                <a:lnTo>
                  <a:pt x="4168" y="894"/>
                </a:lnTo>
                <a:lnTo>
                  <a:pt x="4188" y="890"/>
                </a:lnTo>
                <a:lnTo>
                  <a:pt x="4188" y="890"/>
                </a:lnTo>
                <a:lnTo>
                  <a:pt x="4192" y="890"/>
                </a:lnTo>
                <a:lnTo>
                  <a:pt x="4192" y="890"/>
                </a:lnTo>
                <a:lnTo>
                  <a:pt x="4316" y="878"/>
                </a:lnTo>
                <a:lnTo>
                  <a:pt x="4316" y="878"/>
                </a:lnTo>
                <a:lnTo>
                  <a:pt x="4292" y="880"/>
                </a:lnTo>
                <a:lnTo>
                  <a:pt x="4252" y="884"/>
                </a:lnTo>
                <a:lnTo>
                  <a:pt x="4252" y="884"/>
                </a:lnTo>
                <a:lnTo>
                  <a:pt x="4230" y="886"/>
                </a:lnTo>
                <a:lnTo>
                  <a:pt x="4222" y="886"/>
                </a:lnTo>
                <a:lnTo>
                  <a:pt x="4226" y="884"/>
                </a:lnTo>
                <a:lnTo>
                  <a:pt x="4226" y="884"/>
                </a:lnTo>
                <a:lnTo>
                  <a:pt x="4378" y="868"/>
                </a:lnTo>
                <a:lnTo>
                  <a:pt x="4358" y="868"/>
                </a:lnTo>
                <a:lnTo>
                  <a:pt x="4358" y="868"/>
                </a:lnTo>
                <a:lnTo>
                  <a:pt x="4392" y="864"/>
                </a:lnTo>
                <a:lnTo>
                  <a:pt x="4435" y="860"/>
                </a:lnTo>
                <a:lnTo>
                  <a:pt x="4435" y="860"/>
                </a:lnTo>
                <a:lnTo>
                  <a:pt x="4451" y="860"/>
                </a:lnTo>
                <a:lnTo>
                  <a:pt x="4439" y="862"/>
                </a:lnTo>
                <a:lnTo>
                  <a:pt x="4423" y="864"/>
                </a:lnTo>
                <a:lnTo>
                  <a:pt x="4427" y="864"/>
                </a:lnTo>
                <a:lnTo>
                  <a:pt x="4427" y="864"/>
                </a:lnTo>
                <a:lnTo>
                  <a:pt x="4390" y="868"/>
                </a:lnTo>
                <a:lnTo>
                  <a:pt x="4364" y="872"/>
                </a:lnTo>
                <a:lnTo>
                  <a:pt x="4398" y="870"/>
                </a:lnTo>
                <a:lnTo>
                  <a:pt x="4398" y="870"/>
                </a:lnTo>
                <a:lnTo>
                  <a:pt x="4441" y="866"/>
                </a:lnTo>
                <a:lnTo>
                  <a:pt x="4477" y="862"/>
                </a:lnTo>
                <a:lnTo>
                  <a:pt x="4455" y="864"/>
                </a:lnTo>
                <a:lnTo>
                  <a:pt x="4455" y="864"/>
                </a:lnTo>
                <a:lnTo>
                  <a:pt x="4471" y="862"/>
                </a:lnTo>
                <a:lnTo>
                  <a:pt x="4489" y="860"/>
                </a:lnTo>
                <a:lnTo>
                  <a:pt x="4475" y="860"/>
                </a:lnTo>
                <a:lnTo>
                  <a:pt x="4475" y="860"/>
                </a:lnTo>
                <a:lnTo>
                  <a:pt x="4435" y="864"/>
                </a:lnTo>
                <a:lnTo>
                  <a:pt x="4400" y="868"/>
                </a:lnTo>
                <a:lnTo>
                  <a:pt x="4400" y="868"/>
                </a:lnTo>
                <a:lnTo>
                  <a:pt x="4451" y="860"/>
                </a:lnTo>
                <a:lnTo>
                  <a:pt x="4507" y="854"/>
                </a:lnTo>
                <a:lnTo>
                  <a:pt x="4507" y="854"/>
                </a:lnTo>
                <a:lnTo>
                  <a:pt x="4501" y="856"/>
                </a:lnTo>
                <a:lnTo>
                  <a:pt x="4489" y="856"/>
                </a:lnTo>
                <a:lnTo>
                  <a:pt x="4489" y="856"/>
                </a:lnTo>
                <a:lnTo>
                  <a:pt x="4525" y="852"/>
                </a:lnTo>
                <a:lnTo>
                  <a:pt x="4571" y="848"/>
                </a:lnTo>
                <a:lnTo>
                  <a:pt x="4571" y="848"/>
                </a:lnTo>
                <a:lnTo>
                  <a:pt x="4539" y="852"/>
                </a:lnTo>
                <a:lnTo>
                  <a:pt x="4533" y="854"/>
                </a:lnTo>
                <a:lnTo>
                  <a:pt x="4543" y="854"/>
                </a:lnTo>
                <a:lnTo>
                  <a:pt x="4563" y="850"/>
                </a:lnTo>
                <a:lnTo>
                  <a:pt x="4563" y="850"/>
                </a:lnTo>
                <a:lnTo>
                  <a:pt x="4579" y="848"/>
                </a:lnTo>
                <a:lnTo>
                  <a:pt x="4579" y="848"/>
                </a:lnTo>
                <a:lnTo>
                  <a:pt x="4589" y="848"/>
                </a:lnTo>
                <a:lnTo>
                  <a:pt x="4589" y="846"/>
                </a:lnTo>
                <a:lnTo>
                  <a:pt x="4611" y="844"/>
                </a:lnTo>
                <a:lnTo>
                  <a:pt x="4611" y="844"/>
                </a:lnTo>
                <a:lnTo>
                  <a:pt x="4621" y="844"/>
                </a:lnTo>
                <a:lnTo>
                  <a:pt x="4625" y="844"/>
                </a:lnTo>
                <a:lnTo>
                  <a:pt x="4623" y="844"/>
                </a:lnTo>
                <a:lnTo>
                  <a:pt x="4623" y="844"/>
                </a:lnTo>
                <a:lnTo>
                  <a:pt x="4655" y="840"/>
                </a:lnTo>
                <a:lnTo>
                  <a:pt x="4683" y="836"/>
                </a:lnTo>
                <a:lnTo>
                  <a:pt x="4683" y="836"/>
                </a:lnTo>
                <a:lnTo>
                  <a:pt x="4663" y="838"/>
                </a:lnTo>
                <a:lnTo>
                  <a:pt x="4657" y="838"/>
                </a:lnTo>
                <a:lnTo>
                  <a:pt x="4663" y="836"/>
                </a:lnTo>
                <a:lnTo>
                  <a:pt x="4683" y="834"/>
                </a:lnTo>
                <a:lnTo>
                  <a:pt x="4683" y="834"/>
                </a:lnTo>
                <a:lnTo>
                  <a:pt x="4753" y="826"/>
                </a:lnTo>
                <a:lnTo>
                  <a:pt x="4809" y="822"/>
                </a:lnTo>
                <a:lnTo>
                  <a:pt x="4832" y="818"/>
                </a:lnTo>
                <a:lnTo>
                  <a:pt x="4832" y="818"/>
                </a:lnTo>
                <a:lnTo>
                  <a:pt x="4830" y="818"/>
                </a:lnTo>
                <a:lnTo>
                  <a:pt x="4832" y="818"/>
                </a:lnTo>
                <a:lnTo>
                  <a:pt x="4846" y="818"/>
                </a:lnTo>
                <a:lnTo>
                  <a:pt x="4882" y="814"/>
                </a:lnTo>
                <a:lnTo>
                  <a:pt x="4882" y="814"/>
                </a:lnTo>
                <a:lnTo>
                  <a:pt x="4872" y="814"/>
                </a:lnTo>
                <a:lnTo>
                  <a:pt x="4846" y="818"/>
                </a:lnTo>
                <a:lnTo>
                  <a:pt x="4817" y="822"/>
                </a:lnTo>
                <a:lnTo>
                  <a:pt x="4803" y="824"/>
                </a:lnTo>
                <a:lnTo>
                  <a:pt x="4803" y="824"/>
                </a:lnTo>
                <a:lnTo>
                  <a:pt x="4825" y="822"/>
                </a:lnTo>
                <a:lnTo>
                  <a:pt x="4811" y="826"/>
                </a:lnTo>
                <a:lnTo>
                  <a:pt x="4811" y="826"/>
                </a:lnTo>
                <a:lnTo>
                  <a:pt x="4830" y="822"/>
                </a:lnTo>
                <a:lnTo>
                  <a:pt x="4836" y="822"/>
                </a:lnTo>
                <a:lnTo>
                  <a:pt x="4836" y="820"/>
                </a:lnTo>
                <a:lnTo>
                  <a:pt x="4842" y="818"/>
                </a:lnTo>
                <a:lnTo>
                  <a:pt x="4842" y="818"/>
                </a:lnTo>
                <a:lnTo>
                  <a:pt x="4872" y="816"/>
                </a:lnTo>
                <a:lnTo>
                  <a:pt x="4888" y="816"/>
                </a:lnTo>
                <a:lnTo>
                  <a:pt x="4890" y="816"/>
                </a:lnTo>
                <a:lnTo>
                  <a:pt x="4884" y="816"/>
                </a:lnTo>
                <a:lnTo>
                  <a:pt x="4884" y="816"/>
                </a:lnTo>
                <a:lnTo>
                  <a:pt x="4918" y="812"/>
                </a:lnTo>
                <a:lnTo>
                  <a:pt x="4946" y="808"/>
                </a:lnTo>
                <a:lnTo>
                  <a:pt x="4946" y="808"/>
                </a:lnTo>
                <a:lnTo>
                  <a:pt x="4940" y="810"/>
                </a:lnTo>
                <a:lnTo>
                  <a:pt x="4940" y="810"/>
                </a:lnTo>
                <a:lnTo>
                  <a:pt x="4940" y="812"/>
                </a:lnTo>
                <a:lnTo>
                  <a:pt x="4940" y="812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8"/>
                </a:lnTo>
                <a:lnTo>
                  <a:pt x="4978" y="806"/>
                </a:lnTo>
                <a:lnTo>
                  <a:pt x="4962" y="808"/>
                </a:lnTo>
                <a:lnTo>
                  <a:pt x="4962" y="808"/>
                </a:lnTo>
                <a:lnTo>
                  <a:pt x="4998" y="804"/>
                </a:lnTo>
                <a:lnTo>
                  <a:pt x="5026" y="800"/>
                </a:lnTo>
                <a:lnTo>
                  <a:pt x="5026" y="800"/>
                </a:lnTo>
                <a:lnTo>
                  <a:pt x="5060" y="798"/>
                </a:lnTo>
                <a:lnTo>
                  <a:pt x="5114" y="792"/>
                </a:lnTo>
                <a:lnTo>
                  <a:pt x="5114" y="792"/>
                </a:lnTo>
                <a:lnTo>
                  <a:pt x="5104" y="792"/>
                </a:lnTo>
                <a:lnTo>
                  <a:pt x="5086" y="794"/>
                </a:lnTo>
                <a:lnTo>
                  <a:pt x="5064" y="796"/>
                </a:lnTo>
                <a:lnTo>
                  <a:pt x="5050" y="796"/>
                </a:lnTo>
                <a:lnTo>
                  <a:pt x="5050" y="796"/>
                </a:lnTo>
                <a:lnTo>
                  <a:pt x="5138" y="786"/>
                </a:lnTo>
                <a:lnTo>
                  <a:pt x="5242" y="774"/>
                </a:lnTo>
                <a:lnTo>
                  <a:pt x="5242" y="774"/>
                </a:lnTo>
                <a:lnTo>
                  <a:pt x="5267" y="772"/>
                </a:lnTo>
                <a:lnTo>
                  <a:pt x="5269" y="772"/>
                </a:lnTo>
                <a:lnTo>
                  <a:pt x="5265" y="774"/>
                </a:lnTo>
                <a:lnTo>
                  <a:pt x="5257" y="776"/>
                </a:lnTo>
                <a:lnTo>
                  <a:pt x="5253" y="776"/>
                </a:lnTo>
                <a:lnTo>
                  <a:pt x="5255" y="776"/>
                </a:lnTo>
                <a:lnTo>
                  <a:pt x="5255" y="776"/>
                </a:lnTo>
                <a:lnTo>
                  <a:pt x="5148" y="788"/>
                </a:lnTo>
                <a:lnTo>
                  <a:pt x="5148" y="788"/>
                </a:lnTo>
                <a:lnTo>
                  <a:pt x="5234" y="778"/>
                </a:lnTo>
                <a:lnTo>
                  <a:pt x="5309" y="770"/>
                </a:lnTo>
                <a:lnTo>
                  <a:pt x="5309" y="770"/>
                </a:lnTo>
                <a:lnTo>
                  <a:pt x="5341" y="766"/>
                </a:lnTo>
                <a:lnTo>
                  <a:pt x="5365" y="766"/>
                </a:lnTo>
                <a:lnTo>
                  <a:pt x="5391" y="764"/>
                </a:lnTo>
                <a:lnTo>
                  <a:pt x="5429" y="758"/>
                </a:lnTo>
                <a:lnTo>
                  <a:pt x="5429" y="758"/>
                </a:lnTo>
                <a:lnTo>
                  <a:pt x="5419" y="758"/>
                </a:lnTo>
                <a:lnTo>
                  <a:pt x="5403" y="760"/>
                </a:lnTo>
                <a:lnTo>
                  <a:pt x="5403" y="760"/>
                </a:lnTo>
                <a:lnTo>
                  <a:pt x="5457" y="754"/>
                </a:lnTo>
                <a:lnTo>
                  <a:pt x="5457" y="754"/>
                </a:lnTo>
                <a:lnTo>
                  <a:pt x="5459" y="754"/>
                </a:lnTo>
                <a:lnTo>
                  <a:pt x="5457" y="754"/>
                </a:lnTo>
                <a:lnTo>
                  <a:pt x="5449" y="754"/>
                </a:lnTo>
                <a:lnTo>
                  <a:pt x="5445" y="754"/>
                </a:lnTo>
                <a:lnTo>
                  <a:pt x="5453" y="752"/>
                </a:lnTo>
                <a:lnTo>
                  <a:pt x="5453" y="752"/>
                </a:lnTo>
                <a:lnTo>
                  <a:pt x="5471" y="750"/>
                </a:lnTo>
                <a:lnTo>
                  <a:pt x="5479" y="750"/>
                </a:lnTo>
                <a:lnTo>
                  <a:pt x="5475" y="752"/>
                </a:lnTo>
                <a:lnTo>
                  <a:pt x="5475" y="752"/>
                </a:lnTo>
                <a:lnTo>
                  <a:pt x="5509" y="748"/>
                </a:lnTo>
                <a:lnTo>
                  <a:pt x="5525" y="746"/>
                </a:lnTo>
                <a:lnTo>
                  <a:pt x="5541" y="744"/>
                </a:lnTo>
                <a:lnTo>
                  <a:pt x="5569" y="740"/>
                </a:lnTo>
                <a:lnTo>
                  <a:pt x="5569" y="740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41" y="744"/>
                </a:lnTo>
                <a:lnTo>
                  <a:pt x="5553" y="742"/>
                </a:lnTo>
                <a:lnTo>
                  <a:pt x="5587" y="736"/>
                </a:lnTo>
                <a:lnTo>
                  <a:pt x="5587" y="736"/>
                </a:lnTo>
                <a:lnTo>
                  <a:pt x="5599" y="734"/>
                </a:lnTo>
                <a:lnTo>
                  <a:pt x="5625" y="732"/>
                </a:lnTo>
                <a:lnTo>
                  <a:pt x="5625" y="732"/>
                </a:lnTo>
                <a:lnTo>
                  <a:pt x="5625" y="732"/>
                </a:lnTo>
                <a:lnTo>
                  <a:pt x="5623" y="732"/>
                </a:lnTo>
                <a:lnTo>
                  <a:pt x="5607" y="734"/>
                </a:lnTo>
                <a:lnTo>
                  <a:pt x="5575" y="738"/>
                </a:lnTo>
                <a:lnTo>
                  <a:pt x="5621" y="734"/>
                </a:lnTo>
                <a:lnTo>
                  <a:pt x="5611" y="734"/>
                </a:lnTo>
                <a:lnTo>
                  <a:pt x="5661" y="728"/>
                </a:lnTo>
                <a:lnTo>
                  <a:pt x="5661" y="728"/>
                </a:lnTo>
                <a:lnTo>
                  <a:pt x="5643" y="730"/>
                </a:lnTo>
                <a:lnTo>
                  <a:pt x="5641" y="728"/>
                </a:lnTo>
                <a:lnTo>
                  <a:pt x="5659" y="726"/>
                </a:lnTo>
                <a:lnTo>
                  <a:pt x="5659" y="726"/>
                </a:lnTo>
                <a:lnTo>
                  <a:pt x="5706" y="720"/>
                </a:lnTo>
                <a:lnTo>
                  <a:pt x="5722" y="718"/>
                </a:lnTo>
                <a:lnTo>
                  <a:pt x="5726" y="720"/>
                </a:lnTo>
                <a:lnTo>
                  <a:pt x="5726" y="720"/>
                </a:lnTo>
                <a:lnTo>
                  <a:pt x="5754" y="714"/>
                </a:lnTo>
                <a:lnTo>
                  <a:pt x="5802" y="708"/>
                </a:lnTo>
                <a:lnTo>
                  <a:pt x="5802" y="708"/>
                </a:lnTo>
                <a:lnTo>
                  <a:pt x="5788" y="708"/>
                </a:lnTo>
                <a:lnTo>
                  <a:pt x="5788" y="708"/>
                </a:lnTo>
                <a:lnTo>
                  <a:pt x="5808" y="704"/>
                </a:lnTo>
                <a:lnTo>
                  <a:pt x="5858" y="700"/>
                </a:lnTo>
                <a:lnTo>
                  <a:pt x="5858" y="700"/>
                </a:lnTo>
                <a:lnTo>
                  <a:pt x="5836" y="702"/>
                </a:lnTo>
                <a:lnTo>
                  <a:pt x="5842" y="702"/>
                </a:lnTo>
                <a:lnTo>
                  <a:pt x="5854" y="702"/>
                </a:lnTo>
                <a:lnTo>
                  <a:pt x="5858" y="702"/>
                </a:lnTo>
                <a:lnTo>
                  <a:pt x="5856" y="702"/>
                </a:lnTo>
                <a:lnTo>
                  <a:pt x="5856" y="702"/>
                </a:lnTo>
                <a:lnTo>
                  <a:pt x="5824" y="708"/>
                </a:lnTo>
                <a:lnTo>
                  <a:pt x="5782" y="712"/>
                </a:lnTo>
                <a:lnTo>
                  <a:pt x="5782" y="712"/>
                </a:lnTo>
                <a:lnTo>
                  <a:pt x="5818" y="708"/>
                </a:lnTo>
                <a:lnTo>
                  <a:pt x="5846" y="704"/>
                </a:lnTo>
                <a:lnTo>
                  <a:pt x="5874" y="700"/>
                </a:lnTo>
                <a:lnTo>
                  <a:pt x="5904" y="696"/>
                </a:lnTo>
                <a:lnTo>
                  <a:pt x="5904" y="696"/>
                </a:lnTo>
                <a:lnTo>
                  <a:pt x="5900" y="696"/>
                </a:lnTo>
                <a:lnTo>
                  <a:pt x="5880" y="700"/>
                </a:lnTo>
                <a:lnTo>
                  <a:pt x="5880" y="700"/>
                </a:lnTo>
                <a:lnTo>
                  <a:pt x="5908" y="696"/>
                </a:lnTo>
                <a:lnTo>
                  <a:pt x="5954" y="688"/>
                </a:lnTo>
                <a:lnTo>
                  <a:pt x="5954" y="688"/>
                </a:lnTo>
                <a:lnTo>
                  <a:pt x="5942" y="690"/>
                </a:lnTo>
                <a:lnTo>
                  <a:pt x="5944" y="688"/>
                </a:lnTo>
                <a:lnTo>
                  <a:pt x="5960" y="686"/>
                </a:lnTo>
                <a:lnTo>
                  <a:pt x="6002" y="680"/>
                </a:lnTo>
                <a:lnTo>
                  <a:pt x="6002" y="680"/>
                </a:lnTo>
                <a:lnTo>
                  <a:pt x="6024" y="677"/>
                </a:lnTo>
                <a:lnTo>
                  <a:pt x="6032" y="675"/>
                </a:lnTo>
                <a:lnTo>
                  <a:pt x="6038" y="673"/>
                </a:lnTo>
                <a:lnTo>
                  <a:pt x="6058" y="669"/>
                </a:lnTo>
                <a:lnTo>
                  <a:pt x="6030" y="671"/>
                </a:lnTo>
                <a:lnTo>
                  <a:pt x="6030" y="671"/>
                </a:lnTo>
                <a:lnTo>
                  <a:pt x="6060" y="667"/>
                </a:lnTo>
                <a:lnTo>
                  <a:pt x="6078" y="663"/>
                </a:lnTo>
                <a:lnTo>
                  <a:pt x="6086" y="661"/>
                </a:lnTo>
                <a:lnTo>
                  <a:pt x="6086" y="661"/>
                </a:lnTo>
                <a:lnTo>
                  <a:pt x="6054" y="667"/>
                </a:lnTo>
                <a:lnTo>
                  <a:pt x="6022" y="673"/>
                </a:lnTo>
                <a:lnTo>
                  <a:pt x="6022" y="673"/>
                </a:lnTo>
                <a:lnTo>
                  <a:pt x="6020" y="671"/>
                </a:lnTo>
                <a:lnTo>
                  <a:pt x="6022" y="671"/>
                </a:lnTo>
                <a:lnTo>
                  <a:pt x="6036" y="669"/>
                </a:lnTo>
                <a:lnTo>
                  <a:pt x="6068" y="663"/>
                </a:lnTo>
                <a:lnTo>
                  <a:pt x="6068" y="663"/>
                </a:lnTo>
                <a:lnTo>
                  <a:pt x="6153" y="651"/>
                </a:lnTo>
                <a:lnTo>
                  <a:pt x="6153" y="651"/>
                </a:lnTo>
                <a:lnTo>
                  <a:pt x="6143" y="655"/>
                </a:lnTo>
                <a:lnTo>
                  <a:pt x="6121" y="659"/>
                </a:lnTo>
                <a:lnTo>
                  <a:pt x="6101" y="665"/>
                </a:lnTo>
                <a:lnTo>
                  <a:pt x="6097" y="667"/>
                </a:lnTo>
                <a:lnTo>
                  <a:pt x="6095" y="667"/>
                </a:lnTo>
                <a:lnTo>
                  <a:pt x="6097" y="667"/>
                </a:lnTo>
                <a:lnTo>
                  <a:pt x="6097" y="667"/>
                </a:lnTo>
                <a:lnTo>
                  <a:pt x="6259" y="639"/>
                </a:lnTo>
                <a:lnTo>
                  <a:pt x="6259" y="639"/>
                </a:lnTo>
                <a:lnTo>
                  <a:pt x="6295" y="631"/>
                </a:lnTo>
                <a:lnTo>
                  <a:pt x="6297" y="629"/>
                </a:lnTo>
                <a:lnTo>
                  <a:pt x="6297" y="629"/>
                </a:lnTo>
                <a:lnTo>
                  <a:pt x="6293" y="629"/>
                </a:lnTo>
                <a:lnTo>
                  <a:pt x="6293" y="629"/>
                </a:lnTo>
                <a:lnTo>
                  <a:pt x="6335" y="621"/>
                </a:lnTo>
                <a:lnTo>
                  <a:pt x="6313" y="627"/>
                </a:lnTo>
                <a:lnTo>
                  <a:pt x="6463" y="595"/>
                </a:lnTo>
                <a:lnTo>
                  <a:pt x="6463" y="595"/>
                </a:lnTo>
                <a:lnTo>
                  <a:pt x="6485" y="589"/>
                </a:lnTo>
                <a:lnTo>
                  <a:pt x="6475" y="589"/>
                </a:lnTo>
                <a:lnTo>
                  <a:pt x="6512" y="581"/>
                </a:lnTo>
                <a:lnTo>
                  <a:pt x="6505" y="583"/>
                </a:lnTo>
                <a:lnTo>
                  <a:pt x="6505" y="583"/>
                </a:lnTo>
                <a:lnTo>
                  <a:pt x="6532" y="575"/>
                </a:lnTo>
                <a:lnTo>
                  <a:pt x="6572" y="567"/>
                </a:lnTo>
                <a:lnTo>
                  <a:pt x="6572" y="567"/>
                </a:lnTo>
                <a:lnTo>
                  <a:pt x="6558" y="571"/>
                </a:lnTo>
                <a:lnTo>
                  <a:pt x="6558" y="571"/>
                </a:lnTo>
                <a:lnTo>
                  <a:pt x="6630" y="555"/>
                </a:lnTo>
                <a:lnTo>
                  <a:pt x="6630" y="555"/>
                </a:lnTo>
                <a:lnTo>
                  <a:pt x="6620" y="559"/>
                </a:lnTo>
                <a:lnTo>
                  <a:pt x="6590" y="565"/>
                </a:lnTo>
                <a:lnTo>
                  <a:pt x="6590" y="565"/>
                </a:lnTo>
                <a:lnTo>
                  <a:pt x="6586" y="567"/>
                </a:lnTo>
                <a:lnTo>
                  <a:pt x="6542" y="577"/>
                </a:lnTo>
                <a:lnTo>
                  <a:pt x="6542" y="577"/>
                </a:lnTo>
                <a:lnTo>
                  <a:pt x="6602" y="563"/>
                </a:lnTo>
                <a:lnTo>
                  <a:pt x="6618" y="561"/>
                </a:lnTo>
                <a:lnTo>
                  <a:pt x="6622" y="561"/>
                </a:lnTo>
                <a:lnTo>
                  <a:pt x="6622" y="561"/>
                </a:lnTo>
                <a:lnTo>
                  <a:pt x="6638" y="557"/>
                </a:lnTo>
                <a:lnTo>
                  <a:pt x="6628" y="559"/>
                </a:lnTo>
                <a:lnTo>
                  <a:pt x="6620" y="561"/>
                </a:lnTo>
                <a:lnTo>
                  <a:pt x="6640" y="555"/>
                </a:lnTo>
                <a:lnTo>
                  <a:pt x="6640" y="555"/>
                </a:lnTo>
                <a:lnTo>
                  <a:pt x="6698" y="543"/>
                </a:lnTo>
                <a:lnTo>
                  <a:pt x="6750" y="529"/>
                </a:lnTo>
                <a:lnTo>
                  <a:pt x="6796" y="519"/>
                </a:lnTo>
                <a:lnTo>
                  <a:pt x="6834" y="511"/>
                </a:lnTo>
                <a:lnTo>
                  <a:pt x="6834" y="511"/>
                </a:lnTo>
                <a:lnTo>
                  <a:pt x="6969" y="471"/>
                </a:lnTo>
                <a:lnTo>
                  <a:pt x="6969" y="471"/>
                </a:lnTo>
                <a:lnTo>
                  <a:pt x="6987" y="465"/>
                </a:lnTo>
                <a:lnTo>
                  <a:pt x="6999" y="461"/>
                </a:lnTo>
                <a:lnTo>
                  <a:pt x="7001" y="461"/>
                </a:lnTo>
                <a:lnTo>
                  <a:pt x="7001" y="459"/>
                </a:lnTo>
                <a:lnTo>
                  <a:pt x="7001" y="459"/>
                </a:lnTo>
                <a:lnTo>
                  <a:pt x="6963" y="471"/>
                </a:lnTo>
                <a:lnTo>
                  <a:pt x="6924" y="481"/>
                </a:lnTo>
                <a:lnTo>
                  <a:pt x="6890" y="491"/>
                </a:lnTo>
                <a:lnTo>
                  <a:pt x="6856" y="499"/>
                </a:lnTo>
                <a:lnTo>
                  <a:pt x="6856" y="499"/>
                </a:lnTo>
                <a:lnTo>
                  <a:pt x="6838" y="505"/>
                </a:lnTo>
                <a:lnTo>
                  <a:pt x="6830" y="509"/>
                </a:lnTo>
                <a:lnTo>
                  <a:pt x="6830" y="509"/>
                </a:lnTo>
                <a:lnTo>
                  <a:pt x="6786" y="519"/>
                </a:lnTo>
                <a:lnTo>
                  <a:pt x="6786" y="519"/>
                </a:lnTo>
                <a:lnTo>
                  <a:pt x="6810" y="513"/>
                </a:lnTo>
                <a:lnTo>
                  <a:pt x="6818" y="509"/>
                </a:lnTo>
                <a:lnTo>
                  <a:pt x="6830" y="505"/>
                </a:lnTo>
                <a:lnTo>
                  <a:pt x="6862" y="497"/>
                </a:lnTo>
                <a:lnTo>
                  <a:pt x="6862" y="497"/>
                </a:lnTo>
                <a:lnTo>
                  <a:pt x="6826" y="505"/>
                </a:lnTo>
                <a:lnTo>
                  <a:pt x="6778" y="517"/>
                </a:lnTo>
                <a:lnTo>
                  <a:pt x="6778" y="517"/>
                </a:lnTo>
                <a:lnTo>
                  <a:pt x="6782" y="515"/>
                </a:lnTo>
                <a:lnTo>
                  <a:pt x="6780" y="515"/>
                </a:lnTo>
                <a:lnTo>
                  <a:pt x="6764" y="519"/>
                </a:lnTo>
                <a:lnTo>
                  <a:pt x="6834" y="497"/>
                </a:lnTo>
                <a:lnTo>
                  <a:pt x="6834" y="497"/>
                </a:lnTo>
                <a:lnTo>
                  <a:pt x="6832" y="499"/>
                </a:lnTo>
                <a:lnTo>
                  <a:pt x="6834" y="499"/>
                </a:lnTo>
                <a:lnTo>
                  <a:pt x="6836" y="499"/>
                </a:lnTo>
                <a:lnTo>
                  <a:pt x="6834" y="499"/>
                </a:lnTo>
                <a:lnTo>
                  <a:pt x="6900" y="479"/>
                </a:lnTo>
                <a:lnTo>
                  <a:pt x="6900" y="479"/>
                </a:lnTo>
                <a:lnTo>
                  <a:pt x="6920" y="475"/>
                </a:lnTo>
                <a:lnTo>
                  <a:pt x="6920" y="475"/>
                </a:lnTo>
                <a:lnTo>
                  <a:pt x="6916" y="477"/>
                </a:lnTo>
                <a:lnTo>
                  <a:pt x="6916" y="477"/>
                </a:lnTo>
                <a:lnTo>
                  <a:pt x="6979" y="461"/>
                </a:lnTo>
                <a:lnTo>
                  <a:pt x="7003" y="453"/>
                </a:lnTo>
                <a:lnTo>
                  <a:pt x="7015" y="451"/>
                </a:lnTo>
                <a:lnTo>
                  <a:pt x="7015" y="451"/>
                </a:lnTo>
                <a:lnTo>
                  <a:pt x="7031" y="445"/>
                </a:lnTo>
                <a:lnTo>
                  <a:pt x="7023" y="447"/>
                </a:lnTo>
                <a:lnTo>
                  <a:pt x="6995" y="455"/>
                </a:lnTo>
                <a:lnTo>
                  <a:pt x="6999" y="453"/>
                </a:lnTo>
                <a:lnTo>
                  <a:pt x="6949" y="467"/>
                </a:lnTo>
                <a:lnTo>
                  <a:pt x="6949" y="467"/>
                </a:lnTo>
                <a:lnTo>
                  <a:pt x="6955" y="465"/>
                </a:lnTo>
                <a:lnTo>
                  <a:pt x="6977" y="459"/>
                </a:lnTo>
                <a:lnTo>
                  <a:pt x="6999" y="453"/>
                </a:lnTo>
                <a:lnTo>
                  <a:pt x="7013" y="447"/>
                </a:lnTo>
                <a:lnTo>
                  <a:pt x="7013" y="447"/>
                </a:lnTo>
                <a:lnTo>
                  <a:pt x="7019" y="445"/>
                </a:lnTo>
                <a:lnTo>
                  <a:pt x="7027" y="441"/>
                </a:lnTo>
                <a:lnTo>
                  <a:pt x="7055" y="435"/>
                </a:lnTo>
                <a:lnTo>
                  <a:pt x="7087" y="425"/>
                </a:lnTo>
                <a:lnTo>
                  <a:pt x="7117" y="417"/>
                </a:lnTo>
                <a:lnTo>
                  <a:pt x="7079" y="433"/>
                </a:lnTo>
                <a:lnTo>
                  <a:pt x="7113" y="421"/>
                </a:lnTo>
                <a:lnTo>
                  <a:pt x="7113" y="421"/>
                </a:lnTo>
                <a:lnTo>
                  <a:pt x="7093" y="429"/>
                </a:lnTo>
                <a:lnTo>
                  <a:pt x="7063" y="441"/>
                </a:lnTo>
                <a:lnTo>
                  <a:pt x="7063" y="441"/>
                </a:lnTo>
                <a:lnTo>
                  <a:pt x="7143" y="417"/>
                </a:lnTo>
                <a:lnTo>
                  <a:pt x="7211" y="397"/>
                </a:lnTo>
                <a:lnTo>
                  <a:pt x="7211" y="397"/>
                </a:lnTo>
                <a:lnTo>
                  <a:pt x="7223" y="395"/>
                </a:lnTo>
                <a:lnTo>
                  <a:pt x="7225" y="395"/>
                </a:lnTo>
                <a:lnTo>
                  <a:pt x="7223" y="395"/>
                </a:lnTo>
                <a:lnTo>
                  <a:pt x="7223" y="395"/>
                </a:lnTo>
                <a:lnTo>
                  <a:pt x="7255" y="385"/>
                </a:lnTo>
                <a:lnTo>
                  <a:pt x="7283" y="377"/>
                </a:lnTo>
                <a:lnTo>
                  <a:pt x="7339" y="359"/>
                </a:lnTo>
                <a:lnTo>
                  <a:pt x="7339" y="359"/>
                </a:lnTo>
                <a:lnTo>
                  <a:pt x="7352" y="355"/>
                </a:lnTo>
                <a:lnTo>
                  <a:pt x="7337" y="359"/>
                </a:lnTo>
                <a:lnTo>
                  <a:pt x="7321" y="363"/>
                </a:lnTo>
                <a:lnTo>
                  <a:pt x="7319" y="363"/>
                </a:lnTo>
                <a:lnTo>
                  <a:pt x="7327" y="361"/>
                </a:lnTo>
                <a:lnTo>
                  <a:pt x="7327" y="361"/>
                </a:lnTo>
                <a:lnTo>
                  <a:pt x="7352" y="353"/>
                </a:lnTo>
                <a:lnTo>
                  <a:pt x="7376" y="345"/>
                </a:lnTo>
                <a:lnTo>
                  <a:pt x="7376" y="345"/>
                </a:lnTo>
                <a:lnTo>
                  <a:pt x="7283" y="373"/>
                </a:lnTo>
                <a:lnTo>
                  <a:pt x="7283" y="373"/>
                </a:lnTo>
                <a:lnTo>
                  <a:pt x="7303" y="367"/>
                </a:lnTo>
                <a:lnTo>
                  <a:pt x="7311" y="363"/>
                </a:lnTo>
                <a:lnTo>
                  <a:pt x="7271" y="375"/>
                </a:lnTo>
                <a:lnTo>
                  <a:pt x="7271" y="375"/>
                </a:lnTo>
                <a:lnTo>
                  <a:pt x="7279" y="371"/>
                </a:lnTo>
                <a:lnTo>
                  <a:pt x="7299" y="365"/>
                </a:lnTo>
                <a:lnTo>
                  <a:pt x="7339" y="353"/>
                </a:lnTo>
                <a:lnTo>
                  <a:pt x="7339" y="353"/>
                </a:lnTo>
                <a:lnTo>
                  <a:pt x="7323" y="361"/>
                </a:lnTo>
                <a:lnTo>
                  <a:pt x="7323" y="361"/>
                </a:lnTo>
                <a:lnTo>
                  <a:pt x="7382" y="341"/>
                </a:lnTo>
                <a:lnTo>
                  <a:pt x="7438" y="323"/>
                </a:lnTo>
                <a:lnTo>
                  <a:pt x="7438" y="323"/>
                </a:lnTo>
                <a:lnTo>
                  <a:pt x="7444" y="323"/>
                </a:lnTo>
                <a:lnTo>
                  <a:pt x="7436" y="325"/>
                </a:lnTo>
                <a:lnTo>
                  <a:pt x="7416" y="333"/>
                </a:lnTo>
                <a:lnTo>
                  <a:pt x="7416" y="333"/>
                </a:lnTo>
                <a:lnTo>
                  <a:pt x="7436" y="327"/>
                </a:lnTo>
                <a:lnTo>
                  <a:pt x="7456" y="321"/>
                </a:lnTo>
                <a:lnTo>
                  <a:pt x="7456" y="321"/>
                </a:lnTo>
                <a:lnTo>
                  <a:pt x="7442" y="325"/>
                </a:lnTo>
                <a:lnTo>
                  <a:pt x="7424" y="331"/>
                </a:lnTo>
                <a:lnTo>
                  <a:pt x="7524" y="299"/>
                </a:lnTo>
                <a:lnTo>
                  <a:pt x="7524" y="299"/>
                </a:lnTo>
                <a:lnTo>
                  <a:pt x="7484" y="313"/>
                </a:lnTo>
                <a:lnTo>
                  <a:pt x="7484" y="313"/>
                </a:lnTo>
                <a:lnTo>
                  <a:pt x="7526" y="299"/>
                </a:lnTo>
                <a:lnTo>
                  <a:pt x="7572" y="281"/>
                </a:lnTo>
                <a:lnTo>
                  <a:pt x="7572" y="281"/>
                </a:lnTo>
                <a:lnTo>
                  <a:pt x="7620" y="267"/>
                </a:lnTo>
                <a:lnTo>
                  <a:pt x="7634" y="263"/>
                </a:lnTo>
                <a:lnTo>
                  <a:pt x="7636" y="261"/>
                </a:lnTo>
                <a:lnTo>
                  <a:pt x="7634" y="263"/>
                </a:lnTo>
                <a:lnTo>
                  <a:pt x="7634" y="263"/>
                </a:lnTo>
                <a:lnTo>
                  <a:pt x="7642" y="259"/>
                </a:lnTo>
                <a:lnTo>
                  <a:pt x="7638" y="259"/>
                </a:lnTo>
                <a:lnTo>
                  <a:pt x="7638" y="259"/>
                </a:lnTo>
                <a:lnTo>
                  <a:pt x="7686" y="243"/>
                </a:lnTo>
                <a:lnTo>
                  <a:pt x="7718" y="231"/>
                </a:lnTo>
                <a:lnTo>
                  <a:pt x="7696" y="237"/>
                </a:lnTo>
                <a:lnTo>
                  <a:pt x="7696" y="237"/>
                </a:lnTo>
                <a:lnTo>
                  <a:pt x="7718" y="229"/>
                </a:lnTo>
                <a:lnTo>
                  <a:pt x="7722" y="227"/>
                </a:lnTo>
                <a:lnTo>
                  <a:pt x="7728" y="224"/>
                </a:lnTo>
                <a:lnTo>
                  <a:pt x="7746" y="218"/>
                </a:lnTo>
                <a:lnTo>
                  <a:pt x="7746" y="218"/>
                </a:lnTo>
                <a:lnTo>
                  <a:pt x="7742" y="220"/>
                </a:lnTo>
                <a:lnTo>
                  <a:pt x="7742" y="220"/>
                </a:lnTo>
                <a:lnTo>
                  <a:pt x="7750" y="220"/>
                </a:lnTo>
                <a:lnTo>
                  <a:pt x="7750" y="220"/>
                </a:lnTo>
                <a:lnTo>
                  <a:pt x="7771" y="214"/>
                </a:lnTo>
                <a:lnTo>
                  <a:pt x="7799" y="204"/>
                </a:lnTo>
                <a:lnTo>
                  <a:pt x="7799" y="204"/>
                </a:lnTo>
                <a:lnTo>
                  <a:pt x="7797" y="204"/>
                </a:lnTo>
                <a:lnTo>
                  <a:pt x="7799" y="204"/>
                </a:lnTo>
                <a:lnTo>
                  <a:pt x="7809" y="200"/>
                </a:lnTo>
                <a:lnTo>
                  <a:pt x="7817" y="196"/>
                </a:lnTo>
                <a:lnTo>
                  <a:pt x="7807" y="198"/>
                </a:lnTo>
                <a:lnTo>
                  <a:pt x="7807" y="198"/>
                </a:lnTo>
                <a:lnTo>
                  <a:pt x="7855" y="182"/>
                </a:lnTo>
                <a:lnTo>
                  <a:pt x="7895" y="168"/>
                </a:lnTo>
                <a:lnTo>
                  <a:pt x="7895" y="168"/>
                </a:lnTo>
                <a:lnTo>
                  <a:pt x="7891" y="168"/>
                </a:lnTo>
                <a:lnTo>
                  <a:pt x="7903" y="164"/>
                </a:lnTo>
                <a:lnTo>
                  <a:pt x="7913" y="160"/>
                </a:lnTo>
                <a:lnTo>
                  <a:pt x="7915" y="158"/>
                </a:lnTo>
                <a:lnTo>
                  <a:pt x="7911" y="160"/>
                </a:lnTo>
                <a:lnTo>
                  <a:pt x="7911" y="160"/>
                </a:lnTo>
                <a:lnTo>
                  <a:pt x="7957" y="144"/>
                </a:lnTo>
                <a:lnTo>
                  <a:pt x="7969" y="142"/>
                </a:lnTo>
                <a:lnTo>
                  <a:pt x="7969" y="142"/>
                </a:lnTo>
                <a:lnTo>
                  <a:pt x="7967" y="144"/>
                </a:lnTo>
                <a:lnTo>
                  <a:pt x="7967" y="144"/>
                </a:lnTo>
                <a:lnTo>
                  <a:pt x="7945" y="150"/>
                </a:lnTo>
                <a:lnTo>
                  <a:pt x="7935" y="156"/>
                </a:lnTo>
                <a:lnTo>
                  <a:pt x="8003" y="132"/>
                </a:lnTo>
                <a:lnTo>
                  <a:pt x="8003" y="132"/>
                </a:lnTo>
                <a:lnTo>
                  <a:pt x="8031" y="122"/>
                </a:lnTo>
                <a:lnTo>
                  <a:pt x="8047" y="118"/>
                </a:lnTo>
                <a:lnTo>
                  <a:pt x="8047" y="118"/>
                </a:lnTo>
                <a:lnTo>
                  <a:pt x="8091" y="104"/>
                </a:lnTo>
                <a:lnTo>
                  <a:pt x="8113" y="96"/>
                </a:lnTo>
                <a:lnTo>
                  <a:pt x="8129" y="90"/>
                </a:lnTo>
                <a:lnTo>
                  <a:pt x="8129" y="90"/>
                </a:lnTo>
                <a:lnTo>
                  <a:pt x="8099" y="100"/>
                </a:lnTo>
                <a:lnTo>
                  <a:pt x="8079" y="106"/>
                </a:lnTo>
                <a:lnTo>
                  <a:pt x="8089" y="102"/>
                </a:lnTo>
                <a:lnTo>
                  <a:pt x="8083" y="104"/>
                </a:lnTo>
                <a:lnTo>
                  <a:pt x="8113" y="92"/>
                </a:lnTo>
                <a:lnTo>
                  <a:pt x="8113" y="92"/>
                </a:lnTo>
                <a:lnTo>
                  <a:pt x="8099" y="96"/>
                </a:lnTo>
                <a:lnTo>
                  <a:pt x="8095" y="98"/>
                </a:lnTo>
                <a:lnTo>
                  <a:pt x="8087" y="102"/>
                </a:lnTo>
                <a:lnTo>
                  <a:pt x="8067" y="110"/>
                </a:lnTo>
                <a:lnTo>
                  <a:pt x="8067" y="110"/>
                </a:lnTo>
                <a:lnTo>
                  <a:pt x="8059" y="110"/>
                </a:lnTo>
                <a:lnTo>
                  <a:pt x="8063" y="108"/>
                </a:lnTo>
                <a:lnTo>
                  <a:pt x="8089" y="98"/>
                </a:lnTo>
                <a:lnTo>
                  <a:pt x="8113" y="90"/>
                </a:lnTo>
                <a:lnTo>
                  <a:pt x="8117" y="88"/>
                </a:lnTo>
                <a:lnTo>
                  <a:pt x="8109" y="90"/>
                </a:lnTo>
                <a:lnTo>
                  <a:pt x="8109" y="90"/>
                </a:lnTo>
                <a:lnTo>
                  <a:pt x="8081" y="100"/>
                </a:lnTo>
                <a:lnTo>
                  <a:pt x="8059" y="108"/>
                </a:lnTo>
                <a:lnTo>
                  <a:pt x="8067" y="106"/>
                </a:lnTo>
                <a:lnTo>
                  <a:pt x="8009" y="128"/>
                </a:lnTo>
                <a:lnTo>
                  <a:pt x="8009" y="128"/>
                </a:lnTo>
                <a:lnTo>
                  <a:pt x="8015" y="124"/>
                </a:lnTo>
                <a:lnTo>
                  <a:pt x="8023" y="120"/>
                </a:lnTo>
                <a:lnTo>
                  <a:pt x="8023" y="120"/>
                </a:lnTo>
                <a:lnTo>
                  <a:pt x="7871" y="172"/>
                </a:lnTo>
                <a:lnTo>
                  <a:pt x="7871" y="172"/>
                </a:lnTo>
                <a:lnTo>
                  <a:pt x="7879" y="170"/>
                </a:lnTo>
                <a:lnTo>
                  <a:pt x="7875" y="172"/>
                </a:lnTo>
                <a:lnTo>
                  <a:pt x="7859" y="180"/>
                </a:lnTo>
                <a:lnTo>
                  <a:pt x="7859" y="180"/>
                </a:lnTo>
                <a:lnTo>
                  <a:pt x="7833" y="188"/>
                </a:lnTo>
                <a:lnTo>
                  <a:pt x="7811" y="194"/>
                </a:lnTo>
                <a:lnTo>
                  <a:pt x="7811" y="194"/>
                </a:lnTo>
                <a:lnTo>
                  <a:pt x="7829" y="188"/>
                </a:lnTo>
                <a:lnTo>
                  <a:pt x="7849" y="180"/>
                </a:lnTo>
                <a:lnTo>
                  <a:pt x="7847" y="178"/>
                </a:lnTo>
                <a:lnTo>
                  <a:pt x="7847" y="178"/>
                </a:lnTo>
                <a:lnTo>
                  <a:pt x="7891" y="162"/>
                </a:lnTo>
                <a:lnTo>
                  <a:pt x="7947" y="140"/>
                </a:lnTo>
                <a:lnTo>
                  <a:pt x="7947" y="140"/>
                </a:lnTo>
                <a:lnTo>
                  <a:pt x="7983" y="126"/>
                </a:lnTo>
                <a:lnTo>
                  <a:pt x="8045" y="104"/>
                </a:lnTo>
                <a:lnTo>
                  <a:pt x="8025" y="110"/>
                </a:lnTo>
                <a:lnTo>
                  <a:pt x="8025" y="110"/>
                </a:lnTo>
                <a:lnTo>
                  <a:pt x="8045" y="102"/>
                </a:lnTo>
                <a:lnTo>
                  <a:pt x="8053" y="102"/>
                </a:lnTo>
                <a:lnTo>
                  <a:pt x="8061" y="98"/>
                </a:lnTo>
                <a:lnTo>
                  <a:pt x="8087" y="88"/>
                </a:lnTo>
                <a:lnTo>
                  <a:pt x="8087" y="88"/>
                </a:lnTo>
                <a:lnTo>
                  <a:pt x="8125" y="80"/>
                </a:lnTo>
                <a:lnTo>
                  <a:pt x="8133" y="80"/>
                </a:lnTo>
                <a:lnTo>
                  <a:pt x="8123" y="84"/>
                </a:lnTo>
                <a:lnTo>
                  <a:pt x="8123" y="84"/>
                </a:lnTo>
                <a:lnTo>
                  <a:pt x="8167" y="68"/>
                </a:lnTo>
                <a:lnTo>
                  <a:pt x="8210" y="54"/>
                </a:lnTo>
                <a:lnTo>
                  <a:pt x="8210" y="54"/>
                </a:lnTo>
                <a:lnTo>
                  <a:pt x="8218" y="52"/>
                </a:lnTo>
                <a:lnTo>
                  <a:pt x="8214" y="56"/>
                </a:lnTo>
                <a:lnTo>
                  <a:pt x="8206" y="58"/>
                </a:lnTo>
                <a:lnTo>
                  <a:pt x="8204" y="60"/>
                </a:lnTo>
                <a:lnTo>
                  <a:pt x="8204" y="60"/>
                </a:lnTo>
                <a:lnTo>
                  <a:pt x="8204" y="60"/>
                </a:lnTo>
                <a:lnTo>
                  <a:pt x="8240" y="48"/>
                </a:lnTo>
                <a:lnTo>
                  <a:pt x="8248" y="44"/>
                </a:lnTo>
                <a:lnTo>
                  <a:pt x="8242" y="46"/>
                </a:lnTo>
                <a:lnTo>
                  <a:pt x="8290" y="30"/>
                </a:lnTo>
                <a:lnTo>
                  <a:pt x="8290" y="30"/>
                </a:lnTo>
                <a:lnTo>
                  <a:pt x="8268" y="38"/>
                </a:lnTo>
                <a:lnTo>
                  <a:pt x="8268" y="38"/>
                </a:lnTo>
                <a:lnTo>
                  <a:pt x="8332" y="14"/>
                </a:lnTo>
                <a:lnTo>
                  <a:pt x="8332" y="14"/>
                </a:lnTo>
                <a:lnTo>
                  <a:pt x="8310" y="22"/>
                </a:lnTo>
                <a:lnTo>
                  <a:pt x="8310" y="22"/>
                </a:lnTo>
                <a:lnTo>
                  <a:pt x="8368" y="0"/>
                </a:lnTo>
                <a:lnTo>
                  <a:pt x="8368" y="0"/>
                </a:lnTo>
                <a:lnTo>
                  <a:pt x="8338" y="10"/>
                </a:lnTo>
                <a:lnTo>
                  <a:pt x="8306" y="22"/>
                </a:lnTo>
                <a:lnTo>
                  <a:pt x="8306" y="22"/>
                </a:lnTo>
                <a:lnTo>
                  <a:pt x="8312" y="18"/>
                </a:lnTo>
                <a:lnTo>
                  <a:pt x="8330" y="12"/>
                </a:lnTo>
                <a:lnTo>
                  <a:pt x="8330" y="12"/>
                </a:lnTo>
                <a:lnTo>
                  <a:pt x="8292" y="24"/>
                </a:lnTo>
                <a:lnTo>
                  <a:pt x="8268" y="30"/>
                </a:lnTo>
                <a:lnTo>
                  <a:pt x="8268" y="30"/>
                </a:lnTo>
                <a:lnTo>
                  <a:pt x="8294" y="22"/>
                </a:lnTo>
                <a:lnTo>
                  <a:pt x="8306" y="16"/>
                </a:lnTo>
                <a:lnTo>
                  <a:pt x="8306" y="16"/>
                </a:lnTo>
                <a:lnTo>
                  <a:pt x="8238" y="40"/>
                </a:lnTo>
                <a:lnTo>
                  <a:pt x="8238" y="40"/>
                </a:lnTo>
                <a:lnTo>
                  <a:pt x="8224" y="44"/>
                </a:lnTo>
                <a:lnTo>
                  <a:pt x="8202" y="52"/>
                </a:lnTo>
                <a:lnTo>
                  <a:pt x="8183" y="58"/>
                </a:lnTo>
                <a:lnTo>
                  <a:pt x="8181" y="58"/>
                </a:lnTo>
                <a:lnTo>
                  <a:pt x="8187" y="56"/>
                </a:lnTo>
                <a:lnTo>
                  <a:pt x="8187" y="56"/>
                </a:lnTo>
                <a:lnTo>
                  <a:pt x="8141" y="72"/>
                </a:lnTo>
                <a:lnTo>
                  <a:pt x="8141" y="72"/>
                </a:lnTo>
                <a:lnTo>
                  <a:pt x="8161" y="64"/>
                </a:lnTo>
                <a:lnTo>
                  <a:pt x="8194" y="52"/>
                </a:lnTo>
                <a:lnTo>
                  <a:pt x="8194" y="52"/>
                </a:lnTo>
                <a:lnTo>
                  <a:pt x="8226" y="40"/>
                </a:lnTo>
                <a:lnTo>
                  <a:pt x="8228" y="40"/>
                </a:lnTo>
                <a:lnTo>
                  <a:pt x="8224" y="42"/>
                </a:lnTo>
                <a:lnTo>
                  <a:pt x="8212" y="46"/>
                </a:lnTo>
                <a:lnTo>
                  <a:pt x="8208" y="48"/>
                </a:lnTo>
                <a:lnTo>
                  <a:pt x="8212" y="48"/>
                </a:lnTo>
                <a:lnTo>
                  <a:pt x="8268" y="28"/>
                </a:lnTo>
                <a:lnTo>
                  <a:pt x="8268" y="28"/>
                </a:lnTo>
                <a:lnTo>
                  <a:pt x="8272" y="26"/>
                </a:lnTo>
                <a:lnTo>
                  <a:pt x="8254" y="32"/>
                </a:lnTo>
                <a:lnTo>
                  <a:pt x="8254" y="32"/>
                </a:lnTo>
                <a:lnTo>
                  <a:pt x="8290" y="18"/>
                </a:lnTo>
                <a:lnTo>
                  <a:pt x="8334" y="2"/>
                </a:lnTo>
                <a:lnTo>
                  <a:pt x="8334" y="2"/>
                </a:lnTo>
                <a:lnTo>
                  <a:pt x="8328" y="4"/>
                </a:lnTo>
                <a:lnTo>
                  <a:pt x="8314" y="10"/>
                </a:lnTo>
                <a:lnTo>
                  <a:pt x="8314" y="10"/>
                </a:lnTo>
                <a:lnTo>
                  <a:pt x="8330" y="2"/>
                </a:lnTo>
                <a:lnTo>
                  <a:pt x="8332" y="0"/>
                </a:lnTo>
                <a:lnTo>
                  <a:pt x="8330" y="2"/>
                </a:lnTo>
                <a:lnTo>
                  <a:pt x="8308" y="8"/>
                </a:lnTo>
                <a:lnTo>
                  <a:pt x="8308" y="8"/>
                </a:lnTo>
                <a:lnTo>
                  <a:pt x="8310" y="8"/>
                </a:lnTo>
                <a:lnTo>
                  <a:pt x="8306" y="10"/>
                </a:lnTo>
                <a:lnTo>
                  <a:pt x="8302" y="12"/>
                </a:lnTo>
                <a:lnTo>
                  <a:pt x="8310" y="10"/>
                </a:lnTo>
                <a:lnTo>
                  <a:pt x="8310" y="10"/>
                </a:lnTo>
                <a:lnTo>
                  <a:pt x="8272" y="22"/>
                </a:lnTo>
                <a:lnTo>
                  <a:pt x="8258" y="26"/>
                </a:lnTo>
                <a:lnTo>
                  <a:pt x="8256" y="26"/>
                </a:lnTo>
                <a:lnTo>
                  <a:pt x="8260" y="24"/>
                </a:lnTo>
                <a:lnTo>
                  <a:pt x="8177" y="54"/>
                </a:lnTo>
                <a:lnTo>
                  <a:pt x="8177" y="54"/>
                </a:lnTo>
                <a:lnTo>
                  <a:pt x="8183" y="50"/>
                </a:lnTo>
                <a:lnTo>
                  <a:pt x="8202" y="44"/>
                </a:lnTo>
                <a:lnTo>
                  <a:pt x="8137" y="66"/>
                </a:lnTo>
                <a:lnTo>
                  <a:pt x="8157" y="62"/>
                </a:lnTo>
                <a:lnTo>
                  <a:pt x="8157" y="62"/>
                </a:lnTo>
                <a:lnTo>
                  <a:pt x="8095" y="84"/>
                </a:lnTo>
                <a:lnTo>
                  <a:pt x="8041" y="104"/>
                </a:lnTo>
                <a:lnTo>
                  <a:pt x="8041" y="104"/>
                </a:lnTo>
                <a:lnTo>
                  <a:pt x="8065" y="94"/>
                </a:lnTo>
                <a:lnTo>
                  <a:pt x="8103" y="80"/>
                </a:lnTo>
                <a:lnTo>
                  <a:pt x="8103" y="80"/>
                </a:lnTo>
                <a:lnTo>
                  <a:pt x="8089" y="84"/>
                </a:lnTo>
                <a:lnTo>
                  <a:pt x="8081" y="88"/>
                </a:lnTo>
                <a:lnTo>
                  <a:pt x="8047" y="100"/>
                </a:lnTo>
                <a:lnTo>
                  <a:pt x="8047" y="100"/>
                </a:lnTo>
                <a:lnTo>
                  <a:pt x="8041" y="100"/>
                </a:lnTo>
                <a:lnTo>
                  <a:pt x="8043" y="100"/>
                </a:lnTo>
                <a:lnTo>
                  <a:pt x="8011" y="112"/>
                </a:lnTo>
                <a:lnTo>
                  <a:pt x="8011" y="112"/>
                </a:lnTo>
                <a:lnTo>
                  <a:pt x="8007" y="114"/>
                </a:lnTo>
                <a:lnTo>
                  <a:pt x="8011" y="112"/>
                </a:lnTo>
                <a:lnTo>
                  <a:pt x="8011" y="112"/>
                </a:lnTo>
                <a:lnTo>
                  <a:pt x="7989" y="120"/>
                </a:lnTo>
                <a:lnTo>
                  <a:pt x="7983" y="124"/>
                </a:lnTo>
                <a:lnTo>
                  <a:pt x="7941" y="138"/>
                </a:lnTo>
                <a:lnTo>
                  <a:pt x="7941" y="138"/>
                </a:lnTo>
                <a:lnTo>
                  <a:pt x="7981" y="126"/>
                </a:lnTo>
                <a:lnTo>
                  <a:pt x="8015" y="112"/>
                </a:lnTo>
                <a:lnTo>
                  <a:pt x="8015" y="112"/>
                </a:lnTo>
                <a:lnTo>
                  <a:pt x="8019" y="112"/>
                </a:lnTo>
                <a:lnTo>
                  <a:pt x="8017" y="112"/>
                </a:lnTo>
                <a:lnTo>
                  <a:pt x="8001" y="120"/>
                </a:lnTo>
                <a:lnTo>
                  <a:pt x="7963" y="134"/>
                </a:lnTo>
                <a:lnTo>
                  <a:pt x="7963" y="134"/>
                </a:lnTo>
                <a:lnTo>
                  <a:pt x="7923" y="146"/>
                </a:lnTo>
                <a:lnTo>
                  <a:pt x="7879" y="160"/>
                </a:lnTo>
                <a:lnTo>
                  <a:pt x="7879" y="160"/>
                </a:lnTo>
                <a:lnTo>
                  <a:pt x="7895" y="154"/>
                </a:lnTo>
                <a:lnTo>
                  <a:pt x="7923" y="144"/>
                </a:lnTo>
                <a:lnTo>
                  <a:pt x="7923" y="144"/>
                </a:lnTo>
                <a:lnTo>
                  <a:pt x="7933" y="140"/>
                </a:lnTo>
                <a:lnTo>
                  <a:pt x="7925" y="142"/>
                </a:lnTo>
                <a:lnTo>
                  <a:pt x="7905" y="148"/>
                </a:lnTo>
                <a:lnTo>
                  <a:pt x="7905" y="148"/>
                </a:lnTo>
                <a:lnTo>
                  <a:pt x="7901" y="150"/>
                </a:lnTo>
                <a:lnTo>
                  <a:pt x="7901" y="150"/>
                </a:lnTo>
                <a:lnTo>
                  <a:pt x="7881" y="158"/>
                </a:lnTo>
                <a:lnTo>
                  <a:pt x="7881" y="158"/>
                </a:lnTo>
                <a:lnTo>
                  <a:pt x="7829" y="178"/>
                </a:lnTo>
                <a:lnTo>
                  <a:pt x="7829" y="178"/>
                </a:lnTo>
                <a:lnTo>
                  <a:pt x="7748" y="206"/>
                </a:lnTo>
                <a:lnTo>
                  <a:pt x="7710" y="218"/>
                </a:lnTo>
                <a:lnTo>
                  <a:pt x="7680" y="229"/>
                </a:lnTo>
                <a:lnTo>
                  <a:pt x="7688" y="229"/>
                </a:lnTo>
                <a:lnTo>
                  <a:pt x="7590" y="263"/>
                </a:lnTo>
                <a:lnTo>
                  <a:pt x="7590" y="263"/>
                </a:lnTo>
                <a:lnTo>
                  <a:pt x="7606" y="255"/>
                </a:lnTo>
                <a:lnTo>
                  <a:pt x="7638" y="245"/>
                </a:lnTo>
                <a:lnTo>
                  <a:pt x="7638" y="245"/>
                </a:lnTo>
                <a:lnTo>
                  <a:pt x="7558" y="271"/>
                </a:lnTo>
                <a:lnTo>
                  <a:pt x="7494" y="295"/>
                </a:lnTo>
                <a:lnTo>
                  <a:pt x="7494" y="295"/>
                </a:lnTo>
                <a:lnTo>
                  <a:pt x="7552" y="277"/>
                </a:lnTo>
                <a:lnTo>
                  <a:pt x="7552" y="277"/>
                </a:lnTo>
                <a:lnTo>
                  <a:pt x="7530" y="287"/>
                </a:lnTo>
                <a:lnTo>
                  <a:pt x="7510" y="291"/>
                </a:lnTo>
                <a:lnTo>
                  <a:pt x="7490" y="297"/>
                </a:lnTo>
                <a:lnTo>
                  <a:pt x="7460" y="307"/>
                </a:lnTo>
                <a:lnTo>
                  <a:pt x="7460" y="307"/>
                </a:lnTo>
                <a:lnTo>
                  <a:pt x="7462" y="307"/>
                </a:lnTo>
                <a:lnTo>
                  <a:pt x="7466" y="305"/>
                </a:lnTo>
                <a:lnTo>
                  <a:pt x="7468" y="303"/>
                </a:lnTo>
                <a:lnTo>
                  <a:pt x="7462" y="303"/>
                </a:lnTo>
                <a:lnTo>
                  <a:pt x="7462" y="303"/>
                </a:lnTo>
                <a:lnTo>
                  <a:pt x="7388" y="331"/>
                </a:lnTo>
                <a:lnTo>
                  <a:pt x="7388" y="331"/>
                </a:lnTo>
                <a:lnTo>
                  <a:pt x="7384" y="331"/>
                </a:lnTo>
                <a:lnTo>
                  <a:pt x="7394" y="327"/>
                </a:lnTo>
                <a:lnTo>
                  <a:pt x="7444" y="309"/>
                </a:lnTo>
                <a:lnTo>
                  <a:pt x="7444" y="309"/>
                </a:lnTo>
                <a:lnTo>
                  <a:pt x="7502" y="289"/>
                </a:lnTo>
                <a:lnTo>
                  <a:pt x="7554" y="273"/>
                </a:lnTo>
                <a:lnTo>
                  <a:pt x="7534" y="277"/>
                </a:lnTo>
                <a:lnTo>
                  <a:pt x="7534" y="277"/>
                </a:lnTo>
                <a:lnTo>
                  <a:pt x="7624" y="247"/>
                </a:lnTo>
                <a:lnTo>
                  <a:pt x="7624" y="247"/>
                </a:lnTo>
                <a:lnTo>
                  <a:pt x="7638" y="239"/>
                </a:lnTo>
                <a:lnTo>
                  <a:pt x="7622" y="245"/>
                </a:lnTo>
                <a:lnTo>
                  <a:pt x="7622" y="245"/>
                </a:lnTo>
                <a:lnTo>
                  <a:pt x="7678" y="222"/>
                </a:lnTo>
                <a:lnTo>
                  <a:pt x="7678" y="222"/>
                </a:lnTo>
                <a:lnTo>
                  <a:pt x="7648" y="235"/>
                </a:lnTo>
                <a:lnTo>
                  <a:pt x="7628" y="243"/>
                </a:lnTo>
                <a:lnTo>
                  <a:pt x="7598" y="255"/>
                </a:lnTo>
                <a:lnTo>
                  <a:pt x="7598" y="255"/>
                </a:lnTo>
                <a:lnTo>
                  <a:pt x="7544" y="273"/>
                </a:lnTo>
                <a:lnTo>
                  <a:pt x="7522" y="279"/>
                </a:lnTo>
                <a:lnTo>
                  <a:pt x="7500" y="287"/>
                </a:lnTo>
                <a:lnTo>
                  <a:pt x="7500" y="287"/>
                </a:lnTo>
                <a:lnTo>
                  <a:pt x="7488" y="289"/>
                </a:lnTo>
                <a:lnTo>
                  <a:pt x="7484" y="291"/>
                </a:lnTo>
                <a:lnTo>
                  <a:pt x="7492" y="287"/>
                </a:lnTo>
                <a:lnTo>
                  <a:pt x="7492" y="287"/>
                </a:lnTo>
                <a:lnTo>
                  <a:pt x="7524" y="275"/>
                </a:lnTo>
                <a:lnTo>
                  <a:pt x="7538" y="271"/>
                </a:lnTo>
                <a:lnTo>
                  <a:pt x="7538" y="271"/>
                </a:lnTo>
                <a:lnTo>
                  <a:pt x="7480" y="289"/>
                </a:lnTo>
                <a:lnTo>
                  <a:pt x="7480" y="289"/>
                </a:lnTo>
                <a:lnTo>
                  <a:pt x="7454" y="301"/>
                </a:lnTo>
                <a:lnTo>
                  <a:pt x="7410" y="317"/>
                </a:lnTo>
                <a:lnTo>
                  <a:pt x="7410" y="317"/>
                </a:lnTo>
                <a:lnTo>
                  <a:pt x="7360" y="335"/>
                </a:lnTo>
                <a:lnTo>
                  <a:pt x="7311" y="349"/>
                </a:lnTo>
                <a:lnTo>
                  <a:pt x="7311" y="349"/>
                </a:lnTo>
                <a:lnTo>
                  <a:pt x="7356" y="335"/>
                </a:lnTo>
                <a:lnTo>
                  <a:pt x="7366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68" y="329"/>
                </a:lnTo>
                <a:lnTo>
                  <a:pt x="7329" y="341"/>
                </a:lnTo>
                <a:lnTo>
                  <a:pt x="7315" y="345"/>
                </a:lnTo>
                <a:lnTo>
                  <a:pt x="7313" y="347"/>
                </a:lnTo>
                <a:lnTo>
                  <a:pt x="7313" y="347"/>
                </a:lnTo>
                <a:lnTo>
                  <a:pt x="7313" y="347"/>
                </a:lnTo>
                <a:lnTo>
                  <a:pt x="7249" y="367"/>
                </a:lnTo>
                <a:lnTo>
                  <a:pt x="7223" y="375"/>
                </a:lnTo>
                <a:lnTo>
                  <a:pt x="7209" y="377"/>
                </a:lnTo>
                <a:lnTo>
                  <a:pt x="7209" y="377"/>
                </a:lnTo>
                <a:lnTo>
                  <a:pt x="7309" y="347"/>
                </a:lnTo>
                <a:lnTo>
                  <a:pt x="7309" y="347"/>
                </a:lnTo>
                <a:lnTo>
                  <a:pt x="7297" y="349"/>
                </a:lnTo>
                <a:lnTo>
                  <a:pt x="7295" y="349"/>
                </a:lnTo>
                <a:lnTo>
                  <a:pt x="7297" y="349"/>
                </a:lnTo>
                <a:lnTo>
                  <a:pt x="7341" y="335"/>
                </a:lnTo>
                <a:lnTo>
                  <a:pt x="7341" y="335"/>
                </a:lnTo>
                <a:lnTo>
                  <a:pt x="7309" y="343"/>
                </a:lnTo>
                <a:lnTo>
                  <a:pt x="7271" y="355"/>
                </a:lnTo>
                <a:lnTo>
                  <a:pt x="7271" y="355"/>
                </a:lnTo>
                <a:lnTo>
                  <a:pt x="7275" y="355"/>
                </a:lnTo>
                <a:lnTo>
                  <a:pt x="7241" y="365"/>
                </a:lnTo>
                <a:lnTo>
                  <a:pt x="7239" y="365"/>
                </a:lnTo>
                <a:lnTo>
                  <a:pt x="7239" y="365"/>
                </a:lnTo>
                <a:lnTo>
                  <a:pt x="7173" y="385"/>
                </a:lnTo>
                <a:lnTo>
                  <a:pt x="7087" y="411"/>
                </a:lnTo>
                <a:lnTo>
                  <a:pt x="7093" y="409"/>
                </a:lnTo>
                <a:lnTo>
                  <a:pt x="7093" y="409"/>
                </a:lnTo>
                <a:lnTo>
                  <a:pt x="7065" y="417"/>
                </a:lnTo>
                <a:lnTo>
                  <a:pt x="7045" y="425"/>
                </a:lnTo>
                <a:lnTo>
                  <a:pt x="7023" y="433"/>
                </a:lnTo>
                <a:lnTo>
                  <a:pt x="6993" y="443"/>
                </a:lnTo>
                <a:lnTo>
                  <a:pt x="6993" y="443"/>
                </a:lnTo>
                <a:lnTo>
                  <a:pt x="7001" y="439"/>
                </a:lnTo>
                <a:lnTo>
                  <a:pt x="6997" y="439"/>
                </a:lnTo>
                <a:lnTo>
                  <a:pt x="6997" y="439"/>
                </a:lnTo>
                <a:lnTo>
                  <a:pt x="6965" y="447"/>
                </a:lnTo>
                <a:lnTo>
                  <a:pt x="6933" y="455"/>
                </a:lnTo>
                <a:lnTo>
                  <a:pt x="6933" y="455"/>
                </a:lnTo>
                <a:lnTo>
                  <a:pt x="6943" y="453"/>
                </a:lnTo>
                <a:lnTo>
                  <a:pt x="6937" y="455"/>
                </a:lnTo>
                <a:lnTo>
                  <a:pt x="6929" y="459"/>
                </a:lnTo>
                <a:lnTo>
                  <a:pt x="6935" y="457"/>
                </a:lnTo>
                <a:lnTo>
                  <a:pt x="6935" y="457"/>
                </a:lnTo>
                <a:lnTo>
                  <a:pt x="6926" y="461"/>
                </a:lnTo>
                <a:lnTo>
                  <a:pt x="6906" y="467"/>
                </a:lnTo>
                <a:lnTo>
                  <a:pt x="6856" y="481"/>
                </a:lnTo>
                <a:lnTo>
                  <a:pt x="6856" y="481"/>
                </a:lnTo>
                <a:lnTo>
                  <a:pt x="6854" y="481"/>
                </a:lnTo>
                <a:lnTo>
                  <a:pt x="6856" y="479"/>
                </a:lnTo>
                <a:lnTo>
                  <a:pt x="6862" y="477"/>
                </a:lnTo>
                <a:lnTo>
                  <a:pt x="6886" y="471"/>
                </a:lnTo>
                <a:lnTo>
                  <a:pt x="6906" y="465"/>
                </a:lnTo>
                <a:lnTo>
                  <a:pt x="6908" y="463"/>
                </a:lnTo>
                <a:lnTo>
                  <a:pt x="6898" y="465"/>
                </a:lnTo>
                <a:lnTo>
                  <a:pt x="6898" y="465"/>
                </a:lnTo>
                <a:lnTo>
                  <a:pt x="6874" y="473"/>
                </a:lnTo>
                <a:lnTo>
                  <a:pt x="6884" y="471"/>
                </a:lnTo>
                <a:lnTo>
                  <a:pt x="6884" y="471"/>
                </a:lnTo>
                <a:lnTo>
                  <a:pt x="6826" y="485"/>
                </a:lnTo>
                <a:lnTo>
                  <a:pt x="6774" y="497"/>
                </a:lnTo>
                <a:lnTo>
                  <a:pt x="6774" y="497"/>
                </a:lnTo>
                <a:lnTo>
                  <a:pt x="6728" y="511"/>
                </a:lnTo>
                <a:lnTo>
                  <a:pt x="6694" y="521"/>
                </a:lnTo>
                <a:lnTo>
                  <a:pt x="6694" y="521"/>
                </a:lnTo>
                <a:lnTo>
                  <a:pt x="6716" y="515"/>
                </a:lnTo>
                <a:lnTo>
                  <a:pt x="6742" y="507"/>
                </a:lnTo>
                <a:lnTo>
                  <a:pt x="6714" y="517"/>
                </a:lnTo>
                <a:lnTo>
                  <a:pt x="6714" y="517"/>
                </a:lnTo>
                <a:lnTo>
                  <a:pt x="6660" y="529"/>
                </a:lnTo>
                <a:lnTo>
                  <a:pt x="6616" y="539"/>
                </a:lnTo>
                <a:lnTo>
                  <a:pt x="6644" y="531"/>
                </a:lnTo>
                <a:lnTo>
                  <a:pt x="6642" y="531"/>
                </a:lnTo>
                <a:lnTo>
                  <a:pt x="6642" y="531"/>
                </a:lnTo>
                <a:lnTo>
                  <a:pt x="6670" y="525"/>
                </a:lnTo>
                <a:lnTo>
                  <a:pt x="6686" y="519"/>
                </a:lnTo>
                <a:lnTo>
                  <a:pt x="6686" y="519"/>
                </a:lnTo>
                <a:lnTo>
                  <a:pt x="6650" y="529"/>
                </a:lnTo>
                <a:lnTo>
                  <a:pt x="6606" y="539"/>
                </a:lnTo>
                <a:lnTo>
                  <a:pt x="6608" y="539"/>
                </a:lnTo>
                <a:lnTo>
                  <a:pt x="6608" y="539"/>
                </a:lnTo>
                <a:lnTo>
                  <a:pt x="6566" y="549"/>
                </a:lnTo>
                <a:lnTo>
                  <a:pt x="6528" y="557"/>
                </a:lnTo>
                <a:lnTo>
                  <a:pt x="6495" y="563"/>
                </a:lnTo>
                <a:lnTo>
                  <a:pt x="6465" y="571"/>
                </a:lnTo>
                <a:lnTo>
                  <a:pt x="6465" y="571"/>
                </a:lnTo>
                <a:lnTo>
                  <a:pt x="6485" y="567"/>
                </a:lnTo>
                <a:lnTo>
                  <a:pt x="6493" y="567"/>
                </a:lnTo>
                <a:lnTo>
                  <a:pt x="6493" y="567"/>
                </a:lnTo>
                <a:lnTo>
                  <a:pt x="6491" y="567"/>
                </a:lnTo>
                <a:lnTo>
                  <a:pt x="6491" y="567"/>
                </a:lnTo>
                <a:lnTo>
                  <a:pt x="6461" y="573"/>
                </a:lnTo>
                <a:lnTo>
                  <a:pt x="6443" y="575"/>
                </a:lnTo>
                <a:lnTo>
                  <a:pt x="6455" y="573"/>
                </a:lnTo>
                <a:lnTo>
                  <a:pt x="6455" y="573"/>
                </a:lnTo>
                <a:lnTo>
                  <a:pt x="6387" y="587"/>
                </a:lnTo>
                <a:lnTo>
                  <a:pt x="6387" y="587"/>
                </a:lnTo>
                <a:lnTo>
                  <a:pt x="6381" y="589"/>
                </a:lnTo>
                <a:lnTo>
                  <a:pt x="6363" y="593"/>
                </a:lnTo>
                <a:lnTo>
                  <a:pt x="6363" y="593"/>
                </a:lnTo>
                <a:lnTo>
                  <a:pt x="6341" y="597"/>
                </a:lnTo>
                <a:lnTo>
                  <a:pt x="6349" y="595"/>
                </a:lnTo>
                <a:lnTo>
                  <a:pt x="6359" y="593"/>
                </a:lnTo>
                <a:lnTo>
                  <a:pt x="6347" y="593"/>
                </a:lnTo>
                <a:lnTo>
                  <a:pt x="6291" y="605"/>
                </a:lnTo>
                <a:lnTo>
                  <a:pt x="6279" y="607"/>
                </a:lnTo>
                <a:lnTo>
                  <a:pt x="6279" y="607"/>
                </a:lnTo>
                <a:lnTo>
                  <a:pt x="6163" y="627"/>
                </a:lnTo>
                <a:lnTo>
                  <a:pt x="6105" y="639"/>
                </a:lnTo>
                <a:lnTo>
                  <a:pt x="6040" y="649"/>
                </a:lnTo>
                <a:lnTo>
                  <a:pt x="6040" y="649"/>
                </a:lnTo>
                <a:lnTo>
                  <a:pt x="6050" y="647"/>
                </a:lnTo>
                <a:lnTo>
                  <a:pt x="6074" y="641"/>
                </a:lnTo>
                <a:lnTo>
                  <a:pt x="6127" y="633"/>
                </a:lnTo>
                <a:lnTo>
                  <a:pt x="6127" y="633"/>
                </a:lnTo>
                <a:lnTo>
                  <a:pt x="6076" y="641"/>
                </a:lnTo>
                <a:lnTo>
                  <a:pt x="6020" y="649"/>
                </a:lnTo>
                <a:lnTo>
                  <a:pt x="6020" y="649"/>
                </a:lnTo>
                <a:lnTo>
                  <a:pt x="5978" y="655"/>
                </a:lnTo>
                <a:lnTo>
                  <a:pt x="5968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66" y="659"/>
                </a:lnTo>
                <a:lnTo>
                  <a:pt x="5934" y="663"/>
                </a:lnTo>
                <a:lnTo>
                  <a:pt x="5930" y="663"/>
                </a:lnTo>
                <a:lnTo>
                  <a:pt x="5930" y="663"/>
                </a:lnTo>
                <a:lnTo>
                  <a:pt x="5888" y="671"/>
                </a:lnTo>
                <a:lnTo>
                  <a:pt x="5828" y="680"/>
                </a:lnTo>
                <a:lnTo>
                  <a:pt x="5828" y="680"/>
                </a:lnTo>
                <a:lnTo>
                  <a:pt x="5774" y="688"/>
                </a:lnTo>
                <a:lnTo>
                  <a:pt x="5774" y="688"/>
                </a:lnTo>
                <a:lnTo>
                  <a:pt x="5780" y="688"/>
                </a:lnTo>
                <a:lnTo>
                  <a:pt x="5776" y="690"/>
                </a:lnTo>
                <a:lnTo>
                  <a:pt x="5762" y="692"/>
                </a:lnTo>
                <a:lnTo>
                  <a:pt x="5762" y="692"/>
                </a:lnTo>
                <a:lnTo>
                  <a:pt x="5804" y="688"/>
                </a:lnTo>
                <a:lnTo>
                  <a:pt x="5848" y="680"/>
                </a:lnTo>
                <a:lnTo>
                  <a:pt x="5892" y="673"/>
                </a:lnTo>
                <a:lnTo>
                  <a:pt x="5934" y="667"/>
                </a:lnTo>
                <a:lnTo>
                  <a:pt x="5934" y="667"/>
                </a:lnTo>
                <a:lnTo>
                  <a:pt x="5928" y="669"/>
                </a:lnTo>
                <a:lnTo>
                  <a:pt x="5928" y="669"/>
                </a:lnTo>
                <a:lnTo>
                  <a:pt x="5930" y="669"/>
                </a:lnTo>
                <a:lnTo>
                  <a:pt x="5924" y="671"/>
                </a:lnTo>
                <a:lnTo>
                  <a:pt x="5924" y="671"/>
                </a:lnTo>
                <a:lnTo>
                  <a:pt x="5906" y="673"/>
                </a:lnTo>
                <a:lnTo>
                  <a:pt x="5906" y="673"/>
                </a:lnTo>
                <a:lnTo>
                  <a:pt x="5890" y="677"/>
                </a:lnTo>
                <a:lnTo>
                  <a:pt x="5904" y="675"/>
                </a:lnTo>
                <a:lnTo>
                  <a:pt x="5904" y="675"/>
                </a:lnTo>
                <a:lnTo>
                  <a:pt x="5894" y="677"/>
                </a:lnTo>
                <a:lnTo>
                  <a:pt x="5870" y="682"/>
                </a:lnTo>
                <a:lnTo>
                  <a:pt x="5806" y="692"/>
                </a:lnTo>
                <a:lnTo>
                  <a:pt x="5806" y="692"/>
                </a:lnTo>
                <a:lnTo>
                  <a:pt x="5798" y="692"/>
                </a:lnTo>
                <a:lnTo>
                  <a:pt x="5812" y="690"/>
                </a:lnTo>
                <a:lnTo>
                  <a:pt x="5854" y="682"/>
                </a:lnTo>
                <a:lnTo>
                  <a:pt x="5854" y="682"/>
                </a:lnTo>
                <a:lnTo>
                  <a:pt x="5832" y="686"/>
                </a:lnTo>
                <a:lnTo>
                  <a:pt x="5804" y="690"/>
                </a:lnTo>
                <a:lnTo>
                  <a:pt x="5810" y="686"/>
                </a:lnTo>
                <a:lnTo>
                  <a:pt x="5810" y="686"/>
                </a:lnTo>
                <a:lnTo>
                  <a:pt x="5780" y="692"/>
                </a:lnTo>
                <a:lnTo>
                  <a:pt x="5784" y="692"/>
                </a:lnTo>
                <a:lnTo>
                  <a:pt x="5786" y="692"/>
                </a:lnTo>
                <a:lnTo>
                  <a:pt x="5782" y="694"/>
                </a:lnTo>
                <a:lnTo>
                  <a:pt x="5782" y="694"/>
                </a:lnTo>
                <a:lnTo>
                  <a:pt x="5768" y="696"/>
                </a:lnTo>
                <a:lnTo>
                  <a:pt x="5750" y="698"/>
                </a:lnTo>
                <a:lnTo>
                  <a:pt x="5718" y="702"/>
                </a:lnTo>
                <a:lnTo>
                  <a:pt x="5734" y="700"/>
                </a:lnTo>
                <a:lnTo>
                  <a:pt x="5734" y="700"/>
                </a:lnTo>
                <a:lnTo>
                  <a:pt x="5688" y="706"/>
                </a:lnTo>
                <a:lnTo>
                  <a:pt x="5643" y="712"/>
                </a:lnTo>
                <a:lnTo>
                  <a:pt x="5625" y="714"/>
                </a:lnTo>
                <a:lnTo>
                  <a:pt x="5625" y="714"/>
                </a:lnTo>
                <a:lnTo>
                  <a:pt x="5655" y="710"/>
                </a:lnTo>
                <a:lnTo>
                  <a:pt x="5676" y="706"/>
                </a:lnTo>
                <a:lnTo>
                  <a:pt x="5694" y="704"/>
                </a:lnTo>
                <a:lnTo>
                  <a:pt x="5712" y="700"/>
                </a:lnTo>
                <a:lnTo>
                  <a:pt x="5712" y="700"/>
                </a:lnTo>
                <a:lnTo>
                  <a:pt x="5684" y="702"/>
                </a:lnTo>
                <a:lnTo>
                  <a:pt x="5696" y="700"/>
                </a:lnTo>
                <a:lnTo>
                  <a:pt x="5748" y="690"/>
                </a:lnTo>
                <a:lnTo>
                  <a:pt x="5748" y="690"/>
                </a:lnTo>
                <a:lnTo>
                  <a:pt x="5674" y="700"/>
                </a:lnTo>
                <a:lnTo>
                  <a:pt x="5674" y="700"/>
                </a:lnTo>
                <a:lnTo>
                  <a:pt x="5639" y="704"/>
                </a:lnTo>
                <a:lnTo>
                  <a:pt x="5605" y="710"/>
                </a:lnTo>
                <a:lnTo>
                  <a:pt x="5571" y="714"/>
                </a:lnTo>
                <a:lnTo>
                  <a:pt x="5537" y="718"/>
                </a:lnTo>
                <a:lnTo>
                  <a:pt x="5537" y="718"/>
                </a:lnTo>
                <a:lnTo>
                  <a:pt x="5531" y="718"/>
                </a:lnTo>
                <a:lnTo>
                  <a:pt x="5537" y="718"/>
                </a:lnTo>
                <a:lnTo>
                  <a:pt x="5541" y="716"/>
                </a:lnTo>
                <a:lnTo>
                  <a:pt x="5533" y="718"/>
                </a:lnTo>
                <a:lnTo>
                  <a:pt x="5533" y="718"/>
                </a:lnTo>
                <a:lnTo>
                  <a:pt x="5391" y="736"/>
                </a:lnTo>
                <a:lnTo>
                  <a:pt x="5391" y="736"/>
                </a:lnTo>
                <a:lnTo>
                  <a:pt x="5371" y="738"/>
                </a:lnTo>
                <a:lnTo>
                  <a:pt x="5363" y="736"/>
                </a:lnTo>
                <a:lnTo>
                  <a:pt x="5363" y="736"/>
                </a:lnTo>
                <a:lnTo>
                  <a:pt x="5285" y="746"/>
                </a:lnTo>
                <a:lnTo>
                  <a:pt x="5218" y="754"/>
                </a:lnTo>
                <a:lnTo>
                  <a:pt x="5150" y="762"/>
                </a:lnTo>
                <a:lnTo>
                  <a:pt x="5064" y="772"/>
                </a:lnTo>
                <a:lnTo>
                  <a:pt x="5082" y="768"/>
                </a:lnTo>
                <a:lnTo>
                  <a:pt x="5082" y="768"/>
                </a:lnTo>
                <a:lnTo>
                  <a:pt x="5046" y="772"/>
                </a:lnTo>
                <a:lnTo>
                  <a:pt x="5018" y="776"/>
                </a:lnTo>
                <a:lnTo>
                  <a:pt x="5018" y="776"/>
                </a:lnTo>
                <a:lnTo>
                  <a:pt x="4984" y="778"/>
                </a:lnTo>
                <a:lnTo>
                  <a:pt x="4940" y="784"/>
                </a:lnTo>
                <a:lnTo>
                  <a:pt x="4896" y="788"/>
                </a:lnTo>
                <a:lnTo>
                  <a:pt x="4856" y="792"/>
                </a:lnTo>
                <a:lnTo>
                  <a:pt x="4856" y="792"/>
                </a:lnTo>
                <a:lnTo>
                  <a:pt x="4797" y="798"/>
                </a:lnTo>
                <a:lnTo>
                  <a:pt x="4749" y="806"/>
                </a:lnTo>
                <a:lnTo>
                  <a:pt x="4749" y="806"/>
                </a:lnTo>
                <a:lnTo>
                  <a:pt x="4753" y="804"/>
                </a:lnTo>
                <a:lnTo>
                  <a:pt x="4739" y="804"/>
                </a:lnTo>
                <a:lnTo>
                  <a:pt x="4739" y="804"/>
                </a:lnTo>
                <a:lnTo>
                  <a:pt x="4288" y="854"/>
                </a:lnTo>
                <a:lnTo>
                  <a:pt x="4288" y="854"/>
                </a:lnTo>
                <a:lnTo>
                  <a:pt x="4302" y="852"/>
                </a:lnTo>
                <a:lnTo>
                  <a:pt x="4302" y="852"/>
                </a:lnTo>
                <a:lnTo>
                  <a:pt x="4146" y="868"/>
                </a:lnTo>
                <a:lnTo>
                  <a:pt x="4002" y="884"/>
                </a:lnTo>
                <a:lnTo>
                  <a:pt x="4002" y="884"/>
                </a:lnTo>
                <a:lnTo>
                  <a:pt x="3963" y="888"/>
                </a:lnTo>
                <a:lnTo>
                  <a:pt x="3949" y="890"/>
                </a:lnTo>
                <a:lnTo>
                  <a:pt x="3947" y="890"/>
                </a:lnTo>
                <a:lnTo>
                  <a:pt x="3951" y="892"/>
                </a:lnTo>
                <a:lnTo>
                  <a:pt x="3951" y="892"/>
                </a:lnTo>
                <a:lnTo>
                  <a:pt x="3969" y="890"/>
                </a:lnTo>
                <a:lnTo>
                  <a:pt x="3973" y="890"/>
                </a:lnTo>
                <a:lnTo>
                  <a:pt x="3973" y="892"/>
                </a:lnTo>
                <a:lnTo>
                  <a:pt x="3973" y="892"/>
                </a:lnTo>
                <a:lnTo>
                  <a:pt x="3933" y="896"/>
                </a:lnTo>
                <a:lnTo>
                  <a:pt x="3917" y="896"/>
                </a:lnTo>
                <a:lnTo>
                  <a:pt x="3907" y="896"/>
                </a:lnTo>
                <a:lnTo>
                  <a:pt x="3881" y="898"/>
                </a:lnTo>
                <a:lnTo>
                  <a:pt x="3881" y="898"/>
                </a:lnTo>
                <a:lnTo>
                  <a:pt x="3877" y="898"/>
                </a:lnTo>
                <a:lnTo>
                  <a:pt x="3879" y="898"/>
                </a:lnTo>
                <a:lnTo>
                  <a:pt x="3891" y="896"/>
                </a:lnTo>
                <a:lnTo>
                  <a:pt x="3907" y="894"/>
                </a:lnTo>
                <a:lnTo>
                  <a:pt x="3913" y="892"/>
                </a:lnTo>
                <a:lnTo>
                  <a:pt x="3837" y="902"/>
                </a:lnTo>
                <a:lnTo>
                  <a:pt x="3837" y="902"/>
                </a:lnTo>
                <a:lnTo>
                  <a:pt x="3775" y="908"/>
                </a:lnTo>
                <a:lnTo>
                  <a:pt x="3715" y="914"/>
                </a:lnTo>
                <a:lnTo>
                  <a:pt x="3715" y="914"/>
                </a:lnTo>
                <a:lnTo>
                  <a:pt x="3727" y="912"/>
                </a:lnTo>
                <a:lnTo>
                  <a:pt x="3747" y="910"/>
                </a:lnTo>
                <a:lnTo>
                  <a:pt x="3747" y="910"/>
                </a:lnTo>
                <a:lnTo>
                  <a:pt x="3743" y="910"/>
                </a:lnTo>
                <a:lnTo>
                  <a:pt x="3743" y="910"/>
                </a:lnTo>
                <a:lnTo>
                  <a:pt x="3791" y="904"/>
                </a:lnTo>
                <a:lnTo>
                  <a:pt x="3833" y="900"/>
                </a:lnTo>
                <a:lnTo>
                  <a:pt x="3833" y="900"/>
                </a:lnTo>
                <a:lnTo>
                  <a:pt x="3671" y="916"/>
                </a:lnTo>
                <a:lnTo>
                  <a:pt x="3671" y="916"/>
                </a:lnTo>
                <a:lnTo>
                  <a:pt x="3673" y="916"/>
                </a:lnTo>
                <a:lnTo>
                  <a:pt x="3669" y="918"/>
                </a:lnTo>
                <a:lnTo>
                  <a:pt x="3655" y="918"/>
                </a:lnTo>
                <a:lnTo>
                  <a:pt x="3623" y="922"/>
                </a:lnTo>
                <a:lnTo>
                  <a:pt x="3621" y="922"/>
                </a:lnTo>
                <a:lnTo>
                  <a:pt x="3621" y="922"/>
                </a:lnTo>
                <a:lnTo>
                  <a:pt x="3585" y="928"/>
                </a:lnTo>
                <a:lnTo>
                  <a:pt x="3573" y="926"/>
                </a:lnTo>
                <a:lnTo>
                  <a:pt x="3573" y="926"/>
                </a:lnTo>
                <a:lnTo>
                  <a:pt x="3566" y="928"/>
                </a:lnTo>
                <a:lnTo>
                  <a:pt x="3558" y="930"/>
                </a:lnTo>
                <a:lnTo>
                  <a:pt x="3558" y="930"/>
                </a:lnTo>
                <a:lnTo>
                  <a:pt x="3484" y="938"/>
                </a:lnTo>
                <a:lnTo>
                  <a:pt x="3446" y="940"/>
                </a:lnTo>
                <a:lnTo>
                  <a:pt x="3426" y="942"/>
                </a:lnTo>
                <a:lnTo>
                  <a:pt x="3426" y="942"/>
                </a:lnTo>
                <a:lnTo>
                  <a:pt x="3348" y="950"/>
                </a:lnTo>
                <a:lnTo>
                  <a:pt x="3348" y="950"/>
                </a:lnTo>
                <a:lnTo>
                  <a:pt x="3360" y="948"/>
                </a:lnTo>
                <a:lnTo>
                  <a:pt x="3360" y="948"/>
                </a:lnTo>
                <a:lnTo>
                  <a:pt x="3242" y="960"/>
                </a:lnTo>
                <a:lnTo>
                  <a:pt x="3125" y="970"/>
                </a:lnTo>
                <a:lnTo>
                  <a:pt x="3125" y="970"/>
                </a:lnTo>
                <a:lnTo>
                  <a:pt x="2985" y="986"/>
                </a:lnTo>
                <a:lnTo>
                  <a:pt x="2985" y="986"/>
                </a:lnTo>
                <a:lnTo>
                  <a:pt x="3017" y="982"/>
                </a:lnTo>
                <a:lnTo>
                  <a:pt x="3025" y="982"/>
                </a:lnTo>
                <a:lnTo>
                  <a:pt x="3017" y="984"/>
                </a:lnTo>
                <a:lnTo>
                  <a:pt x="3017" y="984"/>
                </a:lnTo>
                <a:lnTo>
                  <a:pt x="2955" y="990"/>
                </a:lnTo>
                <a:lnTo>
                  <a:pt x="2955" y="990"/>
                </a:lnTo>
                <a:lnTo>
                  <a:pt x="2933" y="992"/>
                </a:lnTo>
                <a:lnTo>
                  <a:pt x="2925" y="992"/>
                </a:lnTo>
                <a:lnTo>
                  <a:pt x="2943" y="990"/>
                </a:lnTo>
                <a:lnTo>
                  <a:pt x="2943" y="990"/>
                </a:lnTo>
                <a:lnTo>
                  <a:pt x="2921" y="992"/>
                </a:lnTo>
                <a:lnTo>
                  <a:pt x="2887" y="994"/>
                </a:lnTo>
                <a:lnTo>
                  <a:pt x="2855" y="998"/>
                </a:lnTo>
                <a:lnTo>
                  <a:pt x="2841" y="998"/>
                </a:lnTo>
                <a:lnTo>
                  <a:pt x="2841" y="998"/>
                </a:lnTo>
                <a:lnTo>
                  <a:pt x="2795" y="1002"/>
                </a:lnTo>
                <a:lnTo>
                  <a:pt x="2739" y="1010"/>
                </a:lnTo>
                <a:lnTo>
                  <a:pt x="2739" y="1010"/>
                </a:lnTo>
                <a:lnTo>
                  <a:pt x="2755" y="1006"/>
                </a:lnTo>
                <a:lnTo>
                  <a:pt x="2775" y="1004"/>
                </a:lnTo>
                <a:lnTo>
                  <a:pt x="2743" y="1008"/>
                </a:lnTo>
                <a:lnTo>
                  <a:pt x="2743" y="1008"/>
                </a:lnTo>
                <a:lnTo>
                  <a:pt x="2743" y="1008"/>
                </a:lnTo>
                <a:lnTo>
                  <a:pt x="2682" y="1014"/>
                </a:lnTo>
                <a:lnTo>
                  <a:pt x="2638" y="1020"/>
                </a:lnTo>
                <a:lnTo>
                  <a:pt x="2640" y="1020"/>
                </a:lnTo>
                <a:lnTo>
                  <a:pt x="2616" y="1022"/>
                </a:lnTo>
                <a:lnTo>
                  <a:pt x="2644" y="1018"/>
                </a:lnTo>
                <a:lnTo>
                  <a:pt x="2644" y="1018"/>
                </a:lnTo>
                <a:lnTo>
                  <a:pt x="2546" y="1028"/>
                </a:lnTo>
                <a:lnTo>
                  <a:pt x="2542" y="1028"/>
                </a:lnTo>
                <a:lnTo>
                  <a:pt x="2516" y="1032"/>
                </a:lnTo>
                <a:lnTo>
                  <a:pt x="2516" y="1032"/>
                </a:lnTo>
                <a:lnTo>
                  <a:pt x="2520" y="1030"/>
                </a:lnTo>
                <a:lnTo>
                  <a:pt x="2520" y="1030"/>
                </a:lnTo>
                <a:lnTo>
                  <a:pt x="2470" y="1036"/>
                </a:lnTo>
                <a:lnTo>
                  <a:pt x="2420" y="1042"/>
                </a:lnTo>
                <a:lnTo>
                  <a:pt x="2420" y="1042"/>
                </a:lnTo>
                <a:lnTo>
                  <a:pt x="2396" y="1044"/>
                </a:lnTo>
                <a:lnTo>
                  <a:pt x="2368" y="1046"/>
                </a:lnTo>
                <a:lnTo>
                  <a:pt x="2372" y="1044"/>
                </a:lnTo>
                <a:lnTo>
                  <a:pt x="2372" y="1044"/>
                </a:lnTo>
                <a:lnTo>
                  <a:pt x="2410" y="1040"/>
                </a:lnTo>
                <a:lnTo>
                  <a:pt x="2450" y="1038"/>
                </a:lnTo>
                <a:lnTo>
                  <a:pt x="2450" y="1038"/>
                </a:lnTo>
                <a:lnTo>
                  <a:pt x="2406" y="1040"/>
                </a:lnTo>
                <a:lnTo>
                  <a:pt x="2342" y="1044"/>
                </a:lnTo>
                <a:lnTo>
                  <a:pt x="2205" y="1058"/>
                </a:lnTo>
                <a:lnTo>
                  <a:pt x="2205" y="1058"/>
                </a:lnTo>
                <a:lnTo>
                  <a:pt x="2091" y="1068"/>
                </a:lnTo>
                <a:lnTo>
                  <a:pt x="2039" y="1072"/>
                </a:lnTo>
                <a:lnTo>
                  <a:pt x="2005" y="1078"/>
                </a:lnTo>
                <a:lnTo>
                  <a:pt x="2013" y="1076"/>
                </a:lnTo>
                <a:lnTo>
                  <a:pt x="1903" y="1084"/>
                </a:lnTo>
                <a:lnTo>
                  <a:pt x="1903" y="1084"/>
                </a:lnTo>
                <a:lnTo>
                  <a:pt x="1764" y="1096"/>
                </a:lnTo>
                <a:lnTo>
                  <a:pt x="1642" y="1108"/>
                </a:lnTo>
                <a:lnTo>
                  <a:pt x="1622" y="1108"/>
                </a:lnTo>
                <a:lnTo>
                  <a:pt x="1622" y="1108"/>
                </a:lnTo>
                <a:lnTo>
                  <a:pt x="1552" y="1116"/>
                </a:lnTo>
                <a:lnTo>
                  <a:pt x="1463" y="1124"/>
                </a:lnTo>
                <a:lnTo>
                  <a:pt x="1381" y="1130"/>
                </a:lnTo>
                <a:lnTo>
                  <a:pt x="1323" y="1139"/>
                </a:lnTo>
                <a:lnTo>
                  <a:pt x="1323" y="1139"/>
                </a:lnTo>
                <a:lnTo>
                  <a:pt x="1309" y="1139"/>
                </a:lnTo>
                <a:lnTo>
                  <a:pt x="1315" y="1139"/>
                </a:lnTo>
                <a:lnTo>
                  <a:pt x="1341" y="1135"/>
                </a:lnTo>
                <a:lnTo>
                  <a:pt x="1341" y="1135"/>
                </a:lnTo>
                <a:lnTo>
                  <a:pt x="1285" y="1141"/>
                </a:lnTo>
                <a:lnTo>
                  <a:pt x="1255" y="1143"/>
                </a:lnTo>
                <a:lnTo>
                  <a:pt x="1229" y="1145"/>
                </a:lnTo>
                <a:lnTo>
                  <a:pt x="1229" y="1145"/>
                </a:lnTo>
                <a:lnTo>
                  <a:pt x="1249" y="1143"/>
                </a:lnTo>
                <a:lnTo>
                  <a:pt x="1257" y="1141"/>
                </a:lnTo>
                <a:lnTo>
                  <a:pt x="1253" y="1141"/>
                </a:lnTo>
                <a:lnTo>
                  <a:pt x="1253" y="1141"/>
                </a:lnTo>
                <a:lnTo>
                  <a:pt x="1225" y="1143"/>
                </a:lnTo>
                <a:lnTo>
                  <a:pt x="1195" y="1145"/>
                </a:lnTo>
                <a:lnTo>
                  <a:pt x="1195" y="1145"/>
                </a:lnTo>
                <a:lnTo>
                  <a:pt x="1197" y="1145"/>
                </a:lnTo>
                <a:lnTo>
                  <a:pt x="1193" y="1147"/>
                </a:lnTo>
                <a:lnTo>
                  <a:pt x="1175" y="1149"/>
                </a:lnTo>
                <a:lnTo>
                  <a:pt x="1119" y="1155"/>
                </a:lnTo>
                <a:lnTo>
                  <a:pt x="1119" y="1155"/>
                </a:lnTo>
                <a:lnTo>
                  <a:pt x="1129" y="1153"/>
                </a:lnTo>
                <a:lnTo>
                  <a:pt x="1129" y="1153"/>
                </a:lnTo>
                <a:lnTo>
                  <a:pt x="1117" y="1155"/>
                </a:lnTo>
                <a:lnTo>
                  <a:pt x="1091" y="1157"/>
                </a:lnTo>
                <a:lnTo>
                  <a:pt x="1091" y="1157"/>
                </a:lnTo>
                <a:lnTo>
                  <a:pt x="1097" y="1157"/>
                </a:lnTo>
                <a:lnTo>
                  <a:pt x="1097" y="1157"/>
                </a:lnTo>
                <a:lnTo>
                  <a:pt x="790" y="1181"/>
                </a:lnTo>
                <a:lnTo>
                  <a:pt x="634" y="1191"/>
                </a:lnTo>
                <a:lnTo>
                  <a:pt x="477" y="1199"/>
                </a:lnTo>
                <a:lnTo>
                  <a:pt x="515" y="1197"/>
                </a:lnTo>
                <a:lnTo>
                  <a:pt x="515" y="1197"/>
                </a:lnTo>
                <a:lnTo>
                  <a:pt x="461" y="1199"/>
                </a:lnTo>
                <a:lnTo>
                  <a:pt x="417" y="1201"/>
                </a:lnTo>
                <a:lnTo>
                  <a:pt x="421" y="1201"/>
                </a:lnTo>
                <a:lnTo>
                  <a:pt x="421" y="1201"/>
                </a:lnTo>
                <a:lnTo>
                  <a:pt x="389" y="1203"/>
                </a:lnTo>
                <a:lnTo>
                  <a:pt x="365" y="1203"/>
                </a:lnTo>
                <a:lnTo>
                  <a:pt x="345" y="1205"/>
                </a:lnTo>
                <a:lnTo>
                  <a:pt x="319" y="1205"/>
                </a:lnTo>
                <a:lnTo>
                  <a:pt x="327" y="1205"/>
                </a:lnTo>
                <a:lnTo>
                  <a:pt x="327" y="1205"/>
                </a:lnTo>
                <a:lnTo>
                  <a:pt x="243" y="1207"/>
                </a:lnTo>
                <a:lnTo>
                  <a:pt x="158" y="1211"/>
                </a:lnTo>
                <a:lnTo>
                  <a:pt x="158" y="1211"/>
                </a:lnTo>
                <a:lnTo>
                  <a:pt x="112" y="1209"/>
                </a:lnTo>
                <a:lnTo>
                  <a:pt x="78" y="1209"/>
                </a:lnTo>
                <a:lnTo>
                  <a:pt x="78" y="1209"/>
                </a:lnTo>
                <a:lnTo>
                  <a:pt x="34" y="1209"/>
                </a:lnTo>
                <a:lnTo>
                  <a:pt x="48" y="1209"/>
                </a:lnTo>
                <a:lnTo>
                  <a:pt x="48" y="1209"/>
                </a:lnTo>
                <a:lnTo>
                  <a:pt x="52" y="1211"/>
                </a:lnTo>
                <a:lnTo>
                  <a:pt x="50" y="1211"/>
                </a:lnTo>
                <a:lnTo>
                  <a:pt x="36" y="1211"/>
                </a:lnTo>
                <a:lnTo>
                  <a:pt x="36" y="1211"/>
                </a:lnTo>
                <a:lnTo>
                  <a:pt x="16" y="1209"/>
                </a:lnTo>
                <a:lnTo>
                  <a:pt x="16" y="1209"/>
                </a:lnTo>
                <a:lnTo>
                  <a:pt x="6" y="1207"/>
                </a:lnTo>
                <a:lnTo>
                  <a:pt x="6" y="1207"/>
                </a:lnTo>
                <a:lnTo>
                  <a:pt x="4" y="1207"/>
                </a:lnTo>
                <a:lnTo>
                  <a:pt x="0" y="1205"/>
                </a:lnTo>
                <a:lnTo>
                  <a:pt x="0" y="1205"/>
                </a:lnTo>
                <a:lnTo>
                  <a:pt x="4" y="1209"/>
                </a:lnTo>
                <a:lnTo>
                  <a:pt x="4" y="1209"/>
                </a:lnTo>
                <a:lnTo>
                  <a:pt x="6" y="1209"/>
                </a:lnTo>
                <a:lnTo>
                  <a:pt x="6" y="1209"/>
                </a:lnTo>
                <a:lnTo>
                  <a:pt x="14" y="1213"/>
                </a:lnTo>
                <a:lnTo>
                  <a:pt x="14" y="1213"/>
                </a:lnTo>
                <a:lnTo>
                  <a:pt x="30" y="1215"/>
                </a:lnTo>
                <a:lnTo>
                  <a:pt x="62" y="1219"/>
                </a:lnTo>
                <a:lnTo>
                  <a:pt x="62" y="1219"/>
                </a:lnTo>
                <a:lnTo>
                  <a:pt x="88" y="1219"/>
                </a:lnTo>
                <a:lnTo>
                  <a:pt x="106" y="1219"/>
                </a:lnTo>
                <a:lnTo>
                  <a:pt x="124" y="1221"/>
                </a:lnTo>
                <a:lnTo>
                  <a:pt x="152" y="1221"/>
                </a:lnTo>
                <a:lnTo>
                  <a:pt x="152" y="1221"/>
                </a:lnTo>
                <a:lnTo>
                  <a:pt x="176" y="1219"/>
                </a:lnTo>
                <a:lnTo>
                  <a:pt x="204" y="1219"/>
                </a:lnTo>
                <a:lnTo>
                  <a:pt x="235" y="1219"/>
                </a:lnTo>
                <a:lnTo>
                  <a:pt x="267" y="1217"/>
                </a:lnTo>
                <a:lnTo>
                  <a:pt x="267" y="1217"/>
                </a:lnTo>
                <a:lnTo>
                  <a:pt x="263" y="1217"/>
                </a:lnTo>
                <a:lnTo>
                  <a:pt x="265" y="1217"/>
                </a:lnTo>
                <a:lnTo>
                  <a:pt x="281" y="1217"/>
                </a:lnTo>
                <a:lnTo>
                  <a:pt x="293" y="1217"/>
                </a:lnTo>
                <a:lnTo>
                  <a:pt x="283" y="1219"/>
                </a:lnTo>
                <a:lnTo>
                  <a:pt x="283" y="1219"/>
                </a:lnTo>
                <a:lnTo>
                  <a:pt x="341" y="1215"/>
                </a:lnTo>
                <a:lnTo>
                  <a:pt x="411" y="1213"/>
                </a:lnTo>
                <a:lnTo>
                  <a:pt x="411" y="1213"/>
                </a:lnTo>
                <a:lnTo>
                  <a:pt x="399" y="1215"/>
                </a:lnTo>
                <a:lnTo>
                  <a:pt x="399" y="1215"/>
                </a:lnTo>
                <a:lnTo>
                  <a:pt x="439" y="1213"/>
                </a:lnTo>
                <a:lnTo>
                  <a:pt x="469" y="1211"/>
                </a:lnTo>
                <a:lnTo>
                  <a:pt x="467" y="1211"/>
                </a:lnTo>
                <a:lnTo>
                  <a:pt x="467" y="1211"/>
                </a:lnTo>
                <a:lnTo>
                  <a:pt x="497" y="1209"/>
                </a:lnTo>
                <a:lnTo>
                  <a:pt x="497" y="1209"/>
                </a:lnTo>
                <a:lnTo>
                  <a:pt x="481" y="1209"/>
                </a:lnTo>
                <a:lnTo>
                  <a:pt x="475" y="1209"/>
                </a:lnTo>
                <a:lnTo>
                  <a:pt x="479" y="1209"/>
                </a:lnTo>
                <a:lnTo>
                  <a:pt x="479" y="1209"/>
                </a:lnTo>
                <a:lnTo>
                  <a:pt x="527" y="1205"/>
                </a:lnTo>
                <a:lnTo>
                  <a:pt x="527" y="1205"/>
                </a:lnTo>
                <a:lnTo>
                  <a:pt x="505" y="1207"/>
                </a:lnTo>
                <a:lnTo>
                  <a:pt x="505" y="1207"/>
                </a:lnTo>
                <a:lnTo>
                  <a:pt x="547" y="1205"/>
                </a:lnTo>
                <a:lnTo>
                  <a:pt x="547" y="1205"/>
                </a:lnTo>
                <a:lnTo>
                  <a:pt x="503" y="1209"/>
                </a:lnTo>
                <a:lnTo>
                  <a:pt x="503" y="1209"/>
                </a:lnTo>
                <a:lnTo>
                  <a:pt x="529" y="1209"/>
                </a:lnTo>
                <a:lnTo>
                  <a:pt x="525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3" y="1209"/>
                </a:lnTo>
                <a:lnTo>
                  <a:pt x="537" y="1209"/>
                </a:lnTo>
                <a:lnTo>
                  <a:pt x="555" y="1207"/>
                </a:lnTo>
                <a:lnTo>
                  <a:pt x="605" y="1205"/>
                </a:lnTo>
                <a:lnTo>
                  <a:pt x="605" y="1205"/>
                </a:lnTo>
                <a:lnTo>
                  <a:pt x="595" y="1205"/>
                </a:lnTo>
                <a:lnTo>
                  <a:pt x="579" y="1207"/>
                </a:lnTo>
                <a:lnTo>
                  <a:pt x="579" y="1207"/>
                </a:lnTo>
                <a:lnTo>
                  <a:pt x="615" y="1205"/>
                </a:lnTo>
                <a:lnTo>
                  <a:pt x="648" y="1203"/>
                </a:lnTo>
                <a:lnTo>
                  <a:pt x="728" y="1197"/>
                </a:lnTo>
                <a:lnTo>
                  <a:pt x="728" y="1197"/>
                </a:lnTo>
                <a:lnTo>
                  <a:pt x="714" y="1199"/>
                </a:lnTo>
                <a:lnTo>
                  <a:pt x="714" y="1199"/>
                </a:lnTo>
                <a:lnTo>
                  <a:pt x="756" y="1197"/>
                </a:lnTo>
                <a:lnTo>
                  <a:pt x="788" y="1195"/>
                </a:lnTo>
                <a:lnTo>
                  <a:pt x="788" y="1195"/>
                </a:lnTo>
                <a:lnTo>
                  <a:pt x="804" y="1193"/>
                </a:lnTo>
                <a:lnTo>
                  <a:pt x="808" y="1195"/>
                </a:lnTo>
                <a:lnTo>
                  <a:pt x="842" y="1193"/>
                </a:lnTo>
                <a:lnTo>
                  <a:pt x="842" y="1193"/>
                </a:lnTo>
                <a:lnTo>
                  <a:pt x="840" y="1193"/>
                </a:lnTo>
                <a:lnTo>
                  <a:pt x="844" y="1191"/>
                </a:lnTo>
                <a:lnTo>
                  <a:pt x="864" y="1191"/>
                </a:lnTo>
                <a:lnTo>
                  <a:pt x="886" y="1189"/>
                </a:lnTo>
                <a:lnTo>
                  <a:pt x="898" y="1187"/>
                </a:lnTo>
                <a:lnTo>
                  <a:pt x="934" y="1185"/>
                </a:lnTo>
                <a:lnTo>
                  <a:pt x="934" y="1185"/>
                </a:lnTo>
                <a:lnTo>
                  <a:pt x="948" y="1183"/>
                </a:lnTo>
                <a:lnTo>
                  <a:pt x="950" y="1183"/>
                </a:lnTo>
                <a:lnTo>
                  <a:pt x="958" y="1181"/>
                </a:lnTo>
                <a:lnTo>
                  <a:pt x="988" y="1177"/>
                </a:lnTo>
                <a:lnTo>
                  <a:pt x="988" y="1177"/>
                </a:lnTo>
                <a:lnTo>
                  <a:pt x="1012" y="1177"/>
                </a:lnTo>
                <a:lnTo>
                  <a:pt x="1014" y="1177"/>
                </a:lnTo>
                <a:lnTo>
                  <a:pt x="1012" y="1179"/>
                </a:lnTo>
                <a:lnTo>
                  <a:pt x="1006" y="1181"/>
                </a:lnTo>
                <a:lnTo>
                  <a:pt x="1016" y="1181"/>
                </a:lnTo>
                <a:lnTo>
                  <a:pt x="1030" y="1179"/>
                </a:lnTo>
                <a:lnTo>
                  <a:pt x="1059" y="1177"/>
                </a:lnTo>
                <a:lnTo>
                  <a:pt x="1055" y="1177"/>
                </a:lnTo>
                <a:lnTo>
                  <a:pt x="1055" y="1177"/>
                </a:lnTo>
                <a:lnTo>
                  <a:pt x="1103" y="1175"/>
                </a:lnTo>
                <a:lnTo>
                  <a:pt x="1103" y="1175"/>
                </a:lnTo>
                <a:lnTo>
                  <a:pt x="1079" y="1177"/>
                </a:lnTo>
                <a:lnTo>
                  <a:pt x="1079" y="1177"/>
                </a:lnTo>
                <a:lnTo>
                  <a:pt x="1147" y="1173"/>
                </a:lnTo>
                <a:lnTo>
                  <a:pt x="1187" y="1171"/>
                </a:lnTo>
                <a:lnTo>
                  <a:pt x="1217" y="1167"/>
                </a:lnTo>
                <a:lnTo>
                  <a:pt x="1217" y="1167"/>
                </a:lnTo>
                <a:lnTo>
                  <a:pt x="1249" y="1165"/>
                </a:lnTo>
                <a:lnTo>
                  <a:pt x="1263" y="1165"/>
                </a:lnTo>
                <a:lnTo>
                  <a:pt x="1263" y="1165"/>
                </a:lnTo>
                <a:lnTo>
                  <a:pt x="1309" y="1161"/>
                </a:lnTo>
                <a:lnTo>
                  <a:pt x="1359" y="1157"/>
                </a:lnTo>
                <a:lnTo>
                  <a:pt x="1359" y="1157"/>
                </a:lnTo>
                <a:lnTo>
                  <a:pt x="1369" y="1157"/>
                </a:lnTo>
                <a:lnTo>
                  <a:pt x="1395" y="1155"/>
                </a:lnTo>
                <a:lnTo>
                  <a:pt x="1395" y="1155"/>
                </a:lnTo>
                <a:lnTo>
                  <a:pt x="1383" y="1155"/>
                </a:lnTo>
                <a:lnTo>
                  <a:pt x="1401" y="1153"/>
                </a:lnTo>
                <a:lnTo>
                  <a:pt x="1401" y="1153"/>
                </a:lnTo>
                <a:lnTo>
                  <a:pt x="1447" y="1149"/>
                </a:lnTo>
                <a:lnTo>
                  <a:pt x="1486" y="1147"/>
                </a:lnTo>
                <a:lnTo>
                  <a:pt x="1486" y="1147"/>
                </a:lnTo>
                <a:lnTo>
                  <a:pt x="1508" y="1145"/>
                </a:lnTo>
                <a:lnTo>
                  <a:pt x="1510" y="1143"/>
                </a:lnTo>
                <a:lnTo>
                  <a:pt x="1512" y="1141"/>
                </a:lnTo>
                <a:lnTo>
                  <a:pt x="1512" y="1141"/>
                </a:lnTo>
                <a:lnTo>
                  <a:pt x="1558" y="1139"/>
                </a:lnTo>
                <a:lnTo>
                  <a:pt x="1580" y="1139"/>
                </a:lnTo>
                <a:lnTo>
                  <a:pt x="1584" y="1139"/>
                </a:lnTo>
                <a:lnTo>
                  <a:pt x="1582" y="1139"/>
                </a:lnTo>
                <a:lnTo>
                  <a:pt x="1582" y="1139"/>
                </a:lnTo>
                <a:lnTo>
                  <a:pt x="1550" y="1141"/>
                </a:lnTo>
                <a:lnTo>
                  <a:pt x="1538" y="1143"/>
                </a:lnTo>
                <a:lnTo>
                  <a:pt x="1534" y="1143"/>
                </a:lnTo>
                <a:lnTo>
                  <a:pt x="1536" y="1143"/>
                </a:lnTo>
                <a:lnTo>
                  <a:pt x="1536" y="1143"/>
                </a:lnTo>
                <a:lnTo>
                  <a:pt x="1558" y="1141"/>
                </a:lnTo>
                <a:lnTo>
                  <a:pt x="1576" y="1139"/>
                </a:lnTo>
                <a:lnTo>
                  <a:pt x="1576" y="1139"/>
                </a:lnTo>
                <a:lnTo>
                  <a:pt x="1584" y="1139"/>
                </a:lnTo>
                <a:lnTo>
                  <a:pt x="1588" y="1141"/>
                </a:lnTo>
                <a:lnTo>
                  <a:pt x="1588" y="1141"/>
                </a:lnTo>
                <a:lnTo>
                  <a:pt x="1648" y="1135"/>
                </a:lnTo>
                <a:lnTo>
                  <a:pt x="1648" y="1135"/>
                </a:lnTo>
                <a:lnTo>
                  <a:pt x="1636" y="1135"/>
                </a:lnTo>
                <a:lnTo>
                  <a:pt x="1644" y="1135"/>
                </a:lnTo>
                <a:lnTo>
                  <a:pt x="1654" y="1133"/>
                </a:lnTo>
                <a:lnTo>
                  <a:pt x="1650" y="1133"/>
                </a:lnTo>
                <a:lnTo>
                  <a:pt x="1616" y="1137"/>
                </a:lnTo>
                <a:lnTo>
                  <a:pt x="1616" y="1137"/>
                </a:lnTo>
                <a:lnTo>
                  <a:pt x="1594" y="1139"/>
                </a:lnTo>
                <a:lnTo>
                  <a:pt x="1596" y="1137"/>
                </a:lnTo>
                <a:lnTo>
                  <a:pt x="1592" y="1137"/>
                </a:lnTo>
                <a:lnTo>
                  <a:pt x="1592" y="1137"/>
                </a:lnTo>
                <a:lnTo>
                  <a:pt x="1656" y="1130"/>
                </a:lnTo>
                <a:lnTo>
                  <a:pt x="1716" y="1122"/>
                </a:lnTo>
                <a:lnTo>
                  <a:pt x="1758" y="1120"/>
                </a:lnTo>
                <a:lnTo>
                  <a:pt x="1758" y="1120"/>
                </a:lnTo>
                <a:lnTo>
                  <a:pt x="1742" y="1122"/>
                </a:lnTo>
                <a:lnTo>
                  <a:pt x="1752" y="1124"/>
                </a:lnTo>
                <a:lnTo>
                  <a:pt x="1752" y="1124"/>
                </a:lnTo>
                <a:lnTo>
                  <a:pt x="1804" y="1118"/>
                </a:lnTo>
                <a:lnTo>
                  <a:pt x="1850" y="1116"/>
                </a:lnTo>
                <a:lnTo>
                  <a:pt x="1850" y="1116"/>
                </a:lnTo>
                <a:lnTo>
                  <a:pt x="1834" y="1116"/>
                </a:lnTo>
                <a:lnTo>
                  <a:pt x="1846" y="1114"/>
                </a:lnTo>
                <a:lnTo>
                  <a:pt x="1846" y="1114"/>
                </a:lnTo>
                <a:lnTo>
                  <a:pt x="1886" y="1112"/>
                </a:lnTo>
                <a:lnTo>
                  <a:pt x="1889" y="1112"/>
                </a:lnTo>
                <a:lnTo>
                  <a:pt x="1901" y="1112"/>
                </a:lnTo>
                <a:lnTo>
                  <a:pt x="1901" y="1112"/>
                </a:lnTo>
                <a:lnTo>
                  <a:pt x="2027" y="1102"/>
                </a:lnTo>
                <a:lnTo>
                  <a:pt x="2141" y="1092"/>
                </a:lnTo>
                <a:lnTo>
                  <a:pt x="2103" y="1092"/>
                </a:lnTo>
                <a:lnTo>
                  <a:pt x="2091" y="1096"/>
                </a:lnTo>
                <a:lnTo>
                  <a:pt x="2091" y="1096"/>
                </a:lnTo>
                <a:lnTo>
                  <a:pt x="2079" y="1096"/>
                </a:lnTo>
                <a:lnTo>
                  <a:pt x="2085" y="1094"/>
                </a:lnTo>
                <a:lnTo>
                  <a:pt x="2113" y="1088"/>
                </a:lnTo>
                <a:lnTo>
                  <a:pt x="2113" y="1088"/>
                </a:lnTo>
                <a:lnTo>
                  <a:pt x="2137" y="1088"/>
                </a:lnTo>
                <a:lnTo>
                  <a:pt x="2149" y="1086"/>
                </a:lnTo>
                <a:lnTo>
                  <a:pt x="2145" y="1088"/>
                </a:lnTo>
                <a:lnTo>
                  <a:pt x="2193" y="1082"/>
                </a:lnTo>
                <a:lnTo>
                  <a:pt x="2193" y="1082"/>
                </a:lnTo>
                <a:lnTo>
                  <a:pt x="2175" y="1084"/>
                </a:lnTo>
                <a:lnTo>
                  <a:pt x="2169" y="1084"/>
                </a:lnTo>
                <a:lnTo>
                  <a:pt x="2177" y="1082"/>
                </a:lnTo>
                <a:lnTo>
                  <a:pt x="2177" y="1082"/>
                </a:lnTo>
                <a:lnTo>
                  <a:pt x="2211" y="1080"/>
                </a:lnTo>
                <a:lnTo>
                  <a:pt x="2221" y="1080"/>
                </a:lnTo>
                <a:lnTo>
                  <a:pt x="2211" y="1082"/>
                </a:lnTo>
                <a:lnTo>
                  <a:pt x="2211" y="1082"/>
                </a:lnTo>
                <a:lnTo>
                  <a:pt x="2247" y="1078"/>
                </a:lnTo>
                <a:lnTo>
                  <a:pt x="2261" y="1076"/>
                </a:lnTo>
                <a:lnTo>
                  <a:pt x="2261" y="1076"/>
                </a:lnTo>
                <a:lnTo>
                  <a:pt x="2277" y="1074"/>
                </a:lnTo>
                <a:lnTo>
                  <a:pt x="2273" y="1076"/>
                </a:lnTo>
                <a:lnTo>
                  <a:pt x="2241" y="1080"/>
                </a:lnTo>
                <a:lnTo>
                  <a:pt x="2241" y="1080"/>
                </a:lnTo>
                <a:lnTo>
                  <a:pt x="2265" y="1078"/>
                </a:lnTo>
                <a:lnTo>
                  <a:pt x="2259" y="1080"/>
                </a:lnTo>
                <a:lnTo>
                  <a:pt x="2303" y="1076"/>
                </a:lnTo>
                <a:lnTo>
                  <a:pt x="2303" y="1076"/>
                </a:lnTo>
                <a:lnTo>
                  <a:pt x="2283" y="1080"/>
                </a:lnTo>
                <a:lnTo>
                  <a:pt x="2283" y="1080"/>
                </a:lnTo>
                <a:lnTo>
                  <a:pt x="2324" y="1076"/>
                </a:lnTo>
                <a:lnTo>
                  <a:pt x="2360" y="1072"/>
                </a:lnTo>
                <a:lnTo>
                  <a:pt x="2370" y="1070"/>
                </a:lnTo>
                <a:lnTo>
                  <a:pt x="2370" y="1070"/>
                </a:lnTo>
                <a:lnTo>
                  <a:pt x="2518" y="1058"/>
                </a:lnTo>
                <a:lnTo>
                  <a:pt x="2506" y="1058"/>
                </a:lnTo>
                <a:lnTo>
                  <a:pt x="2506" y="1058"/>
                </a:lnTo>
                <a:lnTo>
                  <a:pt x="2536" y="1054"/>
                </a:lnTo>
                <a:lnTo>
                  <a:pt x="2556" y="1054"/>
                </a:lnTo>
                <a:lnTo>
                  <a:pt x="2580" y="1052"/>
                </a:lnTo>
                <a:lnTo>
                  <a:pt x="2624" y="1048"/>
                </a:lnTo>
                <a:lnTo>
                  <a:pt x="2624" y="1048"/>
                </a:lnTo>
                <a:lnTo>
                  <a:pt x="2674" y="1042"/>
                </a:lnTo>
                <a:lnTo>
                  <a:pt x="2686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688" y="1040"/>
                </a:lnTo>
                <a:lnTo>
                  <a:pt x="2714" y="1038"/>
                </a:lnTo>
                <a:lnTo>
                  <a:pt x="2731" y="1036"/>
                </a:lnTo>
                <a:lnTo>
                  <a:pt x="2731" y="1036"/>
                </a:lnTo>
                <a:lnTo>
                  <a:pt x="2771" y="1032"/>
                </a:lnTo>
                <a:lnTo>
                  <a:pt x="2821" y="1026"/>
                </a:lnTo>
                <a:lnTo>
                  <a:pt x="2765" y="1032"/>
                </a:lnTo>
                <a:lnTo>
                  <a:pt x="2765" y="1032"/>
                </a:lnTo>
                <a:lnTo>
                  <a:pt x="2805" y="1030"/>
                </a:lnTo>
                <a:lnTo>
                  <a:pt x="2863" y="1024"/>
                </a:lnTo>
                <a:lnTo>
                  <a:pt x="2997" y="1008"/>
                </a:lnTo>
                <a:lnTo>
                  <a:pt x="2997" y="1008"/>
                </a:lnTo>
                <a:lnTo>
                  <a:pt x="2989" y="1008"/>
                </a:lnTo>
                <a:lnTo>
                  <a:pt x="2987" y="1006"/>
                </a:lnTo>
                <a:lnTo>
                  <a:pt x="2989" y="1006"/>
                </a:lnTo>
                <a:lnTo>
                  <a:pt x="3023" y="1000"/>
                </a:lnTo>
                <a:lnTo>
                  <a:pt x="3023" y="1000"/>
                </a:lnTo>
                <a:lnTo>
                  <a:pt x="3047" y="1000"/>
                </a:lnTo>
                <a:lnTo>
                  <a:pt x="3095" y="996"/>
                </a:lnTo>
                <a:lnTo>
                  <a:pt x="3095" y="996"/>
                </a:lnTo>
                <a:lnTo>
                  <a:pt x="3095" y="996"/>
                </a:lnTo>
                <a:lnTo>
                  <a:pt x="3099" y="996"/>
                </a:lnTo>
                <a:lnTo>
                  <a:pt x="3113" y="996"/>
                </a:lnTo>
                <a:lnTo>
                  <a:pt x="3119" y="996"/>
                </a:lnTo>
                <a:lnTo>
                  <a:pt x="3099" y="998"/>
                </a:lnTo>
                <a:lnTo>
                  <a:pt x="3099" y="998"/>
                </a:lnTo>
                <a:lnTo>
                  <a:pt x="3079" y="998"/>
                </a:lnTo>
                <a:lnTo>
                  <a:pt x="3055" y="1000"/>
                </a:lnTo>
                <a:lnTo>
                  <a:pt x="3055" y="1000"/>
                </a:lnTo>
                <a:lnTo>
                  <a:pt x="3137" y="996"/>
                </a:lnTo>
                <a:lnTo>
                  <a:pt x="3137" y="996"/>
                </a:lnTo>
                <a:lnTo>
                  <a:pt x="3097" y="1000"/>
                </a:lnTo>
                <a:lnTo>
                  <a:pt x="3097" y="1000"/>
                </a:lnTo>
                <a:lnTo>
                  <a:pt x="3103" y="1000"/>
                </a:lnTo>
                <a:lnTo>
                  <a:pt x="3101" y="1000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19" name="Freeform 106"/>
          <p:cNvSpPr>
            <a:spLocks/>
          </p:cNvSpPr>
          <p:nvPr userDrawn="1"/>
        </p:nvSpPr>
        <p:spPr bwMode="auto">
          <a:xfrm>
            <a:off x="-6673850" y="4697413"/>
            <a:ext cx="13293725" cy="1878013"/>
          </a:xfrm>
          <a:custGeom>
            <a:avLst/>
            <a:gdLst>
              <a:gd name="T0" fmla="*/ 5070 w 8374"/>
              <a:gd name="T1" fmla="*/ 768 h 1183"/>
              <a:gd name="T2" fmla="*/ 4872 w 8374"/>
              <a:gd name="T3" fmla="*/ 790 h 1183"/>
              <a:gd name="T4" fmla="*/ 4795 w 8374"/>
              <a:gd name="T5" fmla="*/ 802 h 1183"/>
              <a:gd name="T6" fmla="*/ 4691 w 8374"/>
              <a:gd name="T7" fmla="*/ 812 h 1183"/>
              <a:gd name="T8" fmla="*/ 4294 w 8374"/>
              <a:gd name="T9" fmla="*/ 852 h 1183"/>
              <a:gd name="T10" fmla="*/ 4046 w 8374"/>
              <a:gd name="T11" fmla="*/ 876 h 1183"/>
              <a:gd name="T12" fmla="*/ 3943 w 8374"/>
              <a:gd name="T13" fmla="*/ 886 h 1183"/>
              <a:gd name="T14" fmla="*/ 3783 w 8374"/>
              <a:gd name="T15" fmla="*/ 902 h 1183"/>
              <a:gd name="T16" fmla="*/ 3595 w 8374"/>
              <a:gd name="T17" fmla="*/ 915 h 1183"/>
              <a:gd name="T18" fmla="*/ 3362 w 8374"/>
              <a:gd name="T19" fmla="*/ 931 h 1183"/>
              <a:gd name="T20" fmla="*/ 3035 w 8374"/>
              <a:gd name="T21" fmla="*/ 951 h 1183"/>
              <a:gd name="T22" fmla="*/ 2923 w 8374"/>
              <a:gd name="T23" fmla="*/ 963 h 1183"/>
              <a:gd name="T24" fmla="*/ 2660 w 8374"/>
              <a:gd name="T25" fmla="*/ 987 h 1183"/>
              <a:gd name="T26" fmla="*/ 2554 w 8374"/>
              <a:gd name="T27" fmla="*/ 993 h 1183"/>
              <a:gd name="T28" fmla="*/ 2307 w 8374"/>
              <a:gd name="T29" fmla="*/ 1017 h 1183"/>
              <a:gd name="T30" fmla="*/ 1943 w 8374"/>
              <a:gd name="T31" fmla="*/ 1049 h 1183"/>
              <a:gd name="T32" fmla="*/ 1812 w 8374"/>
              <a:gd name="T33" fmla="*/ 1057 h 1183"/>
              <a:gd name="T34" fmla="*/ 1638 w 8374"/>
              <a:gd name="T35" fmla="*/ 1071 h 1183"/>
              <a:gd name="T36" fmla="*/ 1461 w 8374"/>
              <a:gd name="T37" fmla="*/ 1091 h 1183"/>
              <a:gd name="T38" fmla="*/ 1375 w 8374"/>
              <a:gd name="T39" fmla="*/ 1093 h 1183"/>
              <a:gd name="T40" fmla="*/ 1157 w 8374"/>
              <a:gd name="T41" fmla="*/ 1109 h 1183"/>
              <a:gd name="T42" fmla="*/ 892 w 8374"/>
              <a:gd name="T43" fmla="*/ 1119 h 1183"/>
              <a:gd name="T44" fmla="*/ 634 w 8374"/>
              <a:gd name="T45" fmla="*/ 1135 h 1183"/>
              <a:gd name="T46" fmla="*/ 459 w 8374"/>
              <a:gd name="T47" fmla="*/ 1145 h 1183"/>
              <a:gd name="T48" fmla="*/ 269 w 8374"/>
              <a:gd name="T49" fmla="*/ 1159 h 1183"/>
              <a:gd name="T50" fmla="*/ 549 w 8374"/>
              <a:gd name="T51" fmla="*/ 1147 h 1183"/>
              <a:gd name="T52" fmla="*/ 174 w 8374"/>
              <a:gd name="T53" fmla="*/ 1161 h 1183"/>
              <a:gd name="T54" fmla="*/ 78 w 8374"/>
              <a:gd name="T55" fmla="*/ 1173 h 1183"/>
              <a:gd name="T56" fmla="*/ 98 w 8374"/>
              <a:gd name="T57" fmla="*/ 1175 h 1183"/>
              <a:gd name="T58" fmla="*/ 190 w 8374"/>
              <a:gd name="T59" fmla="*/ 1175 h 1183"/>
              <a:gd name="T60" fmla="*/ 449 w 8374"/>
              <a:gd name="T61" fmla="*/ 1159 h 1183"/>
              <a:gd name="T62" fmla="*/ 567 w 8374"/>
              <a:gd name="T63" fmla="*/ 1153 h 1183"/>
              <a:gd name="T64" fmla="*/ 950 w 8374"/>
              <a:gd name="T65" fmla="*/ 1129 h 1183"/>
              <a:gd name="T66" fmla="*/ 868 w 8374"/>
              <a:gd name="T67" fmla="*/ 1139 h 1183"/>
              <a:gd name="T68" fmla="*/ 1107 w 8374"/>
              <a:gd name="T69" fmla="*/ 1127 h 1183"/>
              <a:gd name="T70" fmla="*/ 1339 w 8374"/>
              <a:gd name="T71" fmla="*/ 1117 h 1183"/>
              <a:gd name="T72" fmla="*/ 1554 w 8374"/>
              <a:gd name="T73" fmla="*/ 1099 h 1183"/>
              <a:gd name="T74" fmla="*/ 1762 w 8374"/>
              <a:gd name="T75" fmla="*/ 1085 h 1183"/>
              <a:gd name="T76" fmla="*/ 2107 w 8374"/>
              <a:gd name="T77" fmla="*/ 1055 h 1183"/>
              <a:gd name="T78" fmla="*/ 2530 w 8374"/>
              <a:gd name="T79" fmla="*/ 1021 h 1183"/>
              <a:gd name="T80" fmla="*/ 2556 w 8374"/>
              <a:gd name="T81" fmla="*/ 1013 h 1183"/>
              <a:gd name="T82" fmla="*/ 2819 w 8374"/>
              <a:gd name="T83" fmla="*/ 989 h 1183"/>
              <a:gd name="T84" fmla="*/ 3073 w 8374"/>
              <a:gd name="T85" fmla="*/ 977 h 1183"/>
              <a:gd name="T86" fmla="*/ 3727 w 8374"/>
              <a:gd name="T87" fmla="*/ 929 h 1183"/>
              <a:gd name="T88" fmla="*/ 4577 w 8374"/>
              <a:gd name="T89" fmla="*/ 850 h 1183"/>
              <a:gd name="T90" fmla="*/ 4884 w 8374"/>
              <a:gd name="T91" fmla="*/ 816 h 1183"/>
              <a:gd name="T92" fmla="*/ 5513 w 8374"/>
              <a:gd name="T93" fmla="*/ 738 h 1183"/>
              <a:gd name="T94" fmla="*/ 5920 w 8374"/>
              <a:gd name="T95" fmla="*/ 682 h 1183"/>
              <a:gd name="T96" fmla="*/ 6558 w 8374"/>
              <a:gd name="T97" fmla="*/ 576 h 1183"/>
              <a:gd name="T98" fmla="*/ 7223 w 8374"/>
              <a:gd name="T99" fmla="*/ 429 h 1183"/>
              <a:gd name="T100" fmla="*/ 8045 w 8374"/>
              <a:gd name="T101" fmla="*/ 171 h 1183"/>
              <a:gd name="T102" fmla="*/ 8360 w 8374"/>
              <a:gd name="T103" fmla="*/ 9 h 1183"/>
              <a:gd name="T104" fmla="*/ 7973 w 8374"/>
              <a:gd name="T105" fmla="*/ 187 h 1183"/>
              <a:gd name="T106" fmla="*/ 7885 w 8374"/>
              <a:gd name="T107" fmla="*/ 217 h 1183"/>
              <a:gd name="T108" fmla="*/ 7546 w 8374"/>
              <a:gd name="T109" fmla="*/ 323 h 1183"/>
              <a:gd name="T110" fmla="*/ 7255 w 8374"/>
              <a:gd name="T111" fmla="*/ 397 h 1183"/>
              <a:gd name="T112" fmla="*/ 6868 w 8374"/>
              <a:gd name="T113" fmla="*/ 488 h 1183"/>
              <a:gd name="T114" fmla="*/ 6860 w 8374"/>
              <a:gd name="T115" fmla="*/ 488 h 1183"/>
              <a:gd name="T116" fmla="*/ 6369 w 8374"/>
              <a:gd name="T117" fmla="*/ 582 h 1183"/>
              <a:gd name="T118" fmla="*/ 6221 w 8374"/>
              <a:gd name="T119" fmla="*/ 610 h 1183"/>
              <a:gd name="T120" fmla="*/ 5752 w 8374"/>
              <a:gd name="T121" fmla="*/ 682 h 1183"/>
              <a:gd name="T122" fmla="*/ 5367 w 8374"/>
              <a:gd name="T123" fmla="*/ 736 h 1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74" h="1183">
                <a:moveTo>
                  <a:pt x="5367" y="734"/>
                </a:moveTo>
                <a:lnTo>
                  <a:pt x="5367" y="734"/>
                </a:lnTo>
                <a:lnTo>
                  <a:pt x="5391" y="730"/>
                </a:lnTo>
                <a:lnTo>
                  <a:pt x="5385" y="730"/>
                </a:lnTo>
                <a:lnTo>
                  <a:pt x="5367" y="732"/>
                </a:lnTo>
                <a:lnTo>
                  <a:pt x="5361" y="732"/>
                </a:lnTo>
                <a:lnTo>
                  <a:pt x="5361" y="732"/>
                </a:lnTo>
                <a:lnTo>
                  <a:pt x="5331" y="736"/>
                </a:lnTo>
                <a:lnTo>
                  <a:pt x="5321" y="738"/>
                </a:lnTo>
                <a:lnTo>
                  <a:pt x="5325" y="738"/>
                </a:lnTo>
                <a:lnTo>
                  <a:pt x="5325" y="738"/>
                </a:lnTo>
                <a:lnTo>
                  <a:pt x="5295" y="740"/>
                </a:lnTo>
                <a:lnTo>
                  <a:pt x="5259" y="746"/>
                </a:lnTo>
                <a:lnTo>
                  <a:pt x="5220" y="750"/>
                </a:lnTo>
                <a:lnTo>
                  <a:pt x="5188" y="754"/>
                </a:lnTo>
                <a:lnTo>
                  <a:pt x="5188" y="754"/>
                </a:lnTo>
                <a:lnTo>
                  <a:pt x="5194" y="754"/>
                </a:lnTo>
                <a:lnTo>
                  <a:pt x="5182" y="756"/>
                </a:lnTo>
                <a:lnTo>
                  <a:pt x="5182" y="756"/>
                </a:lnTo>
                <a:lnTo>
                  <a:pt x="5150" y="760"/>
                </a:lnTo>
                <a:lnTo>
                  <a:pt x="5132" y="760"/>
                </a:lnTo>
                <a:lnTo>
                  <a:pt x="5132" y="760"/>
                </a:lnTo>
                <a:lnTo>
                  <a:pt x="5070" y="768"/>
                </a:lnTo>
                <a:lnTo>
                  <a:pt x="5070" y="768"/>
                </a:lnTo>
                <a:lnTo>
                  <a:pt x="5064" y="770"/>
                </a:lnTo>
                <a:lnTo>
                  <a:pt x="5070" y="770"/>
                </a:lnTo>
                <a:lnTo>
                  <a:pt x="5074" y="770"/>
                </a:lnTo>
                <a:lnTo>
                  <a:pt x="5062" y="774"/>
                </a:lnTo>
                <a:lnTo>
                  <a:pt x="5062" y="774"/>
                </a:lnTo>
                <a:lnTo>
                  <a:pt x="5022" y="778"/>
                </a:lnTo>
                <a:lnTo>
                  <a:pt x="4980" y="784"/>
                </a:lnTo>
                <a:lnTo>
                  <a:pt x="4980" y="784"/>
                </a:lnTo>
                <a:lnTo>
                  <a:pt x="4972" y="784"/>
                </a:lnTo>
                <a:lnTo>
                  <a:pt x="4986" y="782"/>
                </a:lnTo>
                <a:lnTo>
                  <a:pt x="5026" y="776"/>
                </a:lnTo>
                <a:lnTo>
                  <a:pt x="4932" y="788"/>
                </a:lnTo>
                <a:lnTo>
                  <a:pt x="4932" y="788"/>
                </a:lnTo>
                <a:lnTo>
                  <a:pt x="4924" y="788"/>
                </a:lnTo>
                <a:lnTo>
                  <a:pt x="4932" y="788"/>
                </a:lnTo>
                <a:lnTo>
                  <a:pt x="4972" y="782"/>
                </a:lnTo>
                <a:lnTo>
                  <a:pt x="4972" y="782"/>
                </a:lnTo>
                <a:lnTo>
                  <a:pt x="4914" y="788"/>
                </a:lnTo>
                <a:lnTo>
                  <a:pt x="4876" y="794"/>
                </a:lnTo>
                <a:lnTo>
                  <a:pt x="4876" y="794"/>
                </a:lnTo>
                <a:lnTo>
                  <a:pt x="4817" y="800"/>
                </a:lnTo>
                <a:lnTo>
                  <a:pt x="4817" y="800"/>
                </a:lnTo>
                <a:lnTo>
                  <a:pt x="4840" y="796"/>
                </a:lnTo>
                <a:lnTo>
                  <a:pt x="4872" y="790"/>
                </a:lnTo>
                <a:lnTo>
                  <a:pt x="4872" y="790"/>
                </a:lnTo>
                <a:lnTo>
                  <a:pt x="4894" y="788"/>
                </a:lnTo>
                <a:lnTo>
                  <a:pt x="4890" y="790"/>
                </a:lnTo>
                <a:lnTo>
                  <a:pt x="4884" y="790"/>
                </a:lnTo>
                <a:lnTo>
                  <a:pt x="4900" y="790"/>
                </a:lnTo>
                <a:lnTo>
                  <a:pt x="4904" y="788"/>
                </a:lnTo>
                <a:lnTo>
                  <a:pt x="4904" y="788"/>
                </a:lnTo>
                <a:lnTo>
                  <a:pt x="4934" y="784"/>
                </a:lnTo>
                <a:lnTo>
                  <a:pt x="4964" y="780"/>
                </a:lnTo>
                <a:lnTo>
                  <a:pt x="4964" y="780"/>
                </a:lnTo>
                <a:lnTo>
                  <a:pt x="4968" y="780"/>
                </a:lnTo>
                <a:lnTo>
                  <a:pt x="4966" y="780"/>
                </a:lnTo>
                <a:lnTo>
                  <a:pt x="4952" y="782"/>
                </a:lnTo>
                <a:lnTo>
                  <a:pt x="4952" y="782"/>
                </a:lnTo>
                <a:lnTo>
                  <a:pt x="5008" y="776"/>
                </a:lnTo>
                <a:lnTo>
                  <a:pt x="5056" y="770"/>
                </a:lnTo>
                <a:lnTo>
                  <a:pt x="5056" y="770"/>
                </a:lnTo>
                <a:lnTo>
                  <a:pt x="4964" y="780"/>
                </a:lnTo>
                <a:lnTo>
                  <a:pt x="4896" y="786"/>
                </a:lnTo>
                <a:lnTo>
                  <a:pt x="4787" y="800"/>
                </a:lnTo>
                <a:lnTo>
                  <a:pt x="4787" y="800"/>
                </a:lnTo>
                <a:lnTo>
                  <a:pt x="4803" y="800"/>
                </a:lnTo>
                <a:lnTo>
                  <a:pt x="4807" y="800"/>
                </a:lnTo>
                <a:lnTo>
                  <a:pt x="4795" y="802"/>
                </a:lnTo>
                <a:lnTo>
                  <a:pt x="4795" y="802"/>
                </a:lnTo>
                <a:lnTo>
                  <a:pt x="4763" y="804"/>
                </a:lnTo>
                <a:lnTo>
                  <a:pt x="4709" y="808"/>
                </a:lnTo>
                <a:lnTo>
                  <a:pt x="4709" y="808"/>
                </a:lnTo>
                <a:lnTo>
                  <a:pt x="4709" y="810"/>
                </a:lnTo>
                <a:lnTo>
                  <a:pt x="4705" y="810"/>
                </a:lnTo>
                <a:lnTo>
                  <a:pt x="4683" y="814"/>
                </a:lnTo>
                <a:lnTo>
                  <a:pt x="4663" y="816"/>
                </a:lnTo>
                <a:lnTo>
                  <a:pt x="4659" y="816"/>
                </a:lnTo>
                <a:lnTo>
                  <a:pt x="4663" y="816"/>
                </a:lnTo>
                <a:lnTo>
                  <a:pt x="4663" y="816"/>
                </a:lnTo>
                <a:lnTo>
                  <a:pt x="4685" y="814"/>
                </a:lnTo>
                <a:lnTo>
                  <a:pt x="4695" y="814"/>
                </a:lnTo>
                <a:lnTo>
                  <a:pt x="4695" y="814"/>
                </a:lnTo>
                <a:lnTo>
                  <a:pt x="4677" y="816"/>
                </a:lnTo>
                <a:lnTo>
                  <a:pt x="4675" y="818"/>
                </a:lnTo>
                <a:lnTo>
                  <a:pt x="4675" y="818"/>
                </a:lnTo>
                <a:lnTo>
                  <a:pt x="4667" y="818"/>
                </a:lnTo>
                <a:lnTo>
                  <a:pt x="4667" y="818"/>
                </a:lnTo>
                <a:lnTo>
                  <a:pt x="4633" y="822"/>
                </a:lnTo>
                <a:lnTo>
                  <a:pt x="4597" y="824"/>
                </a:lnTo>
                <a:lnTo>
                  <a:pt x="4597" y="824"/>
                </a:lnTo>
                <a:lnTo>
                  <a:pt x="4691" y="812"/>
                </a:lnTo>
                <a:lnTo>
                  <a:pt x="4691" y="812"/>
                </a:lnTo>
                <a:lnTo>
                  <a:pt x="4635" y="816"/>
                </a:lnTo>
                <a:lnTo>
                  <a:pt x="4635" y="816"/>
                </a:lnTo>
                <a:lnTo>
                  <a:pt x="4643" y="816"/>
                </a:lnTo>
                <a:lnTo>
                  <a:pt x="4637" y="818"/>
                </a:lnTo>
                <a:lnTo>
                  <a:pt x="4633" y="818"/>
                </a:lnTo>
                <a:lnTo>
                  <a:pt x="4637" y="818"/>
                </a:lnTo>
                <a:lnTo>
                  <a:pt x="4637" y="818"/>
                </a:lnTo>
                <a:lnTo>
                  <a:pt x="4545" y="830"/>
                </a:lnTo>
                <a:lnTo>
                  <a:pt x="4441" y="840"/>
                </a:lnTo>
                <a:lnTo>
                  <a:pt x="4441" y="840"/>
                </a:lnTo>
                <a:lnTo>
                  <a:pt x="4465" y="838"/>
                </a:lnTo>
                <a:lnTo>
                  <a:pt x="4501" y="832"/>
                </a:lnTo>
                <a:lnTo>
                  <a:pt x="4533" y="828"/>
                </a:lnTo>
                <a:lnTo>
                  <a:pt x="4541" y="826"/>
                </a:lnTo>
                <a:lnTo>
                  <a:pt x="4537" y="826"/>
                </a:lnTo>
                <a:lnTo>
                  <a:pt x="4537" y="826"/>
                </a:lnTo>
                <a:lnTo>
                  <a:pt x="4505" y="830"/>
                </a:lnTo>
                <a:lnTo>
                  <a:pt x="4475" y="834"/>
                </a:lnTo>
                <a:lnTo>
                  <a:pt x="4475" y="834"/>
                </a:lnTo>
                <a:lnTo>
                  <a:pt x="4419" y="838"/>
                </a:lnTo>
                <a:lnTo>
                  <a:pt x="4346" y="846"/>
                </a:lnTo>
                <a:lnTo>
                  <a:pt x="4366" y="844"/>
                </a:lnTo>
                <a:lnTo>
                  <a:pt x="4366" y="844"/>
                </a:lnTo>
                <a:lnTo>
                  <a:pt x="4294" y="852"/>
                </a:lnTo>
                <a:lnTo>
                  <a:pt x="4300" y="850"/>
                </a:lnTo>
                <a:lnTo>
                  <a:pt x="4280" y="854"/>
                </a:lnTo>
                <a:lnTo>
                  <a:pt x="4280" y="854"/>
                </a:lnTo>
                <a:lnTo>
                  <a:pt x="4276" y="854"/>
                </a:lnTo>
                <a:lnTo>
                  <a:pt x="4276" y="854"/>
                </a:lnTo>
                <a:lnTo>
                  <a:pt x="4222" y="858"/>
                </a:lnTo>
                <a:lnTo>
                  <a:pt x="4152" y="864"/>
                </a:lnTo>
                <a:lnTo>
                  <a:pt x="4152" y="864"/>
                </a:lnTo>
                <a:lnTo>
                  <a:pt x="4176" y="864"/>
                </a:lnTo>
                <a:lnTo>
                  <a:pt x="4216" y="860"/>
                </a:lnTo>
                <a:lnTo>
                  <a:pt x="4216" y="860"/>
                </a:lnTo>
                <a:lnTo>
                  <a:pt x="4238" y="858"/>
                </a:lnTo>
                <a:lnTo>
                  <a:pt x="4246" y="858"/>
                </a:lnTo>
                <a:lnTo>
                  <a:pt x="4242" y="858"/>
                </a:lnTo>
                <a:lnTo>
                  <a:pt x="4242" y="858"/>
                </a:lnTo>
                <a:lnTo>
                  <a:pt x="4090" y="874"/>
                </a:lnTo>
                <a:lnTo>
                  <a:pt x="4108" y="872"/>
                </a:lnTo>
                <a:lnTo>
                  <a:pt x="4108" y="872"/>
                </a:lnTo>
                <a:lnTo>
                  <a:pt x="4076" y="876"/>
                </a:lnTo>
                <a:lnTo>
                  <a:pt x="4034" y="880"/>
                </a:lnTo>
                <a:lnTo>
                  <a:pt x="4034" y="880"/>
                </a:lnTo>
                <a:lnTo>
                  <a:pt x="4018" y="880"/>
                </a:lnTo>
                <a:lnTo>
                  <a:pt x="4030" y="878"/>
                </a:lnTo>
                <a:lnTo>
                  <a:pt x="4046" y="876"/>
                </a:lnTo>
                <a:lnTo>
                  <a:pt x="4040" y="876"/>
                </a:lnTo>
                <a:lnTo>
                  <a:pt x="4040" y="876"/>
                </a:lnTo>
                <a:lnTo>
                  <a:pt x="4078" y="872"/>
                </a:lnTo>
                <a:lnTo>
                  <a:pt x="4102" y="870"/>
                </a:lnTo>
                <a:lnTo>
                  <a:pt x="4070" y="870"/>
                </a:lnTo>
                <a:lnTo>
                  <a:pt x="4070" y="870"/>
                </a:lnTo>
                <a:lnTo>
                  <a:pt x="4028" y="874"/>
                </a:lnTo>
                <a:lnTo>
                  <a:pt x="3992" y="876"/>
                </a:lnTo>
                <a:lnTo>
                  <a:pt x="4012" y="876"/>
                </a:lnTo>
                <a:lnTo>
                  <a:pt x="4012" y="876"/>
                </a:lnTo>
                <a:lnTo>
                  <a:pt x="3998" y="878"/>
                </a:lnTo>
                <a:lnTo>
                  <a:pt x="3979" y="878"/>
                </a:lnTo>
                <a:lnTo>
                  <a:pt x="3994" y="880"/>
                </a:lnTo>
                <a:lnTo>
                  <a:pt x="3994" y="880"/>
                </a:lnTo>
                <a:lnTo>
                  <a:pt x="4034" y="876"/>
                </a:lnTo>
                <a:lnTo>
                  <a:pt x="4066" y="874"/>
                </a:lnTo>
                <a:lnTo>
                  <a:pt x="4066" y="874"/>
                </a:lnTo>
                <a:lnTo>
                  <a:pt x="4018" y="878"/>
                </a:lnTo>
                <a:lnTo>
                  <a:pt x="3959" y="884"/>
                </a:lnTo>
                <a:lnTo>
                  <a:pt x="3959" y="884"/>
                </a:lnTo>
                <a:lnTo>
                  <a:pt x="3965" y="884"/>
                </a:lnTo>
                <a:lnTo>
                  <a:pt x="3979" y="882"/>
                </a:lnTo>
                <a:lnTo>
                  <a:pt x="3979" y="882"/>
                </a:lnTo>
                <a:lnTo>
                  <a:pt x="3943" y="886"/>
                </a:lnTo>
                <a:lnTo>
                  <a:pt x="3897" y="890"/>
                </a:lnTo>
                <a:lnTo>
                  <a:pt x="3897" y="890"/>
                </a:lnTo>
                <a:lnTo>
                  <a:pt x="3929" y="886"/>
                </a:lnTo>
                <a:lnTo>
                  <a:pt x="3935" y="884"/>
                </a:lnTo>
                <a:lnTo>
                  <a:pt x="3925" y="884"/>
                </a:lnTo>
                <a:lnTo>
                  <a:pt x="3905" y="888"/>
                </a:lnTo>
                <a:lnTo>
                  <a:pt x="3905" y="888"/>
                </a:lnTo>
                <a:lnTo>
                  <a:pt x="3889" y="888"/>
                </a:lnTo>
                <a:lnTo>
                  <a:pt x="3889" y="888"/>
                </a:lnTo>
                <a:lnTo>
                  <a:pt x="3879" y="890"/>
                </a:lnTo>
                <a:lnTo>
                  <a:pt x="3877" y="890"/>
                </a:lnTo>
                <a:lnTo>
                  <a:pt x="3857" y="892"/>
                </a:lnTo>
                <a:lnTo>
                  <a:pt x="3857" y="892"/>
                </a:lnTo>
                <a:lnTo>
                  <a:pt x="3847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43" y="892"/>
                </a:lnTo>
                <a:lnTo>
                  <a:pt x="3813" y="896"/>
                </a:lnTo>
                <a:lnTo>
                  <a:pt x="3783" y="898"/>
                </a:lnTo>
                <a:lnTo>
                  <a:pt x="3783" y="898"/>
                </a:lnTo>
                <a:lnTo>
                  <a:pt x="3803" y="898"/>
                </a:lnTo>
                <a:lnTo>
                  <a:pt x="3811" y="898"/>
                </a:lnTo>
                <a:lnTo>
                  <a:pt x="3805" y="898"/>
                </a:lnTo>
                <a:lnTo>
                  <a:pt x="3783" y="902"/>
                </a:lnTo>
                <a:lnTo>
                  <a:pt x="3783" y="902"/>
                </a:lnTo>
                <a:lnTo>
                  <a:pt x="3715" y="906"/>
                </a:lnTo>
                <a:lnTo>
                  <a:pt x="3659" y="910"/>
                </a:lnTo>
                <a:lnTo>
                  <a:pt x="3635" y="913"/>
                </a:lnTo>
                <a:lnTo>
                  <a:pt x="3635" y="913"/>
                </a:lnTo>
                <a:lnTo>
                  <a:pt x="3637" y="913"/>
                </a:lnTo>
                <a:lnTo>
                  <a:pt x="3635" y="913"/>
                </a:lnTo>
                <a:lnTo>
                  <a:pt x="3621" y="913"/>
                </a:lnTo>
                <a:lnTo>
                  <a:pt x="3585" y="917"/>
                </a:lnTo>
                <a:lnTo>
                  <a:pt x="3585" y="917"/>
                </a:lnTo>
                <a:lnTo>
                  <a:pt x="3595" y="915"/>
                </a:lnTo>
                <a:lnTo>
                  <a:pt x="3621" y="913"/>
                </a:lnTo>
                <a:lnTo>
                  <a:pt x="3651" y="910"/>
                </a:lnTo>
                <a:lnTo>
                  <a:pt x="3663" y="908"/>
                </a:lnTo>
                <a:lnTo>
                  <a:pt x="3663" y="908"/>
                </a:lnTo>
                <a:lnTo>
                  <a:pt x="3641" y="908"/>
                </a:lnTo>
                <a:lnTo>
                  <a:pt x="3655" y="906"/>
                </a:lnTo>
                <a:lnTo>
                  <a:pt x="3655" y="906"/>
                </a:lnTo>
                <a:lnTo>
                  <a:pt x="3637" y="908"/>
                </a:lnTo>
                <a:lnTo>
                  <a:pt x="3631" y="908"/>
                </a:lnTo>
                <a:lnTo>
                  <a:pt x="3631" y="910"/>
                </a:lnTo>
                <a:lnTo>
                  <a:pt x="3625" y="913"/>
                </a:lnTo>
                <a:lnTo>
                  <a:pt x="3625" y="913"/>
                </a:lnTo>
                <a:lnTo>
                  <a:pt x="3595" y="915"/>
                </a:lnTo>
                <a:lnTo>
                  <a:pt x="3579" y="915"/>
                </a:lnTo>
                <a:lnTo>
                  <a:pt x="3579" y="915"/>
                </a:lnTo>
                <a:lnTo>
                  <a:pt x="3583" y="913"/>
                </a:lnTo>
                <a:lnTo>
                  <a:pt x="3583" y="913"/>
                </a:lnTo>
                <a:lnTo>
                  <a:pt x="3548" y="917"/>
                </a:lnTo>
                <a:lnTo>
                  <a:pt x="3520" y="919"/>
                </a:lnTo>
                <a:lnTo>
                  <a:pt x="3520" y="919"/>
                </a:lnTo>
                <a:lnTo>
                  <a:pt x="3526" y="919"/>
                </a:lnTo>
                <a:lnTo>
                  <a:pt x="3526" y="917"/>
                </a:lnTo>
                <a:lnTo>
                  <a:pt x="3526" y="917"/>
                </a:lnTo>
                <a:lnTo>
                  <a:pt x="3526" y="917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19"/>
                </a:lnTo>
                <a:lnTo>
                  <a:pt x="3488" y="921"/>
                </a:lnTo>
                <a:lnTo>
                  <a:pt x="3504" y="919"/>
                </a:lnTo>
                <a:lnTo>
                  <a:pt x="3504" y="919"/>
                </a:lnTo>
                <a:lnTo>
                  <a:pt x="3468" y="923"/>
                </a:lnTo>
                <a:lnTo>
                  <a:pt x="3440" y="925"/>
                </a:lnTo>
                <a:lnTo>
                  <a:pt x="3440" y="925"/>
                </a:lnTo>
                <a:lnTo>
                  <a:pt x="3406" y="927"/>
                </a:lnTo>
                <a:lnTo>
                  <a:pt x="3352" y="931"/>
                </a:lnTo>
                <a:lnTo>
                  <a:pt x="3352" y="931"/>
                </a:lnTo>
                <a:lnTo>
                  <a:pt x="3362" y="931"/>
                </a:lnTo>
                <a:lnTo>
                  <a:pt x="3380" y="929"/>
                </a:lnTo>
                <a:lnTo>
                  <a:pt x="3402" y="927"/>
                </a:lnTo>
                <a:lnTo>
                  <a:pt x="3416" y="927"/>
                </a:lnTo>
                <a:lnTo>
                  <a:pt x="3416" y="927"/>
                </a:lnTo>
                <a:lnTo>
                  <a:pt x="3328" y="935"/>
                </a:lnTo>
                <a:lnTo>
                  <a:pt x="3222" y="943"/>
                </a:lnTo>
                <a:lnTo>
                  <a:pt x="3222" y="943"/>
                </a:lnTo>
                <a:lnTo>
                  <a:pt x="3200" y="943"/>
                </a:lnTo>
                <a:lnTo>
                  <a:pt x="3198" y="943"/>
                </a:lnTo>
                <a:lnTo>
                  <a:pt x="3200" y="943"/>
                </a:lnTo>
                <a:lnTo>
                  <a:pt x="3210" y="941"/>
                </a:lnTo>
                <a:lnTo>
                  <a:pt x="3212" y="941"/>
                </a:lnTo>
                <a:lnTo>
                  <a:pt x="3210" y="941"/>
                </a:lnTo>
                <a:lnTo>
                  <a:pt x="3210" y="941"/>
                </a:lnTo>
                <a:lnTo>
                  <a:pt x="3316" y="933"/>
                </a:lnTo>
                <a:lnTo>
                  <a:pt x="3316" y="933"/>
                </a:lnTo>
                <a:lnTo>
                  <a:pt x="3232" y="939"/>
                </a:lnTo>
                <a:lnTo>
                  <a:pt x="3156" y="945"/>
                </a:lnTo>
                <a:lnTo>
                  <a:pt x="3156" y="945"/>
                </a:lnTo>
                <a:lnTo>
                  <a:pt x="3125" y="947"/>
                </a:lnTo>
                <a:lnTo>
                  <a:pt x="3099" y="947"/>
                </a:lnTo>
                <a:lnTo>
                  <a:pt x="3073" y="949"/>
                </a:lnTo>
                <a:lnTo>
                  <a:pt x="3035" y="951"/>
                </a:lnTo>
                <a:lnTo>
                  <a:pt x="3035" y="951"/>
                </a:lnTo>
                <a:lnTo>
                  <a:pt x="3045" y="953"/>
                </a:lnTo>
                <a:lnTo>
                  <a:pt x="3063" y="951"/>
                </a:lnTo>
                <a:lnTo>
                  <a:pt x="3063" y="951"/>
                </a:lnTo>
                <a:lnTo>
                  <a:pt x="3009" y="955"/>
                </a:lnTo>
                <a:lnTo>
                  <a:pt x="3009" y="955"/>
                </a:lnTo>
                <a:lnTo>
                  <a:pt x="3007" y="955"/>
                </a:lnTo>
                <a:lnTo>
                  <a:pt x="3007" y="957"/>
                </a:lnTo>
                <a:lnTo>
                  <a:pt x="3015" y="955"/>
                </a:lnTo>
                <a:lnTo>
                  <a:pt x="3019" y="955"/>
                </a:lnTo>
                <a:lnTo>
                  <a:pt x="3011" y="957"/>
                </a:lnTo>
                <a:lnTo>
                  <a:pt x="3011" y="957"/>
                </a:lnTo>
                <a:lnTo>
                  <a:pt x="2993" y="957"/>
                </a:lnTo>
                <a:lnTo>
                  <a:pt x="2985" y="957"/>
                </a:lnTo>
                <a:lnTo>
                  <a:pt x="2989" y="957"/>
                </a:lnTo>
                <a:lnTo>
                  <a:pt x="2989" y="957"/>
                </a:lnTo>
                <a:lnTo>
                  <a:pt x="2957" y="959"/>
                </a:lnTo>
                <a:lnTo>
                  <a:pt x="2939" y="961"/>
                </a:lnTo>
                <a:lnTo>
                  <a:pt x="2923" y="961"/>
                </a:lnTo>
                <a:lnTo>
                  <a:pt x="2895" y="965"/>
                </a:lnTo>
                <a:lnTo>
                  <a:pt x="2895" y="965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23" y="963"/>
                </a:lnTo>
                <a:lnTo>
                  <a:pt x="2911" y="965"/>
                </a:lnTo>
                <a:lnTo>
                  <a:pt x="2877" y="969"/>
                </a:lnTo>
                <a:lnTo>
                  <a:pt x="2877" y="969"/>
                </a:lnTo>
                <a:lnTo>
                  <a:pt x="2865" y="969"/>
                </a:lnTo>
                <a:lnTo>
                  <a:pt x="2839" y="971"/>
                </a:lnTo>
                <a:lnTo>
                  <a:pt x="2839" y="971"/>
                </a:lnTo>
                <a:lnTo>
                  <a:pt x="2837" y="971"/>
                </a:lnTo>
                <a:lnTo>
                  <a:pt x="2841" y="971"/>
                </a:lnTo>
                <a:lnTo>
                  <a:pt x="2857" y="969"/>
                </a:lnTo>
                <a:lnTo>
                  <a:pt x="2889" y="965"/>
                </a:lnTo>
                <a:lnTo>
                  <a:pt x="2843" y="969"/>
                </a:lnTo>
                <a:lnTo>
                  <a:pt x="2853" y="969"/>
                </a:lnTo>
                <a:lnTo>
                  <a:pt x="2803" y="973"/>
                </a:lnTo>
                <a:lnTo>
                  <a:pt x="2803" y="973"/>
                </a:lnTo>
                <a:lnTo>
                  <a:pt x="2819" y="973"/>
                </a:lnTo>
                <a:lnTo>
                  <a:pt x="2823" y="973"/>
                </a:lnTo>
                <a:lnTo>
                  <a:pt x="2805" y="975"/>
                </a:lnTo>
                <a:lnTo>
                  <a:pt x="2805" y="975"/>
                </a:lnTo>
                <a:lnTo>
                  <a:pt x="2757" y="979"/>
                </a:lnTo>
                <a:lnTo>
                  <a:pt x="2743" y="979"/>
                </a:lnTo>
                <a:lnTo>
                  <a:pt x="2739" y="979"/>
                </a:lnTo>
                <a:lnTo>
                  <a:pt x="2739" y="979"/>
                </a:lnTo>
                <a:lnTo>
                  <a:pt x="2708" y="983"/>
                </a:lnTo>
                <a:lnTo>
                  <a:pt x="2660" y="987"/>
                </a:lnTo>
                <a:lnTo>
                  <a:pt x="2660" y="987"/>
                </a:lnTo>
                <a:lnTo>
                  <a:pt x="2674" y="985"/>
                </a:lnTo>
                <a:lnTo>
                  <a:pt x="2674" y="987"/>
                </a:lnTo>
                <a:lnTo>
                  <a:pt x="2654" y="989"/>
                </a:lnTo>
                <a:lnTo>
                  <a:pt x="2604" y="991"/>
                </a:lnTo>
                <a:lnTo>
                  <a:pt x="2604" y="991"/>
                </a:lnTo>
                <a:lnTo>
                  <a:pt x="2626" y="989"/>
                </a:lnTo>
                <a:lnTo>
                  <a:pt x="2620" y="989"/>
                </a:lnTo>
                <a:lnTo>
                  <a:pt x="2608" y="989"/>
                </a:lnTo>
                <a:lnTo>
                  <a:pt x="2604" y="989"/>
                </a:lnTo>
                <a:lnTo>
                  <a:pt x="2606" y="989"/>
                </a:lnTo>
                <a:lnTo>
                  <a:pt x="2606" y="989"/>
                </a:lnTo>
                <a:lnTo>
                  <a:pt x="2638" y="985"/>
                </a:lnTo>
                <a:lnTo>
                  <a:pt x="2680" y="983"/>
                </a:lnTo>
                <a:lnTo>
                  <a:pt x="2680" y="983"/>
                </a:lnTo>
                <a:lnTo>
                  <a:pt x="2646" y="985"/>
                </a:lnTo>
                <a:lnTo>
                  <a:pt x="2616" y="987"/>
                </a:lnTo>
                <a:lnTo>
                  <a:pt x="2588" y="991"/>
                </a:lnTo>
                <a:lnTo>
                  <a:pt x="2558" y="993"/>
                </a:lnTo>
                <a:lnTo>
                  <a:pt x="2558" y="993"/>
                </a:lnTo>
                <a:lnTo>
                  <a:pt x="2562" y="991"/>
                </a:lnTo>
                <a:lnTo>
                  <a:pt x="2582" y="989"/>
                </a:lnTo>
                <a:lnTo>
                  <a:pt x="2582" y="989"/>
                </a:lnTo>
                <a:lnTo>
                  <a:pt x="2554" y="993"/>
                </a:lnTo>
                <a:lnTo>
                  <a:pt x="2508" y="997"/>
                </a:lnTo>
                <a:lnTo>
                  <a:pt x="2508" y="997"/>
                </a:lnTo>
                <a:lnTo>
                  <a:pt x="2520" y="997"/>
                </a:lnTo>
                <a:lnTo>
                  <a:pt x="2518" y="997"/>
                </a:lnTo>
                <a:lnTo>
                  <a:pt x="2502" y="999"/>
                </a:lnTo>
                <a:lnTo>
                  <a:pt x="2460" y="1001"/>
                </a:lnTo>
                <a:lnTo>
                  <a:pt x="2460" y="1001"/>
                </a:lnTo>
                <a:lnTo>
                  <a:pt x="2436" y="1003"/>
                </a:lnTo>
                <a:lnTo>
                  <a:pt x="2428" y="1005"/>
                </a:lnTo>
                <a:lnTo>
                  <a:pt x="2422" y="1005"/>
                </a:lnTo>
                <a:lnTo>
                  <a:pt x="2404" y="1009"/>
                </a:lnTo>
                <a:lnTo>
                  <a:pt x="2430" y="1007"/>
                </a:lnTo>
                <a:lnTo>
                  <a:pt x="2430" y="1007"/>
                </a:lnTo>
                <a:lnTo>
                  <a:pt x="2402" y="1011"/>
                </a:lnTo>
                <a:lnTo>
                  <a:pt x="2374" y="1013"/>
                </a:lnTo>
                <a:lnTo>
                  <a:pt x="2374" y="1013"/>
                </a:lnTo>
                <a:lnTo>
                  <a:pt x="2440" y="1007"/>
                </a:lnTo>
                <a:lnTo>
                  <a:pt x="2440" y="1007"/>
                </a:lnTo>
                <a:lnTo>
                  <a:pt x="2442" y="1007"/>
                </a:lnTo>
                <a:lnTo>
                  <a:pt x="2438" y="1009"/>
                </a:lnTo>
                <a:lnTo>
                  <a:pt x="2424" y="1009"/>
                </a:lnTo>
                <a:lnTo>
                  <a:pt x="2392" y="1013"/>
                </a:lnTo>
                <a:lnTo>
                  <a:pt x="2392" y="1013"/>
                </a:lnTo>
                <a:lnTo>
                  <a:pt x="2307" y="1017"/>
                </a:lnTo>
                <a:lnTo>
                  <a:pt x="2307" y="1017"/>
                </a:lnTo>
                <a:lnTo>
                  <a:pt x="2318" y="1015"/>
                </a:lnTo>
                <a:lnTo>
                  <a:pt x="2340" y="1013"/>
                </a:lnTo>
                <a:lnTo>
                  <a:pt x="2360" y="1009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366" y="1007"/>
                </a:lnTo>
                <a:lnTo>
                  <a:pt x="2275" y="1015"/>
                </a:lnTo>
                <a:lnTo>
                  <a:pt x="2201" y="1021"/>
                </a:lnTo>
                <a:lnTo>
                  <a:pt x="2201" y="1021"/>
                </a:lnTo>
                <a:lnTo>
                  <a:pt x="2163" y="1025"/>
                </a:lnTo>
                <a:lnTo>
                  <a:pt x="2161" y="1027"/>
                </a:lnTo>
                <a:lnTo>
                  <a:pt x="2161" y="1027"/>
                </a:lnTo>
                <a:lnTo>
                  <a:pt x="2165" y="1027"/>
                </a:lnTo>
                <a:lnTo>
                  <a:pt x="2165" y="1027"/>
                </a:lnTo>
                <a:lnTo>
                  <a:pt x="2123" y="1031"/>
                </a:lnTo>
                <a:lnTo>
                  <a:pt x="2145" y="1029"/>
                </a:lnTo>
                <a:lnTo>
                  <a:pt x="2145" y="1029"/>
                </a:lnTo>
                <a:lnTo>
                  <a:pt x="1993" y="1043"/>
                </a:lnTo>
                <a:lnTo>
                  <a:pt x="1993" y="1043"/>
                </a:lnTo>
                <a:lnTo>
                  <a:pt x="1971" y="1045"/>
                </a:lnTo>
                <a:lnTo>
                  <a:pt x="1981" y="1047"/>
                </a:lnTo>
                <a:lnTo>
                  <a:pt x="1943" y="1049"/>
                </a:lnTo>
                <a:lnTo>
                  <a:pt x="1949" y="1049"/>
                </a:lnTo>
                <a:lnTo>
                  <a:pt x="1949" y="1049"/>
                </a:lnTo>
                <a:lnTo>
                  <a:pt x="1921" y="1053"/>
                </a:lnTo>
                <a:lnTo>
                  <a:pt x="1882" y="1055"/>
                </a:lnTo>
                <a:lnTo>
                  <a:pt x="1882" y="1055"/>
                </a:lnTo>
                <a:lnTo>
                  <a:pt x="1895" y="1053"/>
                </a:lnTo>
                <a:lnTo>
                  <a:pt x="1895" y="1053"/>
                </a:lnTo>
                <a:lnTo>
                  <a:pt x="1822" y="1059"/>
                </a:lnTo>
                <a:lnTo>
                  <a:pt x="1822" y="1059"/>
                </a:lnTo>
                <a:lnTo>
                  <a:pt x="1832" y="1057"/>
                </a:lnTo>
                <a:lnTo>
                  <a:pt x="1862" y="1055"/>
                </a:lnTo>
                <a:lnTo>
                  <a:pt x="1862" y="1055"/>
                </a:lnTo>
                <a:lnTo>
                  <a:pt x="1866" y="1055"/>
                </a:lnTo>
                <a:lnTo>
                  <a:pt x="1913" y="1051"/>
                </a:lnTo>
                <a:lnTo>
                  <a:pt x="1913" y="1051"/>
                </a:lnTo>
                <a:lnTo>
                  <a:pt x="1852" y="1055"/>
                </a:lnTo>
                <a:lnTo>
                  <a:pt x="1836" y="1055"/>
                </a:lnTo>
                <a:lnTo>
                  <a:pt x="1830" y="1055"/>
                </a:lnTo>
                <a:lnTo>
                  <a:pt x="1830" y="1055"/>
                </a:lnTo>
                <a:lnTo>
                  <a:pt x="1814" y="1057"/>
                </a:lnTo>
                <a:lnTo>
                  <a:pt x="1824" y="1055"/>
                </a:lnTo>
                <a:lnTo>
                  <a:pt x="1832" y="1055"/>
                </a:lnTo>
                <a:lnTo>
                  <a:pt x="1812" y="1057"/>
                </a:lnTo>
                <a:lnTo>
                  <a:pt x="1812" y="1057"/>
                </a:lnTo>
                <a:lnTo>
                  <a:pt x="1752" y="1061"/>
                </a:lnTo>
                <a:lnTo>
                  <a:pt x="1698" y="1065"/>
                </a:lnTo>
                <a:lnTo>
                  <a:pt x="1652" y="1069"/>
                </a:lnTo>
                <a:lnTo>
                  <a:pt x="1614" y="1069"/>
                </a:lnTo>
                <a:lnTo>
                  <a:pt x="1614" y="1069"/>
                </a:lnTo>
                <a:lnTo>
                  <a:pt x="1552" y="1075"/>
                </a:lnTo>
                <a:lnTo>
                  <a:pt x="1474" y="1083"/>
                </a:lnTo>
                <a:lnTo>
                  <a:pt x="1474" y="1083"/>
                </a:lnTo>
                <a:lnTo>
                  <a:pt x="1453" y="1085"/>
                </a:lnTo>
                <a:lnTo>
                  <a:pt x="1443" y="1085"/>
                </a:lnTo>
                <a:lnTo>
                  <a:pt x="1439" y="1087"/>
                </a:lnTo>
                <a:lnTo>
                  <a:pt x="1439" y="1087"/>
                </a:lnTo>
                <a:lnTo>
                  <a:pt x="1439" y="1087"/>
                </a:lnTo>
                <a:lnTo>
                  <a:pt x="1480" y="1085"/>
                </a:lnTo>
                <a:lnTo>
                  <a:pt x="1518" y="1081"/>
                </a:lnTo>
                <a:lnTo>
                  <a:pt x="1554" y="1077"/>
                </a:lnTo>
                <a:lnTo>
                  <a:pt x="1590" y="1075"/>
                </a:lnTo>
                <a:lnTo>
                  <a:pt x="1590" y="1075"/>
                </a:lnTo>
                <a:lnTo>
                  <a:pt x="1608" y="1073"/>
                </a:lnTo>
                <a:lnTo>
                  <a:pt x="1616" y="1071"/>
                </a:lnTo>
                <a:lnTo>
                  <a:pt x="1616" y="1071"/>
                </a:lnTo>
                <a:lnTo>
                  <a:pt x="1662" y="1069"/>
                </a:lnTo>
                <a:lnTo>
                  <a:pt x="1662" y="1069"/>
                </a:lnTo>
                <a:lnTo>
                  <a:pt x="1638" y="1071"/>
                </a:lnTo>
                <a:lnTo>
                  <a:pt x="1628" y="1073"/>
                </a:lnTo>
                <a:lnTo>
                  <a:pt x="1616" y="1075"/>
                </a:lnTo>
                <a:lnTo>
                  <a:pt x="1584" y="1079"/>
                </a:lnTo>
                <a:lnTo>
                  <a:pt x="1584" y="1079"/>
                </a:lnTo>
                <a:lnTo>
                  <a:pt x="1620" y="1077"/>
                </a:lnTo>
                <a:lnTo>
                  <a:pt x="1668" y="1073"/>
                </a:lnTo>
                <a:lnTo>
                  <a:pt x="1668" y="1073"/>
                </a:lnTo>
                <a:lnTo>
                  <a:pt x="1666" y="1073"/>
                </a:lnTo>
                <a:lnTo>
                  <a:pt x="1668" y="1073"/>
                </a:lnTo>
                <a:lnTo>
                  <a:pt x="1684" y="1073"/>
                </a:lnTo>
                <a:lnTo>
                  <a:pt x="1684" y="1073"/>
                </a:lnTo>
                <a:lnTo>
                  <a:pt x="1610" y="1081"/>
                </a:lnTo>
                <a:lnTo>
                  <a:pt x="1610" y="1081"/>
                </a:lnTo>
                <a:lnTo>
                  <a:pt x="1612" y="1081"/>
                </a:lnTo>
                <a:lnTo>
                  <a:pt x="1612" y="1081"/>
                </a:lnTo>
                <a:lnTo>
                  <a:pt x="1610" y="1081"/>
                </a:lnTo>
                <a:lnTo>
                  <a:pt x="1610" y="1081"/>
                </a:lnTo>
                <a:lnTo>
                  <a:pt x="1542" y="1087"/>
                </a:lnTo>
                <a:lnTo>
                  <a:pt x="1542" y="1087"/>
                </a:lnTo>
                <a:lnTo>
                  <a:pt x="1522" y="1087"/>
                </a:lnTo>
                <a:lnTo>
                  <a:pt x="1522" y="1087"/>
                </a:lnTo>
                <a:lnTo>
                  <a:pt x="1528" y="1087"/>
                </a:lnTo>
                <a:lnTo>
                  <a:pt x="1528" y="1087"/>
                </a:lnTo>
                <a:lnTo>
                  <a:pt x="1461" y="1091"/>
                </a:lnTo>
                <a:lnTo>
                  <a:pt x="1435" y="1093"/>
                </a:lnTo>
                <a:lnTo>
                  <a:pt x="1425" y="1093"/>
                </a:lnTo>
                <a:lnTo>
                  <a:pt x="1425" y="1093"/>
                </a:lnTo>
                <a:lnTo>
                  <a:pt x="1407" y="1095"/>
                </a:lnTo>
                <a:lnTo>
                  <a:pt x="1415" y="1095"/>
                </a:lnTo>
                <a:lnTo>
                  <a:pt x="1445" y="1093"/>
                </a:lnTo>
                <a:lnTo>
                  <a:pt x="1441" y="1093"/>
                </a:lnTo>
                <a:lnTo>
                  <a:pt x="1492" y="1089"/>
                </a:lnTo>
                <a:lnTo>
                  <a:pt x="1492" y="1089"/>
                </a:lnTo>
                <a:lnTo>
                  <a:pt x="1486" y="1091"/>
                </a:lnTo>
                <a:lnTo>
                  <a:pt x="1463" y="1093"/>
                </a:lnTo>
                <a:lnTo>
                  <a:pt x="1439" y="1095"/>
                </a:lnTo>
                <a:lnTo>
                  <a:pt x="1425" y="1097"/>
                </a:lnTo>
                <a:lnTo>
                  <a:pt x="1425" y="1097"/>
                </a:lnTo>
                <a:lnTo>
                  <a:pt x="1419" y="1097"/>
                </a:lnTo>
                <a:lnTo>
                  <a:pt x="1409" y="1099"/>
                </a:lnTo>
                <a:lnTo>
                  <a:pt x="1381" y="1101"/>
                </a:lnTo>
                <a:lnTo>
                  <a:pt x="1317" y="1103"/>
                </a:lnTo>
                <a:lnTo>
                  <a:pt x="1357" y="1097"/>
                </a:lnTo>
                <a:lnTo>
                  <a:pt x="1321" y="1101"/>
                </a:lnTo>
                <a:lnTo>
                  <a:pt x="1321" y="1101"/>
                </a:lnTo>
                <a:lnTo>
                  <a:pt x="1343" y="1097"/>
                </a:lnTo>
                <a:lnTo>
                  <a:pt x="1375" y="1093"/>
                </a:lnTo>
                <a:lnTo>
                  <a:pt x="1375" y="1093"/>
                </a:lnTo>
                <a:lnTo>
                  <a:pt x="1221" y="1101"/>
                </a:lnTo>
                <a:lnTo>
                  <a:pt x="1221" y="1101"/>
                </a:lnTo>
                <a:lnTo>
                  <a:pt x="1207" y="1101"/>
                </a:lnTo>
                <a:lnTo>
                  <a:pt x="1207" y="1101"/>
                </a:lnTo>
                <a:lnTo>
                  <a:pt x="1209" y="1099"/>
                </a:lnTo>
                <a:lnTo>
                  <a:pt x="1209" y="1099"/>
                </a:lnTo>
                <a:lnTo>
                  <a:pt x="1175" y="1103"/>
                </a:lnTo>
                <a:lnTo>
                  <a:pt x="1145" y="1103"/>
                </a:lnTo>
                <a:lnTo>
                  <a:pt x="1087" y="1107"/>
                </a:lnTo>
                <a:lnTo>
                  <a:pt x="1087" y="1107"/>
                </a:lnTo>
                <a:lnTo>
                  <a:pt x="1075" y="1107"/>
                </a:lnTo>
                <a:lnTo>
                  <a:pt x="1089" y="1107"/>
                </a:lnTo>
                <a:lnTo>
                  <a:pt x="1105" y="1107"/>
                </a:lnTo>
                <a:lnTo>
                  <a:pt x="1107" y="1107"/>
                </a:lnTo>
                <a:lnTo>
                  <a:pt x="1101" y="1109"/>
                </a:lnTo>
                <a:lnTo>
                  <a:pt x="1101" y="1109"/>
                </a:lnTo>
                <a:lnTo>
                  <a:pt x="1073" y="1109"/>
                </a:lnTo>
                <a:lnTo>
                  <a:pt x="1048" y="1113"/>
                </a:lnTo>
                <a:lnTo>
                  <a:pt x="1048" y="1113"/>
                </a:lnTo>
                <a:lnTo>
                  <a:pt x="1145" y="1107"/>
                </a:lnTo>
                <a:lnTo>
                  <a:pt x="1145" y="1107"/>
                </a:lnTo>
                <a:lnTo>
                  <a:pt x="1123" y="1109"/>
                </a:lnTo>
                <a:lnTo>
                  <a:pt x="1115" y="1111"/>
                </a:lnTo>
                <a:lnTo>
                  <a:pt x="1157" y="1109"/>
                </a:lnTo>
                <a:lnTo>
                  <a:pt x="1157" y="1109"/>
                </a:lnTo>
                <a:lnTo>
                  <a:pt x="1149" y="1109"/>
                </a:lnTo>
                <a:lnTo>
                  <a:pt x="1129" y="1111"/>
                </a:lnTo>
                <a:lnTo>
                  <a:pt x="1087" y="1115"/>
                </a:lnTo>
                <a:lnTo>
                  <a:pt x="1087" y="1115"/>
                </a:lnTo>
                <a:lnTo>
                  <a:pt x="1105" y="1109"/>
                </a:lnTo>
                <a:lnTo>
                  <a:pt x="1105" y="1109"/>
                </a:lnTo>
                <a:lnTo>
                  <a:pt x="1040" y="1113"/>
                </a:lnTo>
                <a:lnTo>
                  <a:pt x="982" y="1117"/>
                </a:lnTo>
                <a:lnTo>
                  <a:pt x="982" y="1117"/>
                </a:lnTo>
                <a:lnTo>
                  <a:pt x="978" y="1117"/>
                </a:lnTo>
                <a:lnTo>
                  <a:pt x="984" y="1115"/>
                </a:lnTo>
                <a:lnTo>
                  <a:pt x="1008" y="1113"/>
                </a:lnTo>
                <a:lnTo>
                  <a:pt x="1008" y="1113"/>
                </a:lnTo>
                <a:lnTo>
                  <a:pt x="986" y="1115"/>
                </a:lnTo>
                <a:lnTo>
                  <a:pt x="964" y="1115"/>
                </a:lnTo>
                <a:lnTo>
                  <a:pt x="964" y="1115"/>
                </a:lnTo>
                <a:lnTo>
                  <a:pt x="978" y="1115"/>
                </a:lnTo>
                <a:lnTo>
                  <a:pt x="998" y="1113"/>
                </a:lnTo>
                <a:lnTo>
                  <a:pt x="894" y="1119"/>
                </a:lnTo>
                <a:lnTo>
                  <a:pt x="894" y="1119"/>
                </a:lnTo>
                <a:lnTo>
                  <a:pt x="936" y="1115"/>
                </a:lnTo>
                <a:lnTo>
                  <a:pt x="936" y="1115"/>
                </a:lnTo>
                <a:lnTo>
                  <a:pt x="892" y="1119"/>
                </a:lnTo>
                <a:lnTo>
                  <a:pt x="844" y="1123"/>
                </a:lnTo>
                <a:lnTo>
                  <a:pt x="844" y="1123"/>
                </a:lnTo>
                <a:lnTo>
                  <a:pt x="792" y="1125"/>
                </a:lnTo>
                <a:lnTo>
                  <a:pt x="778" y="1125"/>
                </a:lnTo>
                <a:lnTo>
                  <a:pt x="776" y="1125"/>
                </a:lnTo>
                <a:lnTo>
                  <a:pt x="778" y="1125"/>
                </a:lnTo>
                <a:lnTo>
                  <a:pt x="778" y="1125"/>
                </a:lnTo>
                <a:lnTo>
                  <a:pt x="768" y="1125"/>
                </a:lnTo>
                <a:lnTo>
                  <a:pt x="772" y="1127"/>
                </a:lnTo>
                <a:lnTo>
                  <a:pt x="772" y="1127"/>
                </a:lnTo>
                <a:lnTo>
                  <a:pt x="724" y="1129"/>
                </a:lnTo>
                <a:lnTo>
                  <a:pt x="688" y="1133"/>
                </a:lnTo>
                <a:lnTo>
                  <a:pt x="712" y="1133"/>
                </a:lnTo>
                <a:lnTo>
                  <a:pt x="712" y="1133"/>
                </a:lnTo>
                <a:lnTo>
                  <a:pt x="688" y="1133"/>
                </a:lnTo>
                <a:lnTo>
                  <a:pt x="682" y="1135"/>
                </a:lnTo>
                <a:lnTo>
                  <a:pt x="678" y="1135"/>
                </a:lnTo>
                <a:lnTo>
                  <a:pt x="658" y="1137"/>
                </a:lnTo>
                <a:lnTo>
                  <a:pt x="658" y="1137"/>
                </a:lnTo>
                <a:lnTo>
                  <a:pt x="662" y="1135"/>
                </a:lnTo>
                <a:lnTo>
                  <a:pt x="662" y="1135"/>
                </a:lnTo>
                <a:lnTo>
                  <a:pt x="656" y="1133"/>
                </a:lnTo>
                <a:lnTo>
                  <a:pt x="656" y="1133"/>
                </a:lnTo>
                <a:lnTo>
                  <a:pt x="634" y="1135"/>
                </a:lnTo>
                <a:lnTo>
                  <a:pt x="603" y="1135"/>
                </a:lnTo>
                <a:lnTo>
                  <a:pt x="603" y="1135"/>
                </a:lnTo>
                <a:lnTo>
                  <a:pt x="605" y="1135"/>
                </a:lnTo>
                <a:lnTo>
                  <a:pt x="601" y="1137"/>
                </a:lnTo>
                <a:lnTo>
                  <a:pt x="591" y="1137"/>
                </a:lnTo>
                <a:lnTo>
                  <a:pt x="585" y="1139"/>
                </a:lnTo>
                <a:lnTo>
                  <a:pt x="593" y="1139"/>
                </a:lnTo>
                <a:lnTo>
                  <a:pt x="593" y="1139"/>
                </a:lnTo>
                <a:lnTo>
                  <a:pt x="543" y="1141"/>
                </a:lnTo>
                <a:lnTo>
                  <a:pt x="501" y="1145"/>
                </a:lnTo>
                <a:lnTo>
                  <a:pt x="501" y="1145"/>
                </a:lnTo>
                <a:lnTo>
                  <a:pt x="505" y="1145"/>
                </a:lnTo>
                <a:lnTo>
                  <a:pt x="493" y="1145"/>
                </a:lnTo>
                <a:lnTo>
                  <a:pt x="481" y="1147"/>
                </a:lnTo>
                <a:lnTo>
                  <a:pt x="479" y="1147"/>
                </a:lnTo>
                <a:lnTo>
                  <a:pt x="483" y="1147"/>
                </a:lnTo>
                <a:lnTo>
                  <a:pt x="483" y="1147"/>
                </a:lnTo>
                <a:lnTo>
                  <a:pt x="435" y="1149"/>
                </a:lnTo>
                <a:lnTo>
                  <a:pt x="423" y="1149"/>
                </a:lnTo>
                <a:lnTo>
                  <a:pt x="423" y="1149"/>
                </a:lnTo>
                <a:lnTo>
                  <a:pt x="425" y="1147"/>
                </a:lnTo>
                <a:lnTo>
                  <a:pt x="425" y="1147"/>
                </a:lnTo>
                <a:lnTo>
                  <a:pt x="449" y="1147"/>
                </a:lnTo>
                <a:lnTo>
                  <a:pt x="459" y="1145"/>
                </a:lnTo>
                <a:lnTo>
                  <a:pt x="385" y="1149"/>
                </a:lnTo>
                <a:lnTo>
                  <a:pt x="385" y="1149"/>
                </a:lnTo>
                <a:lnTo>
                  <a:pt x="357" y="1149"/>
                </a:lnTo>
                <a:lnTo>
                  <a:pt x="341" y="1149"/>
                </a:lnTo>
                <a:lnTo>
                  <a:pt x="341" y="1149"/>
                </a:lnTo>
                <a:lnTo>
                  <a:pt x="295" y="1151"/>
                </a:lnTo>
                <a:lnTo>
                  <a:pt x="271" y="1151"/>
                </a:lnTo>
                <a:lnTo>
                  <a:pt x="253" y="1153"/>
                </a:lnTo>
                <a:lnTo>
                  <a:pt x="253" y="1153"/>
                </a:lnTo>
                <a:lnTo>
                  <a:pt x="287" y="1151"/>
                </a:lnTo>
                <a:lnTo>
                  <a:pt x="307" y="1151"/>
                </a:lnTo>
                <a:lnTo>
                  <a:pt x="297" y="1153"/>
                </a:lnTo>
                <a:lnTo>
                  <a:pt x="303" y="1153"/>
                </a:lnTo>
                <a:lnTo>
                  <a:pt x="271" y="1157"/>
                </a:lnTo>
                <a:lnTo>
                  <a:pt x="271" y="1157"/>
                </a:lnTo>
                <a:lnTo>
                  <a:pt x="285" y="1155"/>
                </a:lnTo>
                <a:lnTo>
                  <a:pt x="291" y="1155"/>
                </a:lnTo>
                <a:lnTo>
                  <a:pt x="297" y="1153"/>
                </a:lnTo>
                <a:lnTo>
                  <a:pt x="319" y="1153"/>
                </a:lnTo>
                <a:lnTo>
                  <a:pt x="319" y="1153"/>
                </a:lnTo>
                <a:lnTo>
                  <a:pt x="327" y="1153"/>
                </a:lnTo>
                <a:lnTo>
                  <a:pt x="323" y="1153"/>
                </a:lnTo>
                <a:lnTo>
                  <a:pt x="295" y="1157"/>
                </a:lnTo>
                <a:lnTo>
                  <a:pt x="269" y="1159"/>
                </a:lnTo>
                <a:lnTo>
                  <a:pt x="265" y="1159"/>
                </a:lnTo>
                <a:lnTo>
                  <a:pt x="273" y="1159"/>
                </a:lnTo>
                <a:lnTo>
                  <a:pt x="273" y="1159"/>
                </a:lnTo>
                <a:lnTo>
                  <a:pt x="303" y="1157"/>
                </a:lnTo>
                <a:lnTo>
                  <a:pt x="327" y="1155"/>
                </a:lnTo>
                <a:lnTo>
                  <a:pt x="319" y="1155"/>
                </a:lnTo>
                <a:lnTo>
                  <a:pt x="379" y="1151"/>
                </a:lnTo>
                <a:lnTo>
                  <a:pt x="379" y="1151"/>
                </a:lnTo>
                <a:lnTo>
                  <a:pt x="373" y="1153"/>
                </a:lnTo>
                <a:lnTo>
                  <a:pt x="363" y="1153"/>
                </a:lnTo>
                <a:lnTo>
                  <a:pt x="363" y="1153"/>
                </a:lnTo>
                <a:lnTo>
                  <a:pt x="525" y="1147"/>
                </a:lnTo>
                <a:lnTo>
                  <a:pt x="525" y="1147"/>
                </a:lnTo>
                <a:lnTo>
                  <a:pt x="517" y="1147"/>
                </a:lnTo>
                <a:lnTo>
                  <a:pt x="521" y="1145"/>
                </a:lnTo>
                <a:lnTo>
                  <a:pt x="539" y="1143"/>
                </a:lnTo>
                <a:lnTo>
                  <a:pt x="539" y="1143"/>
                </a:lnTo>
                <a:lnTo>
                  <a:pt x="565" y="1143"/>
                </a:lnTo>
                <a:lnTo>
                  <a:pt x="587" y="1141"/>
                </a:lnTo>
                <a:lnTo>
                  <a:pt x="587" y="1141"/>
                </a:lnTo>
                <a:lnTo>
                  <a:pt x="569" y="1143"/>
                </a:lnTo>
                <a:lnTo>
                  <a:pt x="547" y="1145"/>
                </a:lnTo>
                <a:lnTo>
                  <a:pt x="549" y="1147"/>
                </a:lnTo>
                <a:lnTo>
                  <a:pt x="549" y="1147"/>
                </a:lnTo>
                <a:lnTo>
                  <a:pt x="503" y="1151"/>
                </a:lnTo>
                <a:lnTo>
                  <a:pt x="443" y="1157"/>
                </a:lnTo>
                <a:lnTo>
                  <a:pt x="443" y="1157"/>
                </a:lnTo>
                <a:lnTo>
                  <a:pt x="405" y="1159"/>
                </a:lnTo>
                <a:lnTo>
                  <a:pt x="339" y="1163"/>
                </a:lnTo>
                <a:lnTo>
                  <a:pt x="359" y="1163"/>
                </a:lnTo>
                <a:lnTo>
                  <a:pt x="359" y="1163"/>
                </a:lnTo>
                <a:lnTo>
                  <a:pt x="339" y="1165"/>
                </a:lnTo>
                <a:lnTo>
                  <a:pt x="331" y="1165"/>
                </a:lnTo>
                <a:lnTo>
                  <a:pt x="321" y="1165"/>
                </a:lnTo>
                <a:lnTo>
                  <a:pt x="293" y="1167"/>
                </a:lnTo>
                <a:lnTo>
                  <a:pt x="293" y="1167"/>
                </a:lnTo>
                <a:lnTo>
                  <a:pt x="255" y="1165"/>
                </a:lnTo>
                <a:lnTo>
                  <a:pt x="247" y="1163"/>
                </a:lnTo>
                <a:lnTo>
                  <a:pt x="259" y="1161"/>
                </a:lnTo>
                <a:lnTo>
                  <a:pt x="259" y="1161"/>
                </a:lnTo>
                <a:lnTo>
                  <a:pt x="211" y="1163"/>
                </a:lnTo>
                <a:lnTo>
                  <a:pt x="166" y="1165"/>
                </a:lnTo>
                <a:lnTo>
                  <a:pt x="166" y="1165"/>
                </a:lnTo>
                <a:lnTo>
                  <a:pt x="160" y="1165"/>
                </a:lnTo>
                <a:lnTo>
                  <a:pt x="164" y="1163"/>
                </a:lnTo>
                <a:lnTo>
                  <a:pt x="172" y="1163"/>
                </a:lnTo>
                <a:lnTo>
                  <a:pt x="174" y="1161"/>
                </a:lnTo>
                <a:lnTo>
                  <a:pt x="174" y="1161"/>
                </a:lnTo>
                <a:lnTo>
                  <a:pt x="174" y="1161"/>
                </a:lnTo>
                <a:lnTo>
                  <a:pt x="136" y="1163"/>
                </a:lnTo>
                <a:lnTo>
                  <a:pt x="128" y="1165"/>
                </a:lnTo>
                <a:lnTo>
                  <a:pt x="134" y="1165"/>
                </a:lnTo>
                <a:lnTo>
                  <a:pt x="84" y="1167"/>
                </a:lnTo>
                <a:lnTo>
                  <a:pt x="84" y="1167"/>
                </a:lnTo>
                <a:lnTo>
                  <a:pt x="106" y="1165"/>
                </a:lnTo>
                <a:lnTo>
                  <a:pt x="106" y="1165"/>
                </a:lnTo>
                <a:lnTo>
                  <a:pt x="38" y="1169"/>
                </a:lnTo>
                <a:lnTo>
                  <a:pt x="38" y="1169"/>
                </a:lnTo>
                <a:lnTo>
                  <a:pt x="60" y="1167"/>
                </a:lnTo>
                <a:lnTo>
                  <a:pt x="60" y="1167"/>
                </a:lnTo>
                <a:lnTo>
                  <a:pt x="0" y="1173"/>
                </a:lnTo>
                <a:lnTo>
                  <a:pt x="0" y="1173"/>
                </a:lnTo>
                <a:lnTo>
                  <a:pt x="32" y="1171"/>
                </a:lnTo>
                <a:lnTo>
                  <a:pt x="66" y="1169"/>
                </a:lnTo>
                <a:lnTo>
                  <a:pt x="66" y="1169"/>
                </a:lnTo>
                <a:lnTo>
                  <a:pt x="58" y="1171"/>
                </a:lnTo>
                <a:lnTo>
                  <a:pt x="40" y="1171"/>
                </a:lnTo>
                <a:lnTo>
                  <a:pt x="40" y="1171"/>
                </a:lnTo>
                <a:lnTo>
                  <a:pt x="78" y="1171"/>
                </a:lnTo>
                <a:lnTo>
                  <a:pt x="104" y="1171"/>
                </a:lnTo>
                <a:lnTo>
                  <a:pt x="104" y="1171"/>
                </a:lnTo>
                <a:lnTo>
                  <a:pt x="78" y="1173"/>
                </a:lnTo>
                <a:lnTo>
                  <a:pt x="64" y="1173"/>
                </a:lnTo>
                <a:lnTo>
                  <a:pt x="64" y="1173"/>
                </a:lnTo>
                <a:lnTo>
                  <a:pt x="136" y="1171"/>
                </a:lnTo>
                <a:lnTo>
                  <a:pt x="136" y="1171"/>
                </a:lnTo>
                <a:lnTo>
                  <a:pt x="150" y="1171"/>
                </a:lnTo>
                <a:lnTo>
                  <a:pt x="174" y="1169"/>
                </a:lnTo>
                <a:lnTo>
                  <a:pt x="192" y="1169"/>
                </a:lnTo>
                <a:lnTo>
                  <a:pt x="194" y="1169"/>
                </a:lnTo>
                <a:lnTo>
                  <a:pt x="188" y="1169"/>
                </a:lnTo>
                <a:lnTo>
                  <a:pt x="188" y="1169"/>
                </a:lnTo>
                <a:lnTo>
                  <a:pt x="237" y="1167"/>
                </a:lnTo>
                <a:lnTo>
                  <a:pt x="237" y="1167"/>
                </a:lnTo>
                <a:lnTo>
                  <a:pt x="215" y="1169"/>
                </a:lnTo>
                <a:lnTo>
                  <a:pt x="180" y="1173"/>
                </a:lnTo>
                <a:lnTo>
                  <a:pt x="180" y="1173"/>
                </a:lnTo>
                <a:lnTo>
                  <a:pt x="148" y="1175"/>
                </a:lnTo>
                <a:lnTo>
                  <a:pt x="146" y="1173"/>
                </a:lnTo>
                <a:lnTo>
                  <a:pt x="150" y="1173"/>
                </a:lnTo>
                <a:lnTo>
                  <a:pt x="162" y="1171"/>
                </a:lnTo>
                <a:lnTo>
                  <a:pt x="166" y="1171"/>
                </a:lnTo>
                <a:lnTo>
                  <a:pt x="164" y="1171"/>
                </a:lnTo>
                <a:lnTo>
                  <a:pt x="104" y="1173"/>
                </a:lnTo>
                <a:lnTo>
                  <a:pt x="104" y="1173"/>
                </a:lnTo>
                <a:lnTo>
                  <a:pt x="98" y="1175"/>
                </a:lnTo>
                <a:lnTo>
                  <a:pt x="118" y="1175"/>
                </a:lnTo>
                <a:lnTo>
                  <a:pt x="118" y="1175"/>
                </a:lnTo>
                <a:lnTo>
                  <a:pt x="80" y="1177"/>
                </a:lnTo>
                <a:lnTo>
                  <a:pt x="32" y="1179"/>
                </a:lnTo>
                <a:lnTo>
                  <a:pt x="32" y="1179"/>
                </a:lnTo>
                <a:lnTo>
                  <a:pt x="54" y="1179"/>
                </a:lnTo>
                <a:lnTo>
                  <a:pt x="54" y="1179"/>
                </a:lnTo>
                <a:lnTo>
                  <a:pt x="36" y="1181"/>
                </a:lnTo>
                <a:lnTo>
                  <a:pt x="34" y="1181"/>
                </a:lnTo>
                <a:lnTo>
                  <a:pt x="36" y="1183"/>
                </a:lnTo>
                <a:lnTo>
                  <a:pt x="60" y="1181"/>
                </a:lnTo>
                <a:lnTo>
                  <a:pt x="60" y="1181"/>
                </a:lnTo>
                <a:lnTo>
                  <a:pt x="56" y="1181"/>
                </a:lnTo>
                <a:lnTo>
                  <a:pt x="62" y="1181"/>
                </a:lnTo>
                <a:lnTo>
                  <a:pt x="66" y="1181"/>
                </a:lnTo>
                <a:lnTo>
                  <a:pt x="58" y="1181"/>
                </a:lnTo>
                <a:lnTo>
                  <a:pt x="58" y="1181"/>
                </a:lnTo>
                <a:lnTo>
                  <a:pt x="98" y="1179"/>
                </a:lnTo>
                <a:lnTo>
                  <a:pt x="112" y="1179"/>
                </a:lnTo>
                <a:lnTo>
                  <a:pt x="114" y="1179"/>
                </a:lnTo>
                <a:lnTo>
                  <a:pt x="110" y="1181"/>
                </a:lnTo>
                <a:lnTo>
                  <a:pt x="196" y="1175"/>
                </a:lnTo>
                <a:lnTo>
                  <a:pt x="196" y="1175"/>
                </a:lnTo>
                <a:lnTo>
                  <a:pt x="190" y="1175"/>
                </a:lnTo>
                <a:lnTo>
                  <a:pt x="170" y="1177"/>
                </a:lnTo>
                <a:lnTo>
                  <a:pt x="239" y="1173"/>
                </a:lnTo>
                <a:lnTo>
                  <a:pt x="221" y="1173"/>
                </a:lnTo>
                <a:lnTo>
                  <a:pt x="221" y="1173"/>
                </a:lnTo>
                <a:lnTo>
                  <a:pt x="285" y="1169"/>
                </a:lnTo>
                <a:lnTo>
                  <a:pt x="343" y="1165"/>
                </a:lnTo>
                <a:lnTo>
                  <a:pt x="343" y="1165"/>
                </a:lnTo>
                <a:lnTo>
                  <a:pt x="317" y="1167"/>
                </a:lnTo>
                <a:lnTo>
                  <a:pt x="277" y="1171"/>
                </a:lnTo>
                <a:lnTo>
                  <a:pt x="277" y="1171"/>
                </a:lnTo>
                <a:lnTo>
                  <a:pt x="291" y="1171"/>
                </a:lnTo>
                <a:lnTo>
                  <a:pt x="301" y="1169"/>
                </a:lnTo>
                <a:lnTo>
                  <a:pt x="335" y="1167"/>
                </a:lnTo>
                <a:lnTo>
                  <a:pt x="335" y="1167"/>
                </a:lnTo>
                <a:lnTo>
                  <a:pt x="341" y="1167"/>
                </a:lnTo>
                <a:lnTo>
                  <a:pt x="341" y="1169"/>
                </a:lnTo>
                <a:lnTo>
                  <a:pt x="373" y="1165"/>
                </a:lnTo>
                <a:lnTo>
                  <a:pt x="373" y="1165"/>
                </a:lnTo>
                <a:lnTo>
                  <a:pt x="379" y="1165"/>
                </a:lnTo>
                <a:lnTo>
                  <a:pt x="373" y="1165"/>
                </a:lnTo>
                <a:lnTo>
                  <a:pt x="373" y="1165"/>
                </a:lnTo>
                <a:lnTo>
                  <a:pt x="399" y="1163"/>
                </a:lnTo>
                <a:lnTo>
                  <a:pt x="403" y="1163"/>
                </a:lnTo>
                <a:lnTo>
                  <a:pt x="449" y="1159"/>
                </a:lnTo>
                <a:lnTo>
                  <a:pt x="449" y="1159"/>
                </a:lnTo>
                <a:lnTo>
                  <a:pt x="407" y="1161"/>
                </a:lnTo>
                <a:lnTo>
                  <a:pt x="371" y="1163"/>
                </a:lnTo>
                <a:lnTo>
                  <a:pt x="371" y="1163"/>
                </a:lnTo>
                <a:lnTo>
                  <a:pt x="365" y="1163"/>
                </a:lnTo>
                <a:lnTo>
                  <a:pt x="369" y="1163"/>
                </a:lnTo>
                <a:lnTo>
                  <a:pt x="385" y="1161"/>
                </a:lnTo>
                <a:lnTo>
                  <a:pt x="425" y="1159"/>
                </a:lnTo>
                <a:lnTo>
                  <a:pt x="425" y="1159"/>
                </a:lnTo>
                <a:lnTo>
                  <a:pt x="467" y="1157"/>
                </a:lnTo>
                <a:lnTo>
                  <a:pt x="515" y="1155"/>
                </a:lnTo>
                <a:lnTo>
                  <a:pt x="515" y="1155"/>
                </a:lnTo>
                <a:lnTo>
                  <a:pt x="497" y="1157"/>
                </a:lnTo>
                <a:lnTo>
                  <a:pt x="467" y="1159"/>
                </a:lnTo>
                <a:lnTo>
                  <a:pt x="467" y="1159"/>
                </a:lnTo>
                <a:lnTo>
                  <a:pt x="457" y="1161"/>
                </a:lnTo>
                <a:lnTo>
                  <a:pt x="465" y="1161"/>
                </a:lnTo>
                <a:lnTo>
                  <a:pt x="487" y="1161"/>
                </a:lnTo>
                <a:lnTo>
                  <a:pt x="487" y="1161"/>
                </a:lnTo>
                <a:lnTo>
                  <a:pt x="491" y="1159"/>
                </a:lnTo>
                <a:lnTo>
                  <a:pt x="491" y="1159"/>
                </a:lnTo>
                <a:lnTo>
                  <a:pt x="513" y="1157"/>
                </a:lnTo>
                <a:lnTo>
                  <a:pt x="511" y="1157"/>
                </a:lnTo>
                <a:lnTo>
                  <a:pt x="567" y="1153"/>
                </a:lnTo>
                <a:lnTo>
                  <a:pt x="567" y="1153"/>
                </a:lnTo>
                <a:lnTo>
                  <a:pt x="654" y="1149"/>
                </a:lnTo>
                <a:lnTo>
                  <a:pt x="692" y="1145"/>
                </a:lnTo>
                <a:lnTo>
                  <a:pt x="724" y="1145"/>
                </a:lnTo>
                <a:lnTo>
                  <a:pt x="716" y="1143"/>
                </a:lnTo>
                <a:lnTo>
                  <a:pt x="716" y="1143"/>
                </a:lnTo>
                <a:lnTo>
                  <a:pt x="820" y="1137"/>
                </a:lnTo>
                <a:lnTo>
                  <a:pt x="820" y="1137"/>
                </a:lnTo>
                <a:lnTo>
                  <a:pt x="802" y="1139"/>
                </a:lnTo>
                <a:lnTo>
                  <a:pt x="770" y="1141"/>
                </a:lnTo>
                <a:lnTo>
                  <a:pt x="770" y="1141"/>
                </a:lnTo>
                <a:lnTo>
                  <a:pt x="854" y="1137"/>
                </a:lnTo>
                <a:lnTo>
                  <a:pt x="922" y="1131"/>
                </a:lnTo>
                <a:lnTo>
                  <a:pt x="922" y="1131"/>
                </a:lnTo>
                <a:lnTo>
                  <a:pt x="860" y="1131"/>
                </a:lnTo>
                <a:lnTo>
                  <a:pt x="860" y="1131"/>
                </a:lnTo>
                <a:lnTo>
                  <a:pt x="886" y="1129"/>
                </a:lnTo>
                <a:lnTo>
                  <a:pt x="904" y="1129"/>
                </a:lnTo>
                <a:lnTo>
                  <a:pt x="926" y="1129"/>
                </a:lnTo>
                <a:lnTo>
                  <a:pt x="956" y="1127"/>
                </a:lnTo>
                <a:lnTo>
                  <a:pt x="956" y="1127"/>
                </a:lnTo>
                <a:lnTo>
                  <a:pt x="956" y="1127"/>
                </a:lnTo>
                <a:lnTo>
                  <a:pt x="952" y="1129"/>
                </a:lnTo>
                <a:lnTo>
                  <a:pt x="950" y="1129"/>
                </a:lnTo>
                <a:lnTo>
                  <a:pt x="954" y="1131"/>
                </a:lnTo>
                <a:lnTo>
                  <a:pt x="954" y="1131"/>
                </a:lnTo>
                <a:lnTo>
                  <a:pt x="1034" y="1123"/>
                </a:lnTo>
                <a:lnTo>
                  <a:pt x="1034" y="1123"/>
                </a:lnTo>
                <a:lnTo>
                  <a:pt x="1036" y="1125"/>
                </a:lnTo>
                <a:lnTo>
                  <a:pt x="1028" y="1125"/>
                </a:lnTo>
                <a:lnTo>
                  <a:pt x="972" y="1131"/>
                </a:lnTo>
                <a:lnTo>
                  <a:pt x="972" y="1131"/>
                </a:lnTo>
                <a:lnTo>
                  <a:pt x="912" y="1133"/>
                </a:lnTo>
                <a:lnTo>
                  <a:pt x="858" y="1137"/>
                </a:lnTo>
                <a:lnTo>
                  <a:pt x="878" y="1137"/>
                </a:lnTo>
                <a:lnTo>
                  <a:pt x="878" y="1137"/>
                </a:lnTo>
                <a:lnTo>
                  <a:pt x="782" y="1143"/>
                </a:lnTo>
                <a:lnTo>
                  <a:pt x="784" y="1143"/>
                </a:lnTo>
                <a:lnTo>
                  <a:pt x="766" y="1145"/>
                </a:lnTo>
                <a:lnTo>
                  <a:pt x="784" y="1145"/>
                </a:lnTo>
                <a:lnTo>
                  <a:pt x="784" y="1145"/>
                </a:lnTo>
                <a:lnTo>
                  <a:pt x="724" y="1151"/>
                </a:lnTo>
                <a:lnTo>
                  <a:pt x="724" y="1151"/>
                </a:lnTo>
                <a:lnTo>
                  <a:pt x="758" y="1149"/>
                </a:lnTo>
                <a:lnTo>
                  <a:pt x="778" y="1145"/>
                </a:lnTo>
                <a:lnTo>
                  <a:pt x="810" y="1141"/>
                </a:lnTo>
                <a:lnTo>
                  <a:pt x="810" y="1141"/>
                </a:lnTo>
                <a:lnTo>
                  <a:pt x="868" y="1139"/>
                </a:lnTo>
                <a:lnTo>
                  <a:pt x="890" y="1139"/>
                </a:lnTo>
                <a:lnTo>
                  <a:pt x="914" y="1137"/>
                </a:lnTo>
                <a:lnTo>
                  <a:pt x="914" y="1137"/>
                </a:lnTo>
                <a:lnTo>
                  <a:pt x="926" y="1137"/>
                </a:lnTo>
                <a:lnTo>
                  <a:pt x="930" y="1137"/>
                </a:lnTo>
                <a:lnTo>
                  <a:pt x="922" y="1139"/>
                </a:lnTo>
                <a:lnTo>
                  <a:pt x="922" y="1139"/>
                </a:lnTo>
                <a:lnTo>
                  <a:pt x="888" y="1141"/>
                </a:lnTo>
                <a:lnTo>
                  <a:pt x="872" y="1143"/>
                </a:lnTo>
                <a:lnTo>
                  <a:pt x="872" y="1143"/>
                </a:lnTo>
                <a:lnTo>
                  <a:pt x="934" y="1139"/>
                </a:lnTo>
                <a:lnTo>
                  <a:pt x="934" y="1139"/>
                </a:lnTo>
                <a:lnTo>
                  <a:pt x="962" y="1135"/>
                </a:lnTo>
                <a:lnTo>
                  <a:pt x="1008" y="1131"/>
                </a:lnTo>
                <a:lnTo>
                  <a:pt x="1008" y="1131"/>
                </a:lnTo>
                <a:lnTo>
                  <a:pt x="1111" y="1123"/>
                </a:lnTo>
                <a:lnTo>
                  <a:pt x="1111" y="1123"/>
                </a:lnTo>
                <a:lnTo>
                  <a:pt x="1067" y="1127"/>
                </a:lnTo>
                <a:lnTo>
                  <a:pt x="1055" y="1129"/>
                </a:lnTo>
                <a:lnTo>
                  <a:pt x="1051" y="1129"/>
                </a:lnTo>
                <a:lnTo>
                  <a:pt x="1053" y="1131"/>
                </a:lnTo>
                <a:lnTo>
                  <a:pt x="1053" y="1131"/>
                </a:lnTo>
                <a:lnTo>
                  <a:pt x="1093" y="1127"/>
                </a:lnTo>
                <a:lnTo>
                  <a:pt x="1107" y="1127"/>
                </a:lnTo>
                <a:lnTo>
                  <a:pt x="1111" y="1127"/>
                </a:lnTo>
                <a:lnTo>
                  <a:pt x="1109" y="1125"/>
                </a:lnTo>
                <a:lnTo>
                  <a:pt x="1109" y="1125"/>
                </a:lnTo>
                <a:lnTo>
                  <a:pt x="1177" y="1121"/>
                </a:lnTo>
                <a:lnTo>
                  <a:pt x="1205" y="1121"/>
                </a:lnTo>
                <a:lnTo>
                  <a:pt x="1217" y="1121"/>
                </a:lnTo>
                <a:lnTo>
                  <a:pt x="1217" y="1121"/>
                </a:lnTo>
                <a:lnTo>
                  <a:pt x="1113" y="1127"/>
                </a:lnTo>
                <a:lnTo>
                  <a:pt x="1113" y="1127"/>
                </a:lnTo>
                <a:lnTo>
                  <a:pt x="1125" y="1127"/>
                </a:lnTo>
                <a:lnTo>
                  <a:pt x="1127" y="1127"/>
                </a:lnTo>
                <a:lnTo>
                  <a:pt x="1125" y="1127"/>
                </a:lnTo>
                <a:lnTo>
                  <a:pt x="1079" y="1131"/>
                </a:lnTo>
                <a:lnTo>
                  <a:pt x="1079" y="1131"/>
                </a:lnTo>
                <a:lnTo>
                  <a:pt x="1113" y="1129"/>
                </a:lnTo>
                <a:lnTo>
                  <a:pt x="1153" y="1127"/>
                </a:lnTo>
                <a:lnTo>
                  <a:pt x="1153" y="1127"/>
                </a:lnTo>
                <a:lnTo>
                  <a:pt x="1149" y="1127"/>
                </a:lnTo>
                <a:lnTo>
                  <a:pt x="1185" y="1125"/>
                </a:lnTo>
                <a:lnTo>
                  <a:pt x="1185" y="1127"/>
                </a:lnTo>
                <a:lnTo>
                  <a:pt x="1185" y="1127"/>
                </a:lnTo>
                <a:lnTo>
                  <a:pt x="1255" y="1121"/>
                </a:lnTo>
                <a:lnTo>
                  <a:pt x="1345" y="1115"/>
                </a:lnTo>
                <a:lnTo>
                  <a:pt x="1339" y="1117"/>
                </a:lnTo>
                <a:lnTo>
                  <a:pt x="1339" y="1117"/>
                </a:lnTo>
                <a:lnTo>
                  <a:pt x="1369" y="1115"/>
                </a:lnTo>
                <a:lnTo>
                  <a:pt x="1391" y="1111"/>
                </a:lnTo>
                <a:lnTo>
                  <a:pt x="1445" y="1105"/>
                </a:lnTo>
                <a:lnTo>
                  <a:pt x="1445" y="1105"/>
                </a:lnTo>
                <a:lnTo>
                  <a:pt x="1435" y="1107"/>
                </a:lnTo>
                <a:lnTo>
                  <a:pt x="1439" y="1109"/>
                </a:lnTo>
                <a:lnTo>
                  <a:pt x="1439" y="1109"/>
                </a:lnTo>
                <a:lnTo>
                  <a:pt x="1474" y="1107"/>
                </a:lnTo>
                <a:lnTo>
                  <a:pt x="1506" y="1105"/>
                </a:lnTo>
                <a:lnTo>
                  <a:pt x="1506" y="1105"/>
                </a:lnTo>
                <a:lnTo>
                  <a:pt x="1496" y="1105"/>
                </a:lnTo>
                <a:lnTo>
                  <a:pt x="1502" y="1103"/>
                </a:lnTo>
                <a:lnTo>
                  <a:pt x="1510" y="1103"/>
                </a:lnTo>
                <a:lnTo>
                  <a:pt x="1506" y="1103"/>
                </a:lnTo>
                <a:lnTo>
                  <a:pt x="1506" y="1103"/>
                </a:lnTo>
                <a:lnTo>
                  <a:pt x="1514" y="1101"/>
                </a:lnTo>
                <a:lnTo>
                  <a:pt x="1534" y="1099"/>
                </a:lnTo>
                <a:lnTo>
                  <a:pt x="1586" y="1095"/>
                </a:lnTo>
                <a:lnTo>
                  <a:pt x="1586" y="1095"/>
                </a:lnTo>
                <a:lnTo>
                  <a:pt x="1588" y="1095"/>
                </a:lnTo>
                <a:lnTo>
                  <a:pt x="1586" y="1095"/>
                </a:lnTo>
                <a:lnTo>
                  <a:pt x="1580" y="1097"/>
                </a:lnTo>
                <a:lnTo>
                  <a:pt x="1554" y="1099"/>
                </a:lnTo>
                <a:lnTo>
                  <a:pt x="1534" y="1101"/>
                </a:lnTo>
                <a:lnTo>
                  <a:pt x="1532" y="1101"/>
                </a:lnTo>
                <a:lnTo>
                  <a:pt x="1542" y="1101"/>
                </a:lnTo>
                <a:lnTo>
                  <a:pt x="1542" y="1101"/>
                </a:lnTo>
                <a:lnTo>
                  <a:pt x="1566" y="1099"/>
                </a:lnTo>
                <a:lnTo>
                  <a:pt x="1556" y="1099"/>
                </a:lnTo>
                <a:lnTo>
                  <a:pt x="1556" y="1099"/>
                </a:lnTo>
                <a:lnTo>
                  <a:pt x="1616" y="1095"/>
                </a:lnTo>
                <a:lnTo>
                  <a:pt x="1670" y="1093"/>
                </a:lnTo>
                <a:lnTo>
                  <a:pt x="1670" y="1093"/>
                </a:lnTo>
                <a:lnTo>
                  <a:pt x="1718" y="1087"/>
                </a:lnTo>
                <a:lnTo>
                  <a:pt x="1754" y="1083"/>
                </a:lnTo>
                <a:lnTo>
                  <a:pt x="1754" y="1083"/>
                </a:lnTo>
                <a:lnTo>
                  <a:pt x="1730" y="1085"/>
                </a:lnTo>
                <a:lnTo>
                  <a:pt x="1702" y="1087"/>
                </a:lnTo>
                <a:lnTo>
                  <a:pt x="1732" y="1083"/>
                </a:lnTo>
                <a:lnTo>
                  <a:pt x="1732" y="1083"/>
                </a:lnTo>
                <a:lnTo>
                  <a:pt x="1834" y="1077"/>
                </a:lnTo>
                <a:lnTo>
                  <a:pt x="1804" y="1081"/>
                </a:lnTo>
                <a:lnTo>
                  <a:pt x="1806" y="1081"/>
                </a:lnTo>
                <a:lnTo>
                  <a:pt x="1806" y="1081"/>
                </a:lnTo>
                <a:lnTo>
                  <a:pt x="1778" y="1083"/>
                </a:lnTo>
                <a:lnTo>
                  <a:pt x="1762" y="1085"/>
                </a:lnTo>
                <a:lnTo>
                  <a:pt x="1762" y="1085"/>
                </a:lnTo>
                <a:lnTo>
                  <a:pt x="1798" y="1081"/>
                </a:lnTo>
                <a:lnTo>
                  <a:pt x="1844" y="1077"/>
                </a:lnTo>
                <a:lnTo>
                  <a:pt x="1842" y="1079"/>
                </a:lnTo>
                <a:lnTo>
                  <a:pt x="1842" y="1079"/>
                </a:lnTo>
                <a:lnTo>
                  <a:pt x="1923" y="1073"/>
                </a:lnTo>
                <a:lnTo>
                  <a:pt x="1957" y="1069"/>
                </a:lnTo>
                <a:lnTo>
                  <a:pt x="1987" y="1067"/>
                </a:lnTo>
                <a:lnTo>
                  <a:pt x="1987" y="1067"/>
                </a:lnTo>
                <a:lnTo>
                  <a:pt x="1967" y="1067"/>
                </a:lnTo>
                <a:lnTo>
                  <a:pt x="1961" y="1067"/>
                </a:lnTo>
                <a:lnTo>
                  <a:pt x="1959" y="1067"/>
                </a:lnTo>
                <a:lnTo>
                  <a:pt x="1961" y="1067"/>
                </a:lnTo>
                <a:lnTo>
                  <a:pt x="1961" y="1067"/>
                </a:lnTo>
                <a:lnTo>
                  <a:pt x="1991" y="1065"/>
                </a:lnTo>
                <a:lnTo>
                  <a:pt x="2011" y="1063"/>
                </a:lnTo>
                <a:lnTo>
                  <a:pt x="1999" y="1065"/>
                </a:lnTo>
                <a:lnTo>
                  <a:pt x="1999" y="1065"/>
                </a:lnTo>
                <a:lnTo>
                  <a:pt x="2067" y="1059"/>
                </a:lnTo>
                <a:lnTo>
                  <a:pt x="2067" y="1059"/>
                </a:lnTo>
                <a:lnTo>
                  <a:pt x="2073" y="1057"/>
                </a:lnTo>
                <a:lnTo>
                  <a:pt x="2091" y="1055"/>
                </a:lnTo>
                <a:lnTo>
                  <a:pt x="2091" y="1055"/>
                </a:lnTo>
                <a:lnTo>
                  <a:pt x="2113" y="1053"/>
                </a:lnTo>
                <a:lnTo>
                  <a:pt x="2107" y="1055"/>
                </a:lnTo>
                <a:lnTo>
                  <a:pt x="2097" y="1057"/>
                </a:lnTo>
                <a:lnTo>
                  <a:pt x="2109" y="1057"/>
                </a:lnTo>
                <a:lnTo>
                  <a:pt x="2165" y="1051"/>
                </a:lnTo>
                <a:lnTo>
                  <a:pt x="2177" y="1051"/>
                </a:lnTo>
                <a:lnTo>
                  <a:pt x="2177" y="1051"/>
                </a:lnTo>
                <a:lnTo>
                  <a:pt x="2239" y="1047"/>
                </a:lnTo>
                <a:lnTo>
                  <a:pt x="2295" y="1041"/>
                </a:lnTo>
                <a:lnTo>
                  <a:pt x="2418" y="1029"/>
                </a:lnTo>
                <a:lnTo>
                  <a:pt x="2418" y="1029"/>
                </a:lnTo>
                <a:lnTo>
                  <a:pt x="2408" y="1031"/>
                </a:lnTo>
                <a:lnTo>
                  <a:pt x="2384" y="1033"/>
                </a:lnTo>
                <a:lnTo>
                  <a:pt x="2332" y="1039"/>
                </a:lnTo>
                <a:lnTo>
                  <a:pt x="2332" y="1039"/>
                </a:lnTo>
                <a:lnTo>
                  <a:pt x="2382" y="1035"/>
                </a:lnTo>
                <a:lnTo>
                  <a:pt x="2438" y="1031"/>
                </a:lnTo>
                <a:lnTo>
                  <a:pt x="2438" y="1031"/>
                </a:lnTo>
                <a:lnTo>
                  <a:pt x="2482" y="1027"/>
                </a:lnTo>
                <a:lnTo>
                  <a:pt x="2492" y="1025"/>
                </a:lnTo>
                <a:lnTo>
                  <a:pt x="2494" y="1023"/>
                </a:lnTo>
                <a:lnTo>
                  <a:pt x="2494" y="1023"/>
                </a:lnTo>
                <a:lnTo>
                  <a:pt x="2494" y="1023"/>
                </a:lnTo>
                <a:lnTo>
                  <a:pt x="2526" y="1021"/>
                </a:lnTo>
                <a:lnTo>
                  <a:pt x="2530" y="1021"/>
                </a:lnTo>
                <a:lnTo>
                  <a:pt x="2530" y="1021"/>
                </a:lnTo>
                <a:lnTo>
                  <a:pt x="2574" y="1017"/>
                </a:lnTo>
                <a:lnTo>
                  <a:pt x="2632" y="1011"/>
                </a:lnTo>
                <a:lnTo>
                  <a:pt x="2634" y="1013"/>
                </a:lnTo>
                <a:lnTo>
                  <a:pt x="2688" y="1007"/>
                </a:lnTo>
                <a:lnTo>
                  <a:pt x="2688" y="1007"/>
                </a:lnTo>
                <a:lnTo>
                  <a:pt x="2682" y="1007"/>
                </a:lnTo>
                <a:lnTo>
                  <a:pt x="2686" y="1005"/>
                </a:lnTo>
                <a:lnTo>
                  <a:pt x="2700" y="1005"/>
                </a:lnTo>
                <a:lnTo>
                  <a:pt x="2700" y="1005"/>
                </a:lnTo>
                <a:lnTo>
                  <a:pt x="2658" y="1007"/>
                </a:lnTo>
                <a:lnTo>
                  <a:pt x="2614" y="1011"/>
                </a:lnTo>
                <a:lnTo>
                  <a:pt x="2570" y="1015"/>
                </a:lnTo>
                <a:lnTo>
                  <a:pt x="2526" y="1017"/>
                </a:lnTo>
                <a:lnTo>
                  <a:pt x="2526" y="1017"/>
                </a:lnTo>
                <a:lnTo>
                  <a:pt x="2532" y="1017"/>
                </a:lnTo>
                <a:lnTo>
                  <a:pt x="2532" y="1017"/>
                </a:lnTo>
                <a:lnTo>
                  <a:pt x="2530" y="1015"/>
                </a:lnTo>
                <a:lnTo>
                  <a:pt x="2538" y="1015"/>
                </a:lnTo>
                <a:lnTo>
                  <a:pt x="2538" y="1015"/>
                </a:lnTo>
                <a:lnTo>
                  <a:pt x="2556" y="1015"/>
                </a:lnTo>
                <a:lnTo>
                  <a:pt x="2556" y="1015"/>
                </a:lnTo>
                <a:lnTo>
                  <a:pt x="2570" y="1011"/>
                </a:lnTo>
                <a:lnTo>
                  <a:pt x="2556" y="1013"/>
                </a:lnTo>
                <a:lnTo>
                  <a:pt x="2556" y="1013"/>
                </a:lnTo>
                <a:lnTo>
                  <a:pt x="2568" y="1011"/>
                </a:lnTo>
                <a:lnTo>
                  <a:pt x="2592" y="1007"/>
                </a:lnTo>
                <a:lnTo>
                  <a:pt x="2656" y="1001"/>
                </a:lnTo>
                <a:lnTo>
                  <a:pt x="2656" y="1001"/>
                </a:lnTo>
                <a:lnTo>
                  <a:pt x="2664" y="1001"/>
                </a:lnTo>
                <a:lnTo>
                  <a:pt x="2650" y="1005"/>
                </a:lnTo>
                <a:lnTo>
                  <a:pt x="2606" y="1009"/>
                </a:lnTo>
                <a:lnTo>
                  <a:pt x="2606" y="1009"/>
                </a:lnTo>
                <a:lnTo>
                  <a:pt x="2630" y="1007"/>
                </a:lnTo>
                <a:lnTo>
                  <a:pt x="2656" y="1005"/>
                </a:lnTo>
                <a:lnTo>
                  <a:pt x="2652" y="1007"/>
                </a:lnTo>
                <a:lnTo>
                  <a:pt x="2652" y="1007"/>
                </a:lnTo>
                <a:lnTo>
                  <a:pt x="2682" y="1003"/>
                </a:lnTo>
                <a:lnTo>
                  <a:pt x="2678" y="1003"/>
                </a:lnTo>
                <a:lnTo>
                  <a:pt x="2676" y="1001"/>
                </a:lnTo>
                <a:lnTo>
                  <a:pt x="2678" y="1001"/>
                </a:lnTo>
                <a:lnTo>
                  <a:pt x="2678" y="1001"/>
                </a:lnTo>
                <a:lnTo>
                  <a:pt x="2694" y="999"/>
                </a:lnTo>
                <a:lnTo>
                  <a:pt x="2712" y="997"/>
                </a:lnTo>
                <a:lnTo>
                  <a:pt x="2745" y="995"/>
                </a:lnTo>
                <a:lnTo>
                  <a:pt x="2728" y="997"/>
                </a:lnTo>
                <a:lnTo>
                  <a:pt x="2728" y="997"/>
                </a:lnTo>
                <a:lnTo>
                  <a:pt x="2775" y="993"/>
                </a:lnTo>
                <a:lnTo>
                  <a:pt x="2819" y="989"/>
                </a:lnTo>
                <a:lnTo>
                  <a:pt x="2839" y="989"/>
                </a:lnTo>
                <a:lnTo>
                  <a:pt x="2839" y="989"/>
                </a:lnTo>
                <a:lnTo>
                  <a:pt x="2807" y="991"/>
                </a:lnTo>
                <a:lnTo>
                  <a:pt x="2787" y="993"/>
                </a:lnTo>
                <a:lnTo>
                  <a:pt x="2769" y="995"/>
                </a:lnTo>
                <a:lnTo>
                  <a:pt x="2751" y="997"/>
                </a:lnTo>
                <a:lnTo>
                  <a:pt x="2751" y="997"/>
                </a:lnTo>
                <a:lnTo>
                  <a:pt x="2779" y="997"/>
                </a:lnTo>
                <a:lnTo>
                  <a:pt x="2767" y="999"/>
                </a:lnTo>
                <a:lnTo>
                  <a:pt x="2712" y="1005"/>
                </a:lnTo>
                <a:lnTo>
                  <a:pt x="2712" y="1005"/>
                </a:lnTo>
                <a:lnTo>
                  <a:pt x="2789" y="1001"/>
                </a:lnTo>
                <a:lnTo>
                  <a:pt x="2789" y="1001"/>
                </a:lnTo>
                <a:lnTo>
                  <a:pt x="2823" y="997"/>
                </a:lnTo>
                <a:lnTo>
                  <a:pt x="2857" y="995"/>
                </a:lnTo>
                <a:lnTo>
                  <a:pt x="2891" y="991"/>
                </a:lnTo>
                <a:lnTo>
                  <a:pt x="2925" y="987"/>
                </a:lnTo>
                <a:lnTo>
                  <a:pt x="2925" y="987"/>
                </a:lnTo>
                <a:lnTo>
                  <a:pt x="2933" y="987"/>
                </a:lnTo>
                <a:lnTo>
                  <a:pt x="2927" y="989"/>
                </a:lnTo>
                <a:lnTo>
                  <a:pt x="2921" y="989"/>
                </a:lnTo>
                <a:lnTo>
                  <a:pt x="2929" y="989"/>
                </a:lnTo>
                <a:lnTo>
                  <a:pt x="2929" y="989"/>
                </a:lnTo>
                <a:lnTo>
                  <a:pt x="3073" y="977"/>
                </a:lnTo>
                <a:lnTo>
                  <a:pt x="3073" y="977"/>
                </a:lnTo>
                <a:lnTo>
                  <a:pt x="3093" y="975"/>
                </a:lnTo>
                <a:lnTo>
                  <a:pt x="3101" y="977"/>
                </a:lnTo>
                <a:lnTo>
                  <a:pt x="3101" y="977"/>
                </a:lnTo>
                <a:lnTo>
                  <a:pt x="3180" y="971"/>
                </a:lnTo>
                <a:lnTo>
                  <a:pt x="3246" y="965"/>
                </a:lnTo>
                <a:lnTo>
                  <a:pt x="3316" y="959"/>
                </a:lnTo>
                <a:lnTo>
                  <a:pt x="3402" y="953"/>
                </a:lnTo>
                <a:lnTo>
                  <a:pt x="3382" y="955"/>
                </a:lnTo>
                <a:lnTo>
                  <a:pt x="3382" y="955"/>
                </a:lnTo>
                <a:lnTo>
                  <a:pt x="3420" y="953"/>
                </a:lnTo>
                <a:lnTo>
                  <a:pt x="3446" y="949"/>
                </a:lnTo>
                <a:lnTo>
                  <a:pt x="3446" y="949"/>
                </a:lnTo>
                <a:lnTo>
                  <a:pt x="3480" y="949"/>
                </a:lnTo>
                <a:lnTo>
                  <a:pt x="3524" y="945"/>
                </a:lnTo>
                <a:lnTo>
                  <a:pt x="3571" y="941"/>
                </a:lnTo>
                <a:lnTo>
                  <a:pt x="3611" y="939"/>
                </a:lnTo>
                <a:lnTo>
                  <a:pt x="3611" y="939"/>
                </a:lnTo>
                <a:lnTo>
                  <a:pt x="3669" y="933"/>
                </a:lnTo>
                <a:lnTo>
                  <a:pt x="3717" y="929"/>
                </a:lnTo>
                <a:lnTo>
                  <a:pt x="3717" y="929"/>
                </a:lnTo>
                <a:lnTo>
                  <a:pt x="3713" y="929"/>
                </a:lnTo>
                <a:lnTo>
                  <a:pt x="3727" y="929"/>
                </a:lnTo>
                <a:lnTo>
                  <a:pt x="3727" y="929"/>
                </a:lnTo>
                <a:lnTo>
                  <a:pt x="4178" y="890"/>
                </a:lnTo>
                <a:lnTo>
                  <a:pt x="4178" y="890"/>
                </a:lnTo>
                <a:lnTo>
                  <a:pt x="4164" y="892"/>
                </a:lnTo>
                <a:lnTo>
                  <a:pt x="4164" y="892"/>
                </a:lnTo>
                <a:lnTo>
                  <a:pt x="4322" y="876"/>
                </a:lnTo>
                <a:lnTo>
                  <a:pt x="4467" y="862"/>
                </a:lnTo>
                <a:lnTo>
                  <a:pt x="4467" y="862"/>
                </a:lnTo>
                <a:lnTo>
                  <a:pt x="4505" y="856"/>
                </a:lnTo>
                <a:lnTo>
                  <a:pt x="4519" y="854"/>
                </a:lnTo>
                <a:lnTo>
                  <a:pt x="4521" y="854"/>
                </a:lnTo>
                <a:lnTo>
                  <a:pt x="4517" y="854"/>
                </a:lnTo>
                <a:lnTo>
                  <a:pt x="4517" y="854"/>
                </a:lnTo>
                <a:lnTo>
                  <a:pt x="4499" y="856"/>
                </a:lnTo>
                <a:lnTo>
                  <a:pt x="4495" y="854"/>
                </a:lnTo>
                <a:lnTo>
                  <a:pt x="4495" y="854"/>
                </a:lnTo>
                <a:lnTo>
                  <a:pt x="4495" y="854"/>
                </a:lnTo>
                <a:lnTo>
                  <a:pt x="4535" y="850"/>
                </a:lnTo>
                <a:lnTo>
                  <a:pt x="4551" y="848"/>
                </a:lnTo>
                <a:lnTo>
                  <a:pt x="4561" y="848"/>
                </a:lnTo>
                <a:lnTo>
                  <a:pt x="4587" y="846"/>
                </a:lnTo>
                <a:lnTo>
                  <a:pt x="4587" y="846"/>
                </a:lnTo>
                <a:lnTo>
                  <a:pt x="4591" y="846"/>
                </a:lnTo>
                <a:lnTo>
                  <a:pt x="4589" y="848"/>
                </a:lnTo>
                <a:lnTo>
                  <a:pt x="4577" y="850"/>
                </a:lnTo>
                <a:lnTo>
                  <a:pt x="4561" y="852"/>
                </a:lnTo>
                <a:lnTo>
                  <a:pt x="4553" y="854"/>
                </a:lnTo>
                <a:lnTo>
                  <a:pt x="4631" y="844"/>
                </a:lnTo>
                <a:lnTo>
                  <a:pt x="4631" y="844"/>
                </a:lnTo>
                <a:lnTo>
                  <a:pt x="4693" y="838"/>
                </a:lnTo>
                <a:lnTo>
                  <a:pt x="4753" y="832"/>
                </a:lnTo>
                <a:lnTo>
                  <a:pt x="4753" y="832"/>
                </a:lnTo>
                <a:lnTo>
                  <a:pt x="4741" y="834"/>
                </a:lnTo>
                <a:lnTo>
                  <a:pt x="4721" y="836"/>
                </a:lnTo>
                <a:lnTo>
                  <a:pt x="4721" y="836"/>
                </a:lnTo>
                <a:lnTo>
                  <a:pt x="4725" y="836"/>
                </a:lnTo>
                <a:lnTo>
                  <a:pt x="4725" y="836"/>
                </a:lnTo>
                <a:lnTo>
                  <a:pt x="4677" y="840"/>
                </a:lnTo>
                <a:lnTo>
                  <a:pt x="4635" y="846"/>
                </a:lnTo>
                <a:lnTo>
                  <a:pt x="4635" y="846"/>
                </a:lnTo>
                <a:lnTo>
                  <a:pt x="4797" y="828"/>
                </a:lnTo>
                <a:lnTo>
                  <a:pt x="4797" y="828"/>
                </a:lnTo>
                <a:lnTo>
                  <a:pt x="4795" y="828"/>
                </a:lnTo>
                <a:lnTo>
                  <a:pt x="4799" y="828"/>
                </a:lnTo>
                <a:lnTo>
                  <a:pt x="4813" y="826"/>
                </a:lnTo>
                <a:lnTo>
                  <a:pt x="4846" y="822"/>
                </a:lnTo>
                <a:lnTo>
                  <a:pt x="4848" y="822"/>
                </a:lnTo>
                <a:lnTo>
                  <a:pt x="4848" y="822"/>
                </a:lnTo>
                <a:lnTo>
                  <a:pt x="4884" y="816"/>
                </a:lnTo>
                <a:lnTo>
                  <a:pt x="4896" y="816"/>
                </a:lnTo>
                <a:lnTo>
                  <a:pt x="4896" y="816"/>
                </a:lnTo>
                <a:lnTo>
                  <a:pt x="4902" y="816"/>
                </a:lnTo>
                <a:lnTo>
                  <a:pt x="4910" y="814"/>
                </a:lnTo>
                <a:lnTo>
                  <a:pt x="4910" y="814"/>
                </a:lnTo>
                <a:lnTo>
                  <a:pt x="4984" y="806"/>
                </a:lnTo>
                <a:lnTo>
                  <a:pt x="5022" y="802"/>
                </a:lnTo>
                <a:lnTo>
                  <a:pt x="5042" y="800"/>
                </a:lnTo>
                <a:lnTo>
                  <a:pt x="5042" y="800"/>
                </a:lnTo>
                <a:lnTo>
                  <a:pt x="5120" y="790"/>
                </a:lnTo>
                <a:lnTo>
                  <a:pt x="5120" y="790"/>
                </a:lnTo>
                <a:lnTo>
                  <a:pt x="5108" y="792"/>
                </a:lnTo>
                <a:lnTo>
                  <a:pt x="5108" y="792"/>
                </a:lnTo>
                <a:lnTo>
                  <a:pt x="5341" y="766"/>
                </a:lnTo>
                <a:lnTo>
                  <a:pt x="5341" y="766"/>
                </a:lnTo>
                <a:lnTo>
                  <a:pt x="5419" y="754"/>
                </a:lnTo>
                <a:lnTo>
                  <a:pt x="5483" y="744"/>
                </a:lnTo>
                <a:lnTo>
                  <a:pt x="5483" y="744"/>
                </a:lnTo>
                <a:lnTo>
                  <a:pt x="5451" y="748"/>
                </a:lnTo>
                <a:lnTo>
                  <a:pt x="5441" y="750"/>
                </a:lnTo>
                <a:lnTo>
                  <a:pt x="5451" y="748"/>
                </a:lnTo>
                <a:lnTo>
                  <a:pt x="5451" y="748"/>
                </a:lnTo>
                <a:lnTo>
                  <a:pt x="5513" y="738"/>
                </a:lnTo>
                <a:lnTo>
                  <a:pt x="5513" y="738"/>
                </a:lnTo>
                <a:lnTo>
                  <a:pt x="5535" y="736"/>
                </a:lnTo>
                <a:lnTo>
                  <a:pt x="5543" y="736"/>
                </a:lnTo>
                <a:lnTo>
                  <a:pt x="5525" y="738"/>
                </a:lnTo>
                <a:lnTo>
                  <a:pt x="5525" y="738"/>
                </a:lnTo>
                <a:lnTo>
                  <a:pt x="5545" y="736"/>
                </a:lnTo>
                <a:lnTo>
                  <a:pt x="5581" y="732"/>
                </a:lnTo>
                <a:lnTo>
                  <a:pt x="5611" y="728"/>
                </a:lnTo>
                <a:lnTo>
                  <a:pt x="5625" y="726"/>
                </a:lnTo>
                <a:lnTo>
                  <a:pt x="5625" y="726"/>
                </a:lnTo>
                <a:lnTo>
                  <a:pt x="5672" y="720"/>
                </a:lnTo>
                <a:lnTo>
                  <a:pt x="5730" y="710"/>
                </a:lnTo>
                <a:lnTo>
                  <a:pt x="5730" y="710"/>
                </a:lnTo>
                <a:lnTo>
                  <a:pt x="5714" y="714"/>
                </a:lnTo>
                <a:lnTo>
                  <a:pt x="5694" y="718"/>
                </a:lnTo>
                <a:lnTo>
                  <a:pt x="5724" y="712"/>
                </a:lnTo>
                <a:lnTo>
                  <a:pt x="5724" y="714"/>
                </a:lnTo>
                <a:lnTo>
                  <a:pt x="5724" y="714"/>
                </a:lnTo>
                <a:lnTo>
                  <a:pt x="5784" y="704"/>
                </a:lnTo>
                <a:lnTo>
                  <a:pt x="5826" y="696"/>
                </a:lnTo>
                <a:lnTo>
                  <a:pt x="5826" y="696"/>
                </a:lnTo>
                <a:lnTo>
                  <a:pt x="5848" y="692"/>
                </a:lnTo>
                <a:lnTo>
                  <a:pt x="5822" y="698"/>
                </a:lnTo>
                <a:lnTo>
                  <a:pt x="5822" y="698"/>
                </a:lnTo>
                <a:lnTo>
                  <a:pt x="5920" y="682"/>
                </a:lnTo>
                <a:lnTo>
                  <a:pt x="5924" y="682"/>
                </a:lnTo>
                <a:lnTo>
                  <a:pt x="5948" y="676"/>
                </a:lnTo>
                <a:lnTo>
                  <a:pt x="5948" y="676"/>
                </a:lnTo>
                <a:lnTo>
                  <a:pt x="5946" y="678"/>
                </a:lnTo>
                <a:lnTo>
                  <a:pt x="5946" y="678"/>
                </a:lnTo>
                <a:lnTo>
                  <a:pt x="5996" y="668"/>
                </a:lnTo>
                <a:lnTo>
                  <a:pt x="6044" y="660"/>
                </a:lnTo>
                <a:lnTo>
                  <a:pt x="6044" y="660"/>
                </a:lnTo>
                <a:lnTo>
                  <a:pt x="6068" y="658"/>
                </a:lnTo>
                <a:lnTo>
                  <a:pt x="6097" y="652"/>
                </a:lnTo>
                <a:lnTo>
                  <a:pt x="6093" y="656"/>
                </a:lnTo>
                <a:lnTo>
                  <a:pt x="6093" y="656"/>
                </a:lnTo>
                <a:lnTo>
                  <a:pt x="6054" y="660"/>
                </a:lnTo>
                <a:lnTo>
                  <a:pt x="6014" y="666"/>
                </a:lnTo>
                <a:lnTo>
                  <a:pt x="6014" y="666"/>
                </a:lnTo>
                <a:lnTo>
                  <a:pt x="6060" y="662"/>
                </a:lnTo>
                <a:lnTo>
                  <a:pt x="6123" y="652"/>
                </a:lnTo>
                <a:lnTo>
                  <a:pt x="6257" y="630"/>
                </a:lnTo>
                <a:lnTo>
                  <a:pt x="6257" y="630"/>
                </a:lnTo>
                <a:lnTo>
                  <a:pt x="6371" y="610"/>
                </a:lnTo>
                <a:lnTo>
                  <a:pt x="6423" y="600"/>
                </a:lnTo>
                <a:lnTo>
                  <a:pt x="6455" y="592"/>
                </a:lnTo>
                <a:lnTo>
                  <a:pt x="6449" y="596"/>
                </a:lnTo>
                <a:lnTo>
                  <a:pt x="6558" y="576"/>
                </a:lnTo>
                <a:lnTo>
                  <a:pt x="6558" y="576"/>
                </a:lnTo>
                <a:lnTo>
                  <a:pt x="6694" y="550"/>
                </a:lnTo>
                <a:lnTo>
                  <a:pt x="6814" y="524"/>
                </a:lnTo>
                <a:lnTo>
                  <a:pt x="6834" y="522"/>
                </a:lnTo>
                <a:lnTo>
                  <a:pt x="6834" y="522"/>
                </a:lnTo>
                <a:lnTo>
                  <a:pt x="6902" y="506"/>
                </a:lnTo>
                <a:lnTo>
                  <a:pt x="6989" y="486"/>
                </a:lnTo>
                <a:lnTo>
                  <a:pt x="6989" y="486"/>
                </a:lnTo>
                <a:lnTo>
                  <a:pt x="7071" y="466"/>
                </a:lnTo>
                <a:lnTo>
                  <a:pt x="7125" y="449"/>
                </a:lnTo>
                <a:lnTo>
                  <a:pt x="7125" y="449"/>
                </a:lnTo>
                <a:lnTo>
                  <a:pt x="7141" y="447"/>
                </a:lnTo>
                <a:lnTo>
                  <a:pt x="7135" y="449"/>
                </a:lnTo>
                <a:lnTo>
                  <a:pt x="7109" y="457"/>
                </a:lnTo>
                <a:lnTo>
                  <a:pt x="7109" y="457"/>
                </a:lnTo>
                <a:lnTo>
                  <a:pt x="7165" y="443"/>
                </a:lnTo>
                <a:lnTo>
                  <a:pt x="7193" y="435"/>
                </a:lnTo>
                <a:lnTo>
                  <a:pt x="7219" y="429"/>
                </a:lnTo>
                <a:lnTo>
                  <a:pt x="7219" y="429"/>
                </a:lnTo>
                <a:lnTo>
                  <a:pt x="7199" y="435"/>
                </a:lnTo>
                <a:lnTo>
                  <a:pt x="7191" y="437"/>
                </a:lnTo>
                <a:lnTo>
                  <a:pt x="7195" y="437"/>
                </a:lnTo>
                <a:lnTo>
                  <a:pt x="7195" y="437"/>
                </a:lnTo>
                <a:lnTo>
                  <a:pt x="7223" y="429"/>
                </a:lnTo>
                <a:lnTo>
                  <a:pt x="7251" y="423"/>
                </a:lnTo>
                <a:lnTo>
                  <a:pt x="7251" y="423"/>
                </a:lnTo>
                <a:lnTo>
                  <a:pt x="7249" y="423"/>
                </a:lnTo>
                <a:lnTo>
                  <a:pt x="7253" y="421"/>
                </a:lnTo>
                <a:lnTo>
                  <a:pt x="7271" y="415"/>
                </a:lnTo>
                <a:lnTo>
                  <a:pt x="7325" y="401"/>
                </a:lnTo>
                <a:lnTo>
                  <a:pt x="7325" y="401"/>
                </a:lnTo>
                <a:lnTo>
                  <a:pt x="7317" y="403"/>
                </a:lnTo>
                <a:lnTo>
                  <a:pt x="7317" y="403"/>
                </a:lnTo>
                <a:lnTo>
                  <a:pt x="7327" y="399"/>
                </a:lnTo>
                <a:lnTo>
                  <a:pt x="7354" y="393"/>
                </a:lnTo>
                <a:lnTo>
                  <a:pt x="7354" y="393"/>
                </a:lnTo>
                <a:lnTo>
                  <a:pt x="7347" y="395"/>
                </a:lnTo>
                <a:lnTo>
                  <a:pt x="7347" y="395"/>
                </a:lnTo>
                <a:lnTo>
                  <a:pt x="7492" y="355"/>
                </a:lnTo>
                <a:lnTo>
                  <a:pt x="7642" y="309"/>
                </a:lnTo>
                <a:lnTo>
                  <a:pt x="7793" y="261"/>
                </a:lnTo>
                <a:lnTo>
                  <a:pt x="7941" y="211"/>
                </a:lnTo>
                <a:lnTo>
                  <a:pt x="7905" y="225"/>
                </a:lnTo>
                <a:lnTo>
                  <a:pt x="7997" y="191"/>
                </a:lnTo>
                <a:lnTo>
                  <a:pt x="7993" y="191"/>
                </a:lnTo>
                <a:lnTo>
                  <a:pt x="7993" y="191"/>
                </a:lnTo>
                <a:lnTo>
                  <a:pt x="8023" y="181"/>
                </a:lnTo>
                <a:lnTo>
                  <a:pt x="8045" y="171"/>
                </a:lnTo>
                <a:lnTo>
                  <a:pt x="8065" y="163"/>
                </a:lnTo>
                <a:lnTo>
                  <a:pt x="8089" y="153"/>
                </a:lnTo>
                <a:lnTo>
                  <a:pt x="8081" y="157"/>
                </a:lnTo>
                <a:lnTo>
                  <a:pt x="8081" y="157"/>
                </a:lnTo>
                <a:lnTo>
                  <a:pt x="8159" y="123"/>
                </a:lnTo>
                <a:lnTo>
                  <a:pt x="8196" y="107"/>
                </a:lnTo>
                <a:lnTo>
                  <a:pt x="8236" y="87"/>
                </a:lnTo>
                <a:lnTo>
                  <a:pt x="8236" y="87"/>
                </a:lnTo>
                <a:lnTo>
                  <a:pt x="8276" y="67"/>
                </a:lnTo>
                <a:lnTo>
                  <a:pt x="8308" y="51"/>
                </a:lnTo>
                <a:lnTo>
                  <a:pt x="8308" y="51"/>
                </a:lnTo>
                <a:lnTo>
                  <a:pt x="8334" y="33"/>
                </a:lnTo>
                <a:lnTo>
                  <a:pt x="8344" y="25"/>
                </a:lnTo>
                <a:lnTo>
                  <a:pt x="8332" y="33"/>
                </a:lnTo>
                <a:lnTo>
                  <a:pt x="8332" y="33"/>
                </a:lnTo>
                <a:lnTo>
                  <a:pt x="8330" y="35"/>
                </a:lnTo>
                <a:lnTo>
                  <a:pt x="8332" y="33"/>
                </a:lnTo>
                <a:lnTo>
                  <a:pt x="8342" y="25"/>
                </a:lnTo>
                <a:lnTo>
                  <a:pt x="8360" y="13"/>
                </a:lnTo>
                <a:lnTo>
                  <a:pt x="8374" y="0"/>
                </a:lnTo>
                <a:lnTo>
                  <a:pt x="8374" y="0"/>
                </a:lnTo>
                <a:lnTo>
                  <a:pt x="8366" y="4"/>
                </a:lnTo>
                <a:lnTo>
                  <a:pt x="8360" y="9"/>
                </a:lnTo>
                <a:lnTo>
                  <a:pt x="8360" y="9"/>
                </a:lnTo>
                <a:lnTo>
                  <a:pt x="8316" y="33"/>
                </a:lnTo>
                <a:lnTo>
                  <a:pt x="8316" y="33"/>
                </a:lnTo>
                <a:lnTo>
                  <a:pt x="8294" y="47"/>
                </a:lnTo>
                <a:lnTo>
                  <a:pt x="8278" y="55"/>
                </a:lnTo>
                <a:lnTo>
                  <a:pt x="8278" y="55"/>
                </a:lnTo>
                <a:lnTo>
                  <a:pt x="8236" y="75"/>
                </a:lnTo>
                <a:lnTo>
                  <a:pt x="8236" y="75"/>
                </a:lnTo>
                <a:lnTo>
                  <a:pt x="8216" y="87"/>
                </a:lnTo>
                <a:lnTo>
                  <a:pt x="8189" y="99"/>
                </a:lnTo>
                <a:lnTo>
                  <a:pt x="8133" y="125"/>
                </a:lnTo>
                <a:lnTo>
                  <a:pt x="8133" y="125"/>
                </a:lnTo>
                <a:lnTo>
                  <a:pt x="8137" y="123"/>
                </a:lnTo>
                <a:lnTo>
                  <a:pt x="8133" y="123"/>
                </a:lnTo>
                <a:lnTo>
                  <a:pt x="8121" y="129"/>
                </a:lnTo>
                <a:lnTo>
                  <a:pt x="8109" y="133"/>
                </a:lnTo>
                <a:lnTo>
                  <a:pt x="8119" y="129"/>
                </a:lnTo>
                <a:lnTo>
                  <a:pt x="8119" y="129"/>
                </a:lnTo>
                <a:lnTo>
                  <a:pt x="8065" y="151"/>
                </a:lnTo>
                <a:lnTo>
                  <a:pt x="8029" y="167"/>
                </a:lnTo>
                <a:lnTo>
                  <a:pt x="7999" y="177"/>
                </a:lnTo>
                <a:lnTo>
                  <a:pt x="7999" y="177"/>
                </a:lnTo>
                <a:lnTo>
                  <a:pt x="8011" y="173"/>
                </a:lnTo>
                <a:lnTo>
                  <a:pt x="8011" y="173"/>
                </a:lnTo>
                <a:lnTo>
                  <a:pt x="7973" y="187"/>
                </a:lnTo>
                <a:lnTo>
                  <a:pt x="7945" y="197"/>
                </a:lnTo>
                <a:lnTo>
                  <a:pt x="7947" y="197"/>
                </a:lnTo>
                <a:lnTo>
                  <a:pt x="7947" y="197"/>
                </a:lnTo>
                <a:lnTo>
                  <a:pt x="7917" y="207"/>
                </a:lnTo>
                <a:lnTo>
                  <a:pt x="7917" y="207"/>
                </a:lnTo>
                <a:lnTo>
                  <a:pt x="7935" y="203"/>
                </a:lnTo>
                <a:lnTo>
                  <a:pt x="7939" y="201"/>
                </a:lnTo>
                <a:lnTo>
                  <a:pt x="7937" y="203"/>
                </a:lnTo>
                <a:lnTo>
                  <a:pt x="7937" y="203"/>
                </a:lnTo>
                <a:lnTo>
                  <a:pt x="7891" y="221"/>
                </a:lnTo>
                <a:lnTo>
                  <a:pt x="7891" y="221"/>
                </a:lnTo>
                <a:lnTo>
                  <a:pt x="7911" y="211"/>
                </a:lnTo>
                <a:lnTo>
                  <a:pt x="7911" y="211"/>
                </a:lnTo>
                <a:lnTo>
                  <a:pt x="7891" y="219"/>
                </a:lnTo>
                <a:lnTo>
                  <a:pt x="7871" y="225"/>
                </a:lnTo>
                <a:lnTo>
                  <a:pt x="7871" y="225"/>
                </a:lnTo>
                <a:lnTo>
                  <a:pt x="7913" y="209"/>
                </a:lnTo>
                <a:lnTo>
                  <a:pt x="7913" y="209"/>
                </a:lnTo>
                <a:lnTo>
                  <a:pt x="7889" y="217"/>
                </a:lnTo>
                <a:lnTo>
                  <a:pt x="7891" y="215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5" y="217"/>
                </a:lnTo>
                <a:lnTo>
                  <a:pt x="7881" y="219"/>
                </a:lnTo>
                <a:lnTo>
                  <a:pt x="7863" y="225"/>
                </a:lnTo>
                <a:lnTo>
                  <a:pt x="7817" y="241"/>
                </a:lnTo>
                <a:lnTo>
                  <a:pt x="7817" y="241"/>
                </a:lnTo>
                <a:lnTo>
                  <a:pt x="7825" y="239"/>
                </a:lnTo>
                <a:lnTo>
                  <a:pt x="7841" y="233"/>
                </a:lnTo>
                <a:lnTo>
                  <a:pt x="7841" y="233"/>
                </a:lnTo>
                <a:lnTo>
                  <a:pt x="7807" y="243"/>
                </a:lnTo>
                <a:lnTo>
                  <a:pt x="7777" y="253"/>
                </a:lnTo>
                <a:lnTo>
                  <a:pt x="7742" y="265"/>
                </a:lnTo>
                <a:lnTo>
                  <a:pt x="7700" y="279"/>
                </a:lnTo>
                <a:lnTo>
                  <a:pt x="7700" y="279"/>
                </a:lnTo>
                <a:lnTo>
                  <a:pt x="7712" y="273"/>
                </a:lnTo>
                <a:lnTo>
                  <a:pt x="7712" y="273"/>
                </a:lnTo>
                <a:lnTo>
                  <a:pt x="7672" y="287"/>
                </a:lnTo>
                <a:lnTo>
                  <a:pt x="7642" y="297"/>
                </a:lnTo>
                <a:lnTo>
                  <a:pt x="7642" y="297"/>
                </a:lnTo>
                <a:lnTo>
                  <a:pt x="7622" y="301"/>
                </a:lnTo>
                <a:lnTo>
                  <a:pt x="7590" y="309"/>
                </a:lnTo>
                <a:lnTo>
                  <a:pt x="7590" y="309"/>
                </a:lnTo>
                <a:lnTo>
                  <a:pt x="7592" y="309"/>
                </a:lnTo>
                <a:lnTo>
                  <a:pt x="7588" y="311"/>
                </a:lnTo>
                <a:lnTo>
                  <a:pt x="7568" y="317"/>
                </a:lnTo>
                <a:lnTo>
                  <a:pt x="7546" y="323"/>
                </a:lnTo>
                <a:lnTo>
                  <a:pt x="7536" y="327"/>
                </a:lnTo>
                <a:lnTo>
                  <a:pt x="7500" y="335"/>
                </a:lnTo>
                <a:lnTo>
                  <a:pt x="7500" y="335"/>
                </a:lnTo>
                <a:lnTo>
                  <a:pt x="7488" y="341"/>
                </a:lnTo>
                <a:lnTo>
                  <a:pt x="7486" y="343"/>
                </a:lnTo>
                <a:lnTo>
                  <a:pt x="7478" y="345"/>
                </a:lnTo>
                <a:lnTo>
                  <a:pt x="7450" y="353"/>
                </a:lnTo>
                <a:lnTo>
                  <a:pt x="7450" y="353"/>
                </a:lnTo>
                <a:lnTo>
                  <a:pt x="7426" y="359"/>
                </a:lnTo>
                <a:lnTo>
                  <a:pt x="7424" y="359"/>
                </a:lnTo>
                <a:lnTo>
                  <a:pt x="7426" y="357"/>
                </a:lnTo>
                <a:lnTo>
                  <a:pt x="7432" y="355"/>
                </a:lnTo>
                <a:lnTo>
                  <a:pt x="7422" y="357"/>
                </a:lnTo>
                <a:lnTo>
                  <a:pt x="7408" y="361"/>
                </a:lnTo>
                <a:lnTo>
                  <a:pt x="7380" y="367"/>
                </a:lnTo>
                <a:lnTo>
                  <a:pt x="7384" y="367"/>
                </a:lnTo>
                <a:lnTo>
                  <a:pt x="7384" y="367"/>
                </a:lnTo>
                <a:lnTo>
                  <a:pt x="7337" y="377"/>
                </a:lnTo>
                <a:lnTo>
                  <a:pt x="7337" y="377"/>
                </a:lnTo>
                <a:lnTo>
                  <a:pt x="7362" y="371"/>
                </a:lnTo>
                <a:lnTo>
                  <a:pt x="7362" y="371"/>
                </a:lnTo>
                <a:lnTo>
                  <a:pt x="7333" y="379"/>
                </a:lnTo>
                <a:lnTo>
                  <a:pt x="7293" y="387"/>
                </a:lnTo>
                <a:lnTo>
                  <a:pt x="7255" y="397"/>
                </a:lnTo>
                <a:lnTo>
                  <a:pt x="7225" y="405"/>
                </a:lnTo>
                <a:lnTo>
                  <a:pt x="7225" y="405"/>
                </a:lnTo>
                <a:lnTo>
                  <a:pt x="7195" y="413"/>
                </a:lnTo>
                <a:lnTo>
                  <a:pt x="7181" y="415"/>
                </a:lnTo>
                <a:lnTo>
                  <a:pt x="7181" y="415"/>
                </a:lnTo>
                <a:lnTo>
                  <a:pt x="7137" y="425"/>
                </a:lnTo>
                <a:lnTo>
                  <a:pt x="7087" y="437"/>
                </a:lnTo>
                <a:lnTo>
                  <a:pt x="7087" y="437"/>
                </a:lnTo>
                <a:lnTo>
                  <a:pt x="7077" y="439"/>
                </a:lnTo>
                <a:lnTo>
                  <a:pt x="7053" y="445"/>
                </a:lnTo>
                <a:lnTo>
                  <a:pt x="7053" y="445"/>
                </a:lnTo>
                <a:lnTo>
                  <a:pt x="7063" y="443"/>
                </a:lnTo>
                <a:lnTo>
                  <a:pt x="7047" y="447"/>
                </a:lnTo>
                <a:lnTo>
                  <a:pt x="7047" y="447"/>
                </a:lnTo>
                <a:lnTo>
                  <a:pt x="7001" y="457"/>
                </a:lnTo>
                <a:lnTo>
                  <a:pt x="6965" y="466"/>
                </a:lnTo>
                <a:lnTo>
                  <a:pt x="6965" y="466"/>
                </a:lnTo>
                <a:lnTo>
                  <a:pt x="6943" y="472"/>
                </a:lnTo>
                <a:lnTo>
                  <a:pt x="6943" y="472"/>
                </a:lnTo>
                <a:lnTo>
                  <a:pt x="6941" y="474"/>
                </a:lnTo>
                <a:lnTo>
                  <a:pt x="6941" y="474"/>
                </a:lnTo>
                <a:lnTo>
                  <a:pt x="6892" y="484"/>
                </a:lnTo>
                <a:lnTo>
                  <a:pt x="6872" y="486"/>
                </a:lnTo>
                <a:lnTo>
                  <a:pt x="6868" y="488"/>
                </a:lnTo>
                <a:lnTo>
                  <a:pt x="6868" y="486"/>
                </a:lnTo>
                <a:lnTo>
                  <a:pt x="6868" y="486"/>
                </a:lnTo>
                <a:lnTo>
                  <a:pt x="6900" y="480"/>
                </a:lnTo>
                <a:lnTo>
                  <a:pt x="6914" y="476"/>
                </a:lnTo>
                <a:lnTo>
                  <a:pt x="6916" y="476"/>
                </a:lnTo>
                <a:lnTo>
                  <a:pt x="6914" y="476"/>
                </a:lnTo>
                <a:lnTo>
                  <a:pt x="6914" y="476"/>
                </a:lnTo>
                <a:lnTo>
                  <a:pt x="6894" y="480"/>
                </a:lnTo>
                <a:lnTo>
                  <a:pt x="6876" y="486"/>
                </a:lnTo>
                <a:lnTo>
                  <a:pt x="6876" y="486"/>
                </a:lnTo>
                <a:lnTo>
                  <a:pt x="6868" y="486"/>
                </a:lnTo>
                <a:lnTo>
                  <a:pt x="6862" y="486"/>
                </a:lnTo>
                <a:lnTo>
                  <a:pt x="6862" y="486"/>
                </a:lnTo>
                <a:lnTo>
                  <a:pt x="6804" y="498"/>
                </a:lnTo>
                <a:lnTo>
                  <a:pt x="6804" y="498"/>
                </a:lnTo>
                <a:lnTo>
                  <a:pt x="6816" y="496"/>
                </a:lnTo>
                <a:lnTo>
                  <a:pt x="6810" y="498"/>
                </a:lnTo>
                <a:lnTo>
                  <a:pt x="6800" y="500"/>
                </a:lnTo>
                <a:lnTo>
                  <a:pt x="6804" y="500"/>
                </a:lnTo>
                <a:lnTo>
                  <a:pt x="6836" y="492"/>
                </a:lnTo>
                <a:lnTo>
                  <a:pt x="6836" y="492"/>
                </a:lnTo>
                <a:lnTo>
                  <a:pt x="6856" y="488"/>
                </a:lnTo>
                <a:lnTo>
                  <a:pt x="6854" y="490"/>
                </a:lnTo>
                <a:lnTo>
                  <a:pt x="6860" y="488"/>
                </a:lnTo>
                <a:lnTo>
                  <a:pt x="6860" y="488"/>
                </a:lnTo>
                <a:lnTo>
                  <a:pt x="6798" y="504"/>
                </a:lnTo>
                <a:lnTo>
                  <a:pt x="6738" y="518"/>
                </a:lnTo>
                <a:lnTo>
                  <a:pt x="6698" y="524"/>
                </a:lnTo>
                <a:lnTo>
                  <a:pt x="6698" y="524"/>
                </a:lnTo>
                <a:lnTo>
                  <a:pt x="6714" y="520"/>
                </a:lnTo>
                <a:lnTo>
                  <a:pt x="6702" y="522"/>
                </a:lnTo>
                <a:lnTo>
                  <a:pt x="6702" y="522"/>
                </a:lnTo>
                <a:lnTo>
                  <a:pt x="6676" y="526"/>
                </a:lnTo>
                <a:lnTo>
                  <a:pt x="6652" y="532"/>
                </a:lnTo>
                <a:lnTo>
                  <a:pt x="6606" y="538"/>
                </a:lnTo>
                <a:lnTo>
                  <a:pt x="6606" y="538"/>
                </a:lnTo>
                <a:lnTo>
                  <a:pt x="6622" y="536"/>
                </a:lnTo>
                <a:lnTo>
                  <a:pt x="6610" y="540"/>
                </a:lnTo>
                <a:lnTo>
                  <a:pt x="6610" y="540"/>
                </a:lnTo>
                <a:lnTo>
                  <a:pt x="6570" y="548"/>
                </a:lnTo>
                <a:lnTo>
                  <a:pt x="6568" y="548"/>
                </a:lnTo>
                <a:lnTo>
                  <a:pt x="6558" y="548"/>
                </a:lnTo>
                <a:lnTo>
                  <a:pt x="6558" y="548"/>
                </a:lnTo>
                <a:lnTo>
                  <a:pt x="6431" y="570"/>
                </a:lnTo>
                <a:lnTo>
                  <a:pt x="6319" y="590"/>
                </a:lnTo>
                <a:lnTo>
                  <a:pt x="6357" y="586"/>
                </a:lnTo>
                <a:lnTo>
                  <a:pt x="6369" y="582"/>
                </a:lnTo>
                <a:lnTo>
                  <a:pt x="6369" y="582"/>
                </a:lnTo>
                <a:lnTo>
                  <a:pt x="6381" y="582"/>
                </a:lnTo>
                <a:lnTo>
                  <a:pt x="6375" y="584"/>
                </a:lnTo>
                <a:lnTo>
                  <a:pt x="6347" y="590"/>
                </a:lnTo>
                <a:lnTo>
                  <a:pt x="6347" y="590"/>
                </a:lnTo>
                <a:lnTo>
                  <a:pt x="6323" y="594"/>
                </a:lnTo>
                <a:lnTo>
                  <a:pt x="6311" y="596"/>
                </a:lnTo>
                <a:lnTo>
                  <a:pt x="6315" y="596"/>
                </a:lnTo>
                <a:lnTo>
                  <a:pt x="6269" y="604"/>
                </a:lnTo>
                <a:lnTo>
                  <a:pt x="6269" y="604"/>
                </a:lnTo>
                <a:lnTo>
                  <a:pt x="6287" y="602"/>
                </a:lnTo>
                <a:lnTo>
                  <a:pt x="6291" y="600"/>
                </a:lnTo>
                <a:lnTo>
                  <a:pt x="6283" y="602"/>
                </a:lnTo>
                <a:lnTo>
                  <a:pt x="6283" y="602"/>
                </a:lnTo>
                <a:lnTo>
                  <a:pt x="6249" y="608"/>
                </a:lnTo>
                <a:lnTo>
                  <a:pt x="6241" y="608"/>
                </a:lnTo>
                <a:lnTo>
                  <a:pt x="6251" y="606"/>
                </a:lnTo>
                <a:lnTo>
                  <a:pt x="6251" y="606"/>
                </a:lnTo>
                <a:lnTo>
                  <a:pt x="6213" y="612"/>
                </a:lnTo>
                <a:lnTo>
                  <a:pt x="6199" y="616"/>
                </a:lnTo>
                <a:lnTo>
                  <a:pt x="6199" y="616"/>
                </a:lnTo>
                <a:lnTo>
                  <a:pt x="6183" y="618"/>
                </a:lnTo>
                <a:lnTo>
                  <a:pt x="6189" y="616"/>
                </a:lnTo>
                <a:lnTo>
                  <a:pt x="6221" y="610"/>
                </a:lnTo>
                <a:lnTo>
                  <a:pt x="6221" y="610"/>
                </a:lnTo>
                <a:lnTo>
                  <a:pt x="6197" y="612"/>
                </a:lnTo>
                <a:lnTo>
                  <a:pt x="6203" y="610"/>
                </a:lnTo>
                <a:lnTo>
                  <a:pt x="6159" y="618"/>
                </a:lnTo>
                <a:lnTo>
                  <a:pt x="6159" y="618"/>
                </a:lnTo>
                <a:lnTo>
                  <a:pt x="6177" y="614"/>
                </a:lnTo>
                <a:lnTo>
                  <a:pt x="6177" y="614"/>
                </a:lnTo>
                <a:lnTo>
                  <a:pt x="6139" y="620"/>
                </a:lnTo>
                <a:lnTo>
                  <a:pt x="6103" y="626"/>
                </a:lnTo>
                <a:lnTo>
                  <a:pt x="6093" y="628"/>
                </a:lnTo>
                <a:lnTo>
                  <a:pt x="6093" y="628"/>
                </a:lnTo>
                <a:lnTo>
                  <a:pt x="5946" y="650"/>
                </a:lnTo>
                <a:lnTo>
                  <a:pt x="5958" y="650"/>
                </a:lnTo>
                <a:lnTo>
                  <a:pt x="5958" y="650"/>
                </a:lnTo>
                <a:lnTo>
                  <a:pt x="5926" y="654"/>
                </a:lnTo>
                <a:lnTo>
                  <a:pt x="5908" y="656"/>
                </a:lnTo>
                <a:lnTo>
                  <a:pt x="5884" y="660"/>
                </a:lnTo>
                <a:lnTo>
                  <a:pt x="5842" y="666"/>
                </a:lnTo>
                <a:lnTo>
                  <a:pt x="5842" y="666"/>
                </a:lnTo>
                <a:lnTo>
                  <a:pt x="5790" y="674"/>
                </a:lnTo>
                <a:lnTo>
                  <a:pt x="5778" y="676"/>
                </a:lnTo>
                <a:lnTo>
                  <a:pt x="5776" y="678"/>
                </a:lnTo>
                <a:lnTo>
                  <a:pt x="5776" y="678"/>
                </a:lnTo>
                <a:lnTo>
                  <a:pt x="5776" y="678"/>
                </a:lnTo>
                <a:lnTo>
                  <a:pt x="5752" y="682"/>
                </a:lnTo>
                <a:lnTo>
                  <a:pt x="5736" y="684"/>
                </a:lnTo>
                <a:lnTo>
                  <a:pt x="5736" y="684"/>
                </a:lnTo>
                <a:lnTo>
                  <a:pt x="5694" y="690"/>
                </a:lnTo>
                <a:lnTo>
                  <a:pt x="5643" y="698"/>
                </a:lnTo>
                <a:lnTo>
                  <a:pt x="5702" y="688"/>
                </a:lnTo>
                <a:lnTo>
                  <a:pt x="5702" y="688"/>
                </a:lnTo>
                <a:lnTo>
                  <a:pt x="5661" y="694"/>
                </a:lnTo>
                <a:lnTo>
                  <a:pt x="5601" y="700"/>
                </a:lnTo>
                <a:lnTo>
                  <a:pt x="5469" y="724"/>
                </a:lnTo>
                <a:lnTo>
                  <a:pt x="5469" y="724"/>
                </a:lnTo>
                <a:lnTo>
                  <a:pt x="5477" y="724"/>
                </a:lnTo>
                <a:lnTo>
                  <a:pt x="5479" y="724"/>
                </a:lnTo>
                <a:lnTo>
                  <a:pt x="5477" y="724"/>
                </a:lnTo>
                <a:lnTo>
                  <a:pt x="5445" y="732"/>
                </a:lnTo>
                <a:lnTo>
                  <a:pt x="5445" y="732"/>
                </a:lnTo>
                <a:lnTo>
                  <a:pt x="5419" y="734"/>
                </a:lnTo>
                <a:lnTo>
                  <a:pt x="5371" y="738"/>
                </a:lnTo>
                <a:lnTo>
                  <a:pt x="5371" y="738"/>
                </a:lnTo>
                <a:lnTo>
                  <a:pt x="5373" y="738"/>
                </a:lnTo>
                <a:lnTo>
                  <a:pt x="5369" y="738"/>
                </a:lnTo>
                <a:lnTo>
                  <a:pt x="5355" y="740"/>
                </a:lnTo>
                <a:lnTo>
                  <a:pt x="5349" y="740"/>
                </a:lnTo>
                <a:lnTo>
                  <a:pt x="5367" y="736"/>
                </a:lnTo>
                <a:lnTo>
                  <a:pt x="5367" y="736"/>
                </a:lnTo>
                <a:lnTo>
                  <a:pt x="5387" y="734"/>
                </a:lnTo>
                <a:lnTo>
                  <a:pt x="5411" y="732"/>
                </a:lnTo>
                <a:lnTo>
                  <a:pt x="5411" y="732"/>
                </a:lnTo>
                <a:lnTo>
                  <a:pt x="5331" y="740"/>
                </a:lnTo>
                <a:lnTo>
                  <a:pt x="5331" y="740"/>
                </a:lnTo>
                <a:lnTo>
                  <a:pt x="5369" y="734"/>
                </a:lnTo>
                <a:lnTo>
                  <a:pt x="5369" y="734"/>
                </a:lnTo>
                <a:lnTo>
                  <a:pt x="5363" y="734"/>
                </a:lnTo>
                <a:lnTo>
                  <a:pt x="5367" y="734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20" name="Freeform 132"/>
          <p:cNvSpPr>
            <a:spLocks/>
          </p:cNvSpPr>
          <p:nvPr userDrawn="1"/>
        </p:nvSpPr>
        <p:spPr bwMode="auto">
          <a:xfrm>
            <a:off x="-6673850" y="5165726"/>
            <a:ext cx="13300075" cy="1725613"/>
          </a:xfrm>
          <a:custGeom>
            <a:avLst/>
            <a:gdLst>
              <a:gd name="T0" fmla="*/ 3402 w 8378"/>
              <a:gd name="T1" fmla="*/ 904 h 1087"/>
              <a:gd name="T2" fmla="*/ 3603 w 8378"/>
              <a:gd name="T3" fmla="*/ 886 h 1087"/>
              <a:gd name="T4" fmla="*/ 3679 w 8378"/>
              <a:gd name="T5" fmla="*/ 876 h 1087"/>
              <a:gd name="T6" fmla="*/ 3783 w 8378"/>
              <a:gd name="T7" fmla="*/ 870 h 1087"/>
              <a:gd name="T8" fmla="*/ 4174 w 8378"/>
              <a:gd name="T9" fmla="*/ 830 h 1087"/>
              <a:gd name="T10" fmla="*/ 4396 w 8378"/>
              <a:gd name="T11" fmla="*/ 806 h 1087"/>
              <a:gd name="T12" fmla="*/ 4545 w 8378"/>
              <a:gd name="T13" fmla="*/ 790 h 1087"/>
              <a:gd name="T14" fmla="*/ 4838 w 8378"/>
              <a:gd name="T15" fmla="*/ 752 h 1087"/>
              <a:gd name="T16" fmla="*/ 4924 w 8378"/>
              <a:gd name="T17" fmla="*/ 746 h 1087"/>
              <a:gd name="T18" fmla="*/ 5142 w 8378"/>
              <a:gd name="T19" fmla="*/ 718 h 1087"/>
              <a:gd name="T20" fmla="*/ 5459 w 8378"/>
              <a:gd name="T21" fmla="*/ 678 h 1087"/>
              <a:gd name="T22" fmla="*/ 5627 w 8378"/>
              <a:gd name="T23" fmla="*/ 654 h 1087"/>
              <a:gd name="T24" fmla="*/ 5860 w 8378"/>
              <a:gd name="T25" fmla="*/ 618 h 1087"/>
              <a:gd name="T26" fmla="*/ 5962 w 8378"/>
              <a:gd name="T27" fmla="*/ 603 h 1087"/>
              <a:gd name="T28" fmla="*/ 6103 w 8378"/>
              <a:gd name="T29" fmla="*/ 583 h 1087"/>
              <a:gd name="T30" fmla="*/ 6576 w 8378"/>
              <a:gd name="T31" fmla="*/ 495 h 1087"/>
              <a:gd name="T32" fmla="*/ 6840 w 8378"/>
              <a:gd name="T33" fmla="*/ 453 h 1087"/>
              <a:gd name="T34" fmla="*/ 6832 w 8378"/>
              <a:gd name="T35" fmla="*/ 447 h 1087"/>
              <a:gd name="T36" fmla="*/ 7033 w 8378"/>
              <a:gd name="T37" fmla="*/ 403 h 1087"/>
              <a:gd name="T38" fmla="*/ 7237 w 8378"/>
              <a:gd name="T39" fmla="*/ 367 h 1087"/>
              <a:gd name="T40" fmla="*/ 7295 w 8378"/>
              <a:gd name="T41" fmla="*/ 349 h 1087"/>
              <a:gd name="T42" fmla="*/ 7642 w 8378"/>
              <a:gd name="T43" fmla="*/ 269 h 1087"/>
              <a:gd name="T44" fmla="*/ 7823 w 8378"/>
              <a:gd name="T45" fmla="*/ 219 h 1087"/>
              <a:gd name="T46" fmla="*/ 8031 w 8378"/>
              <a:gd name="T47" fmla="*/ 150 h 1087"/>
              <a:gd name="T48" fmla="*/ 8143 w 8378"/>
              <a:gd name="T49" fmla="*/ 106 h 1087"/>
              <a:gd name="T50" fmla="*/ 7873 w 8378"/>
              <a:gd name="T51" fmla="*/ 195 h 1087"/>
              <a:gd name="T52" fmla="*/ 8230 w 8378"/>
              <a:gd name="T53" fmla="*/ 74 h 1087"/>
              <a:gd name="T54" fmla="*/ 8376 w 8378"/>
              <a:gd name="T55" fmla="*/ 0 h 1087"/>
              <a:gd name="T56" fmla="*/ 8368 w 8378"/>
              <a:gd name="T57" fmla="*/ 6 h 1087"/>
              <a:gd name="T58" fmla="*/ 8167 w 8378"/>
              <a:gd name="T59" fmla="*/ 90 h 1087"/>
              <a:gd name="T60" fmla="*/ 8328 w 8378"/>
              <a:gd name="T61" fmla="*/ 14 h 1087"/>
              <a:gd name="T62" fmla="*/ 8129 w 8378"/>
              <a:gd name="T63" fmla="*/ 98 h 1087"/>
              <a:gd name="T64" fmla="*/ 7991 w 8378"/>
              <a:gd name="T65" fmla="*/ 152 h 1087"/>
              <a:gd name="T66" fmla="*/ 7660 w 8378"/>
              <a:gd name="T67" fmla="*/ 249 h 1087"/>
              <a:gd name="T68" fmla="*/ 7556 w 8378"/>
              <a:gd name="T69" fmla="*/ 275 h 1087"/>
              <a:gd name="T70" fmla="*/ 7500 w 8378"/>
              <a:gd name="T71" fmla="*/ 283 h 1087"/>
              <a:gd name="T72" fmla="*/ 7313 w 8378"/>
              <a:gd name="T73" fmla="*/ 327 h 1087"/>
              <a:gd name="T74" fmla="*/ 6943 w 8378"/>
              <a:gd name="T75" fmla="*/ 405 h 1087"/>
              <a:gd name="T76" fmla="*/ 6782 w 8378"/>
              <a:gd name="T77" fmla="*/ 437 h 1087"/>
              <a:gd name="T78" fmla="*/ 6469 w 8378"/>
              <a:gd name="T79" fmla="*/ 495 h 1087"/>
              <a:gd name="T80" fmla="*/ 6044 w 8378"/>
              <a:gd name="T81" fmla="*/ 567 h 1087"/>
              <a:gd name="T82" fmla="*/ 5764 w 8378"/>
              <a:gd name="T83" fmla="*/ 611 h 1087"/>
              <a:gd name="T84" fmla="*/ 5834 w 8378"/>
              <a:gd name="T85" fmla="*/ 603 h 1087"/>
              <a:gd name="T86" fmla="*/ 5698 w 8378"/>
              <a:gd name="T87" fmla="*/ 622 h 1087"/>
              <a:gd name="T88" fmla="*/ 5088 w 8378"/>
              <a:gd name="T89" fmla="*/ 700 h 1087"/>
              <a:gd name="T90" fmla="*/ 3969 w 8378"/>
              <a:gd name="T91" fmla="*/ 824 h 1087"/>
              <a:gd name="T92" fmla="*/ 3733 w 8378"/>
              <a:gd name="T93" fmla="*/ 846 h 1087"/>
              <a:gd name="T94" fmla="*/ 3432 w 8378"/>
              <a:gd name="T95" fmla="*/ 872 h 1087"/>
              <a:gd name="T96" fmla="*/ 2847 w 8378"/>
              <a:gd name="T97" fmla="*/ 920 h 1087"/>
              <a:gd name="T98" fmla="*/ 2426 w 8378"/>
              <a:gd name="T99" fmla="*/ 954 h 1087"/>
              <a:gd name="T100" fmla="*/ 1385 w 8378"/>
              <a:gd name="T101" fmla="*/ 1016 h 1087"/>
              <a:gd name="T102" fmla="*/ 1131 w 8378"/>
              <a:gd name="T103" fmla="*/ 1032 h 1087"/>
              <a:gd name="T104" fmla="*/ 82 w 8378"/>
              <a:gd name="T105" fmla="*/ 1077 h 1087"/>
              <a:gd name="T106" fmla="*/ 267 w 8378"/>
              <a:gd name="T107" fmla="*/ 1081 h 1087"/>
              <a:gd name="T108" fmla="*/ 509 w 8378"/>
              <a:gd name="T109" fmla="*/ 1073 h 1087"/>
              <a:gd name="T110" fmla="*/ 716 w 8378"/>
              <a:gd name="T111" fmla="*/ 1068 h 1087"/>
              <a:gd name="T112" fmla="*/ 1020 w 8378"/>
              <a:gd name="T113" fmla="*/ 1056 h 1087"/>
              <a:gd name="T114" fmla="*/ 1405 w 8378"/>
              <a:gd name="T115" fmla="*/ 1038 h 1087"/>
              <a:gd name="T116" fmla="*/ 1652 w 8378"/>
              <a:gd name="T117" fmla="*/ 1028 h 1087"/>
              <a:gd name="T118" fmla="*/ 1850 w 8378"/>
              <a:gd name="T119" fmla="*/ 1012 h 1087"/>
              <a:gd name="T120" fmla="*/ 2225 w 8378"/>
              <a:gd name="T121" fmla="*/ 986 h 1087"/>
              <a:gd name="T122" fmla="*/ 2562 w 8378"/>
              <a:gd name="T123" fmla="*/ 968 h 1087"/>
              <a:gd name="T124" fmla="*/ 3027 w 8378"/>
              <a:gd name="T125" fmla="*/ 926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78" h="1087">
                <a:moveTo>
                  <a:pt x="3105" y="926"/>
                </a:moveTo>
                <a:lnTo>
                  <a:pt x="3105" y="926"/>
                </a:lnTo>
                <a:lnTo>
                  <a:pt x="3081" y="928"/>
                </a:lnTo>
                <a:lnTo>
                  <a:pt x="3087" y="928"/>
                </a:lnTo>
                <a:lnTo>
                  <a:pt x="3105" y="928"/>
                </a:lnTo>
                <a:lnTo>
                  <a:pt x="3111" y="928"/>
                </a:lnTo>
                <a:lnTo>
                  <a:pt x="3111" y="928"/>
                </a:lnTo>
                <a:lnTo>
                  <a:pt x="3141" y="926"/>
                </a:lnTo>
                <a:lnTo>
                  <a:pt x="3152" y="924"/>
                </a:lnTo>
                <a:lnTo>
                  <a:pt x="3147" y="924"/>
                </a:lnTo>
                <a:lnTo>
                  <a:pt x="3147" y="924"/>
                </a:lnTo>
                <a:lnTo>
                  <a:pt x="3178" y="924"/>
                </a:lnTo>
                <a:lnTo>
                  <a:pt x="3214" y="920"/>
                </a:lnTo>
                <a:lnTo>
                  <a:pt x="3252" y="916"/>
                </a:lnTo>
                <a:lnTo>
                  <a:pt x="3284" y="914"/>
                </a:lnTo>
                <a:lnTo>
                  <a:pt x="3284" y="914"/>
                </a:lnTo>
                <a:lnTo>
                  <a:pt x="3278" y="914"/>
                </a:lnTo>
                <a:lnTo>
                  <a:pt x="3290" y="912"/>
                </a:lnTo>
                <a:lnTo>
                  <a:pt x="3290" y="912"/>
                </a:lnTo>
                <a:lnTo>
                  <a:pt x="3324" y="910"/>
                </a:lnTo>
                <a:lnTo>
                  <a:pt x="3340" y="910"/>
                </a:lnTo>
                <a:lnTo>
                  <a:pt x="3340" y="910"/>
                </a:lnTo>
                <a:lnTo>
                  <a:pt x="3402" y="904"/>
                </a:lnTo>
                <a:lnTo>
                  <a:pt x="3402" y="904"/>
                </a:lnTo>
                <a:lnTo>
                  <a:pt x="3410" y="902"/>
                </a:lnTo>
                <a:lnTo>
                  <a:pt x="3402" y="902"/>
                </a:lnTo>
                <a:lnTo>
                  <a:pt x="3398" y="900"/>
                </a:lnTo>
                <a:lnTo>
                  <a:pt x="3410" y="898"/>
                </a:lnTo>
                <a:lnTo>
                  <a:pt x="3410" y="898"/>
                </a:lnTo>
                <a:lnTo>
                  <a:pt x="3450" y="894"/>
                </a:lnTo>
                <a:lnTo>
                  <a:pt x="3494" y="892"/>
                </a:lnTo>
                <a:lnTo>
                  <a:pt x="3494" y="892"/>
                </a:lnTo>
                <a:lnTo>
                  <a:pt x="3502" y="890"/>
                </a:lnTo>
                <a:lnTo>
                  <a:pt x="3488" y="892"/>
                </a:lnTo>
                <a:lnTo>
                  <a:pt x="3446" y="896"/>
                </a:lnTo>
                <a:lnTo>
                  <a:pt x="3540" y="888"/>
                </a:lnTo>
                <a:lnTo>
                  <a:pt x="3540" y="888"/>
                </a:lnTo>
                <a:lnTo>
                  <a:pt x="3550" y="888"/>
                </a:lnTo>
                <a:lnTo>
                  <a:pt x="3542" y="888"/>
                </a:lnTo>
                <a:lnTo>
                  <a:pt x="3500" y="892"/>
                </a:lnTo>
                <a:lnTo>
                  <a:pt x="3500" y="892"/>
                </a:lnTo>
                <a:lnTo>
                  <a:pt x="3560" y="888"/>
                </a:lnTo>
                <a:lnTo>
                  <a:pt x="3599" y="882"/>
                </a:lnTo>
                <a:lnTo>
                  <a:pt x="3599" y="882"/>
                </a:lnTo>
                <a:lnTo>
                  <a:pt x="3657" y="878"/>
                </a:lnTo>
                <a:lnTo>
                  <a:pt x="3657" y="878"/>
                </a:lnTo>
                <a:lnTo>
                  <a:pt x="3635" y="882"/>
                </a:lnTo>
                <a:lnTo>
                  <a:pt x="3603" y="886"/>
                </a:lnTo>
                <a:lnTo>
                  <a:pt x="3603" y="886"/>
                </a:lnTo>
                <a:lnTo>
                  <a:pt x="3581" y="888"/>
                </a:lnTo>
                <a:lnTo>
                  <a:pt x="3585" y="888"/>
                </a:lnTo>
                <a:lnTo>
                  <a:pt x="3591" y="886"/>
                </a:lnTo>
                <a:lnTo>
                  <a:pt x="3575" y="886"/>
                </a:lnTo>
                <a:lnTo>
                  <a:pt x="3571" y="888"/>
                </a:lnTo>
                <a:lnTo>
                  <a:pt x="3571" y="888"/>
                </a:lnTo>
                <a:lnTo>
                  <a:pt x="3540" y="892"/>
                </a:lnTo>
                <a:lnTo>
                  <a:pt x="3510" y="894"/>
                </a:lnTo>
                <a:lnTo>
                  <a:pt x="3510" y="894"/>
                </a:lnTo>
                <a:lnTo>
                  <a:pt x="3504" y="894"/>
                </a:lnTo>
                <a:lnTo>
                  <a:pt x="3508" y="894"/>
                </a:lnTo>
                <a:lnTo>
                  <a:pt x="3520" y="892"/>
                </a:lnTo>
                <a:lnTo>
                  <a:pt x="3520" y="892"/>
                </a:lnTo>
                <a:lnTo>
                  <a:pt x="3466" y="898"/>
                </a:lnTo>
                <a:lnTo>
                  <a:pt x="3418" y="902"/>
                </a:lnTo>
                <a:lnTo>
                  <a:pt x="3418" y="902"/>
                </a:lnTo>
                <a:lnTo>
                  <a:pt x="3510" y="894"/>
                </a:lnTo>
                <a:lnTo>
                  <a:pt x="3579" y="890"/>
                </a:lnTo>
                <a:lnTo>
                  <a:pt x="3687" y="878"/>
                </a:lnTo>
                <a:lnTo>
                  <a:pt x="3687" y="878"/>
                </a:lnTo>
                <a:lnTo>
                  <a:pt x="3671" y="878"/>
                </a:lnTo>
                <a:lnTo>
                  <a:pt x="3667" y="878"/>
                </a:lnTo>
                <a:lnTo>
                  <a:pt x="3679" y="876"/>
                </a:lnTo>
                <a:lnTo>
                  <a:pt x="3679" y="876"/>
                </a:lnTo>
                <a:lnTo>
                  <a:pt x="3711" y="876"/>
                </a:lnTo>
                <a:lnTo>
                  <a:pt x="3765" y="870"/>
                </a:lnTo>
                <a:lnTo>
                  <a:pt x="3765" y="870"/>
                </a:lnTo>
                <a:lnTo>
                  <a:pt x="3763" y="870"/>
                </a:lnTo>
                <a:lnTo>
                  <a:pt x="3769" y="870"/>
                </a:lnTo>
                <a:lnTo>
                  <a:pt x="3791" y="866"/>
                </a:lnTo>
                <a:lnTo>
                  <a:pt x="3811" y="864"/>
                </a:lnTo>
                <a:lnTo>
                  <a:pt x="3815" y="864"/>
                </a:lnTo>
                <a:lnTo>
                  <a:pt x="3811" y="864"/>
                </a:lnTo>
                <a:lnTo>
                  <a:pt x="3811" y="864"/>
                </a:lnTo>
                <a:lnTo>
                  <a:pt x="3789" y="866"/>
                </a:lnTo>
                <a:lnTo>
                  <a:pt x="3779" y="866"/>
                </a:lnTo>
                <a:lnTo>
                  <a:pt x="3779" y="866"/>
                </a:lnTo>
                <a:lnTo>
                  <a:pt x="3797" y="864"/>
                </a:lnTo>
                <a:lnTo>
                  <a:pt x="3799" y="862"/>
                </a:lnTo>
                <a:lnTo>
                  <a:pt x="3799" y="862"/>
                </a:lnTo>
                <a:lnTo>
                  <a:pt x="3807" y="862"/>
                </a:lnTo>
                <a:lnTo>
                  <a:pt x="3807" y="862"/>
                </a:lnTo>
                <a:lnTo>
                  <a:pt x="3841" y="858"/>
                </a:lnTo>
                <a:lnTo>
                  <a:pt x="3875" y="856"/>
                </a:lnTo>
                <a:lnTo>
                  <a:pt x="3875" y="856"/>
                </a:lnTo>
                <a:lnTo>
                  <a:pt x="3783" y="870"/>
                </a:lnTo>
                <a:lnTo>
                  <a:pt x="3783" y="870"/>
                </a:lnTo>
                <a:lnTo>
                  <a:pt x="3839" y="864"/>
                </a:lnTo>
                <a:lnTo>
                  <a:pt x="3839" y="864"/>
                </a:lnTo>
                <a:lnTo>
                  <a:pt x="3831" y="864"/>
                </a:lnTo>
                <a:lnTo>
                  <a:pt x="3835" y="864"/>
                </a:lnTo>
                <a:lnTo>
                  <a:pt x="3841" y="862"/>
                </a:lnTo>
                <a:lnTo>
                  <a:pt x="3837" y="862"/>
                </a:lnTo>
                <a:lnTo>
                  <a:pt x="3837" y="862"/>
                </a:lnTo>
                <a:lnTo>
                  <a:pt x="4034" y="840"/>
                </a:lnTo>
                <a:lnTo>
                  <a:pt x="4034" y="840"/>
                </a:lnTo>
                <a:lnTo>
                  <a:pt x="4010" y="844"/>
                </a:lnTo>
                <a:lnTo>
                  <a:pt x="3971" y="850"/>
                </a:lnTo>
                <a:lnTo>
                  <a:pt x="3941" y="854"/>
                </a:lnTo>
                <a:lnTo>
                  <a:pt x="3933" y="854"/>
                </a:lnTo>
                <a:lnTo>
                  <a:pt x="3937" y="856"/>
                </a:lnTo>
                <a:lnTo>
                  <a:pt x="3937" y="856"/>
                </a:lnTo>
                <a:lnTo>
                  <a:pt x="3969" y="852"/>
                </a:lnTo>
                <a:lnTo>
                  <a:pt x="4000" y="848"/>
                </a:lnTo>
                <a:lnTo>
                  <a:pt x="4000" y="848"/>
                </a:lnTo>
                <a:lnTo>
                  <a:pt x="4054" y="844"/>
                </a:lnTo>
                <a:lnTo>
                  <a:pt x="4128" y="836"/>
                </a:lnTo>
                <a:lnTo>
                  <a:pt x="4108" y="836"/>
                </a:lnTo>
                <a:lnTo>
                  <a:pt x="4108" y="836"/>
                </a:lnTo>
                <a:lnTo>
                  <a:pt x="4180" y="830"/>
                </a:lnTo>
                <a:lnTo>
                  <a:pt x="4174" y="830"/>
                </a:lnTo>
                <a:lnTo>
                  <a:pt x="4194" y="828"/>
                </a:lnTo>
                <a:lnTo>
                  <a:pt x="4194" y="828"/>
                </a:lnTo>
                <a:lnTo>
                  <a:pt x="4198" y="828"/>
                </a:lnTo>
                <a:lnTo>
                  <a:pt x="4198" y="828"/>
                </a:lnTo>
                <a:lnTo>
                  <a:pt x="4322" y="814"/>
                </a:lnTo>
                <a:lnTo>
                  <a:pt x="4322" y="814"/>
                </a:lnTo>
                <a:lnTo>
                  <a:pt x="4298" y="816"/>
                </a:lnTo>
                <a:lnTo>
                  <a:pt x="4258" y="822"/>
                </a:lnTo>
                <a:lnTo>
                  <a:pt x="4258" y="822"/>
                </a:lnTo>
                <a:lnTo>
                  <a:pt x="4236" y="822"/>
                </a:lnTo>
                <a:lnTo>
                  <a:pt x="4226" y="822"/>
                </a:lnTo>
                <a:lnTo>
                  <a:pt x="4232" y="822"/>
                </a:lnTo>
                <a:lnTo>
                  <a:pt x="4232" y="822"/>
                </a:lnTo>
                <a:lnTo>
                  <a:pt x="4384" y="804"/>
                </a:lnTo>
                <a:lnTo>
                  <a:pt x="4364" y="806"/>
                </a:lnTo>
                <a:lnTo>
                  <a:pt x="4364" y="806"/>
                </a:lnTo>
                <a:lnTo>
                  <a:pt x="4439" y="798"/>
                </a:lnTo>
                <a:lnTo>
                  <a:pt x="4439" y="798"/>
                </a:lnTo>
                <a:lnTo>
                  <a:pt x="4457" y="796"/>
                </a:lnTo>
                <a:lnTo>
                  <a:pt x="4445" y="798"/>
                </a:lnTo>
                <a:lnTo>
                  <a:pt x="4429" y="802"/>
                </a:lnTo>
                <a:lnTo>
                  <a:pt x="4433" y="802"/>
                </a:lnTo>
                <a:lnTo>
                  <a:pt x="4433" y="802"/>
                </a:lnTo>
                <a:lnTo>
                  <a:pt x="4396" y="806"/>
                </a:lnTo>
                <a:lnTo>
                  <a:pt x="4370" y="810"/>
                </a:lnTo>
                <a:lnTo>
                  <a:pt x="4404" y="808"/>
                </a:lnTo>
                <a:lnTo>
                  <a:pt x="4404" y="808"/>
                </a:lnTo>
                <a:lnTo>
                  <a:pt x="4447" y="804"/>
                </a:lnTo>
                <a:lnTo>
                  <a:pt x="4483" y="800"/>
                </a:lnTo>
                <a:lnTo>
                  <a:pt x="4461" y="802"/>
                </a:lnTo>
                <a:lnTo>
                  <a:pt x="4461" y="802"/>
                </a:lnTo>
                <a:lnTo>
                  <a:pt x="4477" y="798"/>
                </a:lnTo>
                <a:lnTo>
                  <a:pt x="4495" y="798"/>
                </a:lnTo>
                <a:lnTo>
                  <a:pt x="4481" y="796"/>
                </a:lnTo>
                <a:lnTo>
                  <a:pt x="4481" y="796"/>
                </a:lnTo>
                <a:lnTo>
                  <a:pt x="4441" y="802"/>
                </a:lnTo>
                <a:lnTo>
                  <a:pt x="4406" y="804"/>
                </a:lnTo>
                <a:lnTo>
                  <a:pt x="4406" y="804"/>
                </a:lnTo>
                <a:lnTo>
                  <a:pt x="4457" y="798"/>
                </a:lnTo>
                <a:lnTo>
                  <a:pt x="4513" y="792"/>
                </a:lnTo>
                <a:lnTo>
                  <a:pt x="4513" y="792"/>
                </a:lnTo>
                <a:lnTo>
                  <a:pt x="4507" y="792"/>
                </a:lnTo>
                <a:lnTo>
                  <a:pt x="4495" y="794"/>
                </a:lnTo>
                <a:lnTo>
                  <a:pt x="4495" y="794"/>
                </a:lnTo>
                <a:lnTo>
                  <a:pt x="4529" y="790"/>
                </a:lnTo>
                <a:lnTo>
                  <a:pt x="4575" y="784"/>
                </a:lnTo>
                <a:lnTo>
                  <a:pt x="4575" y="784"/>
                </a:lnTo>
                <a:lnTo>
                  <a:pt x="4545" y="790"/>
                </a:lnTo>
                <a:lnTo>
                  <a:pt x="4539" y="790"/>
                </a:lnTo>
                <a:lnTo>
                  <a:pt x="4549" y="790"/>
                </a:lnTo>
                <a:lnTo>
                  <a:pt x="4567" y="786"/>
                </a:lnTo>
                <a:lnTo>
                  <a:pt x="4567" y="786"/>
                </a:lnTo>
                <a:lnTo>
                  <a:pt x="4585" y="786"/>
                </a:lnTo>
                <a:lnTo>
                  <a:pt x="4585" y="786"/>
                </a:lnTo>
                <a:lnTo>
                  <a:pt x="4595" y="784"/>
                </a:lnTo>
                <a:lnTo>
                  <a:pt x="4595" y="784"/>
                </a:lnTo>
                <a:lnTo>
                  <a:pt x="4617" y="780"/>
                </a:lnTo>
                <a:lnTo>
                  <a:pt x="4617" y="780"/>
                </a:lnTo>
                <a:lnTo>
                  <a:pt x="4629" y="780"/>
                </a:lnTo>
                <a:lnTo>
                  <a:pt x="4629" y="780"/>
                </a:lnTo>
                <a:lnTo>
                  <a:pt x="4661" y="776"/>
                </a:lnTo>
                <a:lnTo>
                  <a:pt x="4689" y="772"/>
                </a:lnTo>
                <a:lnTo>
                  <a:pt x="4689" y="772"/>
                </a:lnTo>
                <a:lnTo>
                  <a:pt x="4669" y="774"/>
                </a:lnTo>
                <a:lnTo>
                  <a:pt x="4661" y="774"/>
                </a:lnTo>
                <a:lnTo>
                  <a:pt x="4669" y="772"/>
                </a:lnTo>
                <a:lnTo>
                  <a:pt x="4689" y="770"/>
                </a:lnTo>
                <a:lnTo>
                  <a:pt x="4689" y="770"/>
                </a:lnTo>
                <a:lnTo>
                  <a:pt x="4757" y="762"/>
                </a:lnTo>
                <a:lnTo>
                  <a:pt x="4813" y="756"/>
                </a:lnTo>
                <a:lnTo>
                  <a:pt x="4838" y="752"/>
                </a:lnTo>
                <a:lnTo>
                  <a:pt x="4838" y="752"/>
                </a:lnTo>
                <a:lnTo>
                  <a:pt x="4836" y="754"/>
                </a:lnTo>
                <a:lnTo>
                  <a:pt x="4838" y="754"/>
                </a:lnTo>
                <a:lnTo>
                  <a:pt x="4852" y="752"/>
                </a:lnTo>
                <a:lnTo>
                  <a:pt x="4888" y="748"/>
                </a:lnTo>
                <a:lnTo>
                  <a:pt x="4888" y="748"/>
                </a:lnTo>
                <a:lnTo>
                  <a:pt x="4878" y="750"/>
                </a:lnTo>
                <a:lnTo>
                  <a:pt x="4850" y="752"/>
                </a:lnTo>
                <a:lnTo>
                  <a:pt x="4821" y="756"/>
                </a:lnTo>
                <a:lnTo>
                  <a:pt x="4809" y="760"/>
                </a:lnTo>
                <a:lnTo>
                  <a:pt x="4809" y="760"/>
                </a:lnTo>
                <a:lnTo>
                  <a:pt x="4829" y="758"/>
                </a:lnTo>
                <a:lnTo>
                  <a:pt x="4817" y="760"/>
                </a:lnTo>
                <a:lnTo>
                  <a:pt x="4817" y="760"/>
                </a:lnTo>
                <a:lnTo>
                  <a:pt x="4836" y="758"/>
                </a:lnTo>
                <a:lnTo>
                  <a:pt x="4840" y="756"/>
                </a:lnTo>
                <a:lnTo>
                  <a:pt x="4842" y="756"/>
                </a:lnTo>
                <a:lnTo>
                  <a:pt x="4848" y="754"/>
                </a:lnTo>
                <a:lnTo>
                  <a:pt x="4848" y="754"/>
                </a:lnTo>
                <a:lnTo>
                  <a:pt x="4878" y="750"/>
                </a:lnTo>
                <a:lnTo>
                  <a:pt x="4892" y="750"/>
                </a:lnTo>
                <a:lnTo>
                  <a:pt x="4894" y="750"/>
                </a:lnTo>
                <a:lnTo>
                  <a:pt x="4890" y="750"/>
                </a:lnTo>
                <a:lnTo>
                  <a:pt x="4890" y="750"/>
                </a:lnTo>
                <a:lnTo>
                  <a:pt x="4924" y="746"/>
                </a:lnTo>
                <a:lnTo>
                  <a:pt x="4950" y="742"/>
                </a:lnTo>
                <a:lnTo>
                  <a:pt x="4950" y="742"/>
                </a:lnTo>
                <a:lnTo>
                  <a:pt x="4946" y="744"/>
                </a:lnTo>
                <a:lnTo>
                  <a:pt x="4944" y="744"/>
                </a:lnTo>
                <a:lnTo>
                  <a:pt x="4946" y="746"/>
                </a:lnTo>
                <a:lnTo>
                  <a:pt x="4946" y="746"/>
                </a:lnTo>
                <a:lnTo>
                  <a:pt x="4984" y="740"/>
                </a:lnTo>
                <a:lnTo>
                  <a:pt x="4984" y="740"/>
                </a:lnTo>
                <a:lnTo>
                  <a:pt x="4982" y="740"/>
                </a:lnTo>
                <a:lnTo>
                  <a:pt x="4984" y="740"/>
                </a:lnTo>
                <a:lnTo>
                  <a:pt x="4968" y="742"/>
                </a:lnTo>
                <a:lnTo>
                  <a:pt x="4968" y="742"/>
                </a:lnTo>
                <a:lnTo>
                  <a:pt x="5002" y="736"/>
                </a:lnTo>
                <a:lnTo>
                  <a:pt x="5030" y="732"/>
                </a:lnTo>
                <a:lnTo>
                  <a:pt x="5030" y="732"/>
                </a:lnTo>
                <a:lnTo>
                  <a:pt x="5066" y="730"/>
                </a:lnTo>
                <a:lnTo>
                  <a:pt x="5120" y="724"/>
                </a:lnTo>
                <a:lnTo>
                  <a:pt x="5120" y="724"/>
                </a:lnTo>
                <a:lnTo>
                  <a:pt x="5110" y="722"/>
                </a:lnTo>
                <a:lnTo>
                  <a:pt x="5090" y="726"/>
                </a:lnTo>
                <a:lnTo>
                  <a:pt x="5070" y="728"/>
                </a:lnTo>
                <a:lnTo>
                  <a:pt x="5056" y="730"/>
                </a:lnTo>
                <a:lnTo>
                  <a:pt x="5056" y="730"/>
                </a:lnTo>
                <a:lnTo>
                  <a:pt x="5142" y="718"/>
                </a:lnTo>
                <a:lnTo>
                  <a:pt x="5248" y="704"/>
                </a:lnTo>
                <a:lnTo>
                  <a:pt x="5248" y="704"/>
                </a:lnTo>
                <a:lnTo>
                  <a:pt x="5271" y="702"/>
                </a:lnTo>
                <a:lnTo>
                  <a:pt x="5273" y="702"/>
                </a:lnTo>
                <a:lnTo>
                  <a:pt x="5269" y="702"/>
                </a:lnTo>
                <a:lnTo>
                  <a:pt x="5261" y="704"/>
                </a:lnTo>
                <a:lnTo>
                  <a:pt x="5259" y="704"/>
                </a:lnTo>
                <a:lnTo>
                  <a:pt x="5259" y="704"/>
                </a:lnTo>
                <a:lnTo>
                  <a:pt x="5259" y="704"/>
                </a:lnTo>
                <a:lnTo>
                  <a:pt x="5154" y="718"/>
                </a:lnTo>
                <a:lnTo>
                  <a:pt x="5154" y="718"/>
                </a:lnTo>
                <a:lnTo>
                  <a:pt x="5238" y="708"/>
                </a:lnTo>
                <a:lnTo>
                  <a:pt x="5313" y="698"/>
                </a:lnTo>
                <a:lnTo>
                  <a:pt x="5313" y="698"/>
                </a:lnTo>
                <a:lnTo>
                  <a:pt x="5345" y="694"/>
                </a:lnTo>
                <a:lnTo>
                  <a:pt x="5369" y="692"/>
                </a:lnTo>
                <a:lnTo>
                  <a:pt x="5395" y="690"/>
                </a:lnTo>
                <a:lnTo>
                  <a:pt x="5433" y="684"/>
                </a:lnTo>
                <a:lnTo>
                  <a:pt x="5433" y="684"/>
                </a:lnTo>
                <a:lnTo>
                  <a:pt x="5423" y="684"/>
                </a:lnTo>
                <a:lnTo>
                  <a:pt x="5407" y="686"/>
                </a:lnTo>
                <a:lnTo>
                  <a:pt x="5407" y="686"/>
                </a:lnTo>
                <a:lnTo>
                  <a:pt x="5459" y="678"/>
                </a:lnTo>
                <a:lnTo>
                  <a:pt x="5459" y="678"/>
                </a:lnTo>
                <a:lnTo>
                  <a:pt x="5461" y="678"/>
                </a:lnTo>
                <a:lnTo>
                  <a:pt x="5461" y="678"/>
                </a:lnTo>
                <a:lnTo>
                  <a:pt x="5453" y="678"/>
                </a:lnTo>
                <a:lnTo>
                  <a:pt x="5449" y="680"/>
                </a:lnTo>
                <a:lnTo>
                  <a:pt x="5457" y="678"/>
                </a:lnTo>
                <a:lnTo>
                  <a:pt x="5457" y="678"/>
                </a:lnTo>
                <a:lnTo>
                  <a:pt x="5475" y="676"/>
                </a:lnTo>
                <a:lnTo>
                  <a:pt x="5483" y="676"/>
                </a:lnTo>
                <a:lnTo>
                  <a:pt x="5479" y="676"/>
                </a:lnTo>
                <a:lnTo>
                  <a:pt x="5479" y="676"/>
                </a:lnTo>
                <a:lnTo>
                  <a:pt x="5511" y="672"/>
                </a:lnTo>
                <a:lnTo>
                  <a:pt x="5529" y="670"/>
                </a:lnTo>
                <a:lnTo>
                  <a:pt x="5545" y="668"/>
                </a:lnTo>
                <a:lnTo>
                  <a:pt x="5573" y="664"/>
                </a:lnTo>
                <a:lnTo>
                  <a:pt x="5573" y="664"/>
                </a:lnTo>
                <a:lnTo>
                  <a:pt x="5545" y="668"/>
                </a:lnTo>
                <a:lnTo>
                  <a:pt x="5545" y="668"/>
                </a:lnTo>
                <a:lnTo>
                  <a:pt x="5543" y="668"/>
                </a:lnTo>
                <a:lnTo>
                  <a:pt x="5545" y="666"/>
                </a:lnTo>
                <a:lnTo>
                  <a:pt x="5555" y="664"/>
                </a:lnTo>
                <a:lnTo>
                  <a:pt x="5591" y="658"/>
                </a:lnTo>
                <a:lnTo>
                  <a:pt x="5591" y="658"/>
                </a:lnTo>
                <a:lnTo>
                  <a:pt x="5601" y="658"/>
                </a:lnTo>
                <a:lnTo>
                  <a:pt x="5627" y="654"/>
                </a:lnTo>
                <a:lnTo>
                  <a:pt x="5627" y="654"/>
                </a:lnTo>
                <a:lnTo>
                  <a:pt x="5629" y="654"/>
                </a:lnTo>
                <a:lnTo>
                  <a:pt x="5625" y="654"/>
                </a:lnTo>
                <a:lnTo>
                  <a:pt x="5611" y="656"/>
                </a:lnTo>
                <a:lnTo>
                  <a:pt x="5579" y="662"/>
                </a:lnTo>
                <a:lnTo>
                  <a:pt x="5623" y="656"/>
                </a:lnTo>
                <a:lnTo>
                  <a:pt x="5615" y="656"/>
                </a:lnTo>
                <a:lnTo>
                  <a:pt x="5663" y="648"/>
                </a:lnTo>
                <a:lnTo>
                  <a:pt x="5663" y="648"/>
                </a:lnTo>
                <a:lnTo>
                  <a:pt x="5647" y="650"/>
                </a:lnTo>
                <a:lnTo>
                  <a:pt x="5645" y="650"/>
                </a:lnTo>
                <a:lnTo>
                  <a:pt x="5663" y="648"/>
                </a:lnTo>
                <a:lnTo>
                  <a:pt x="5663" y="648"/>
                </a:lnTo>
                <a:lnTo>
                  <a:pt x="5710" y="640"/>
                </a:lnTo>
                <a:lnTo>
                  <a:pt x="5724" y="640"/>
                </a:lnTo>
                <a:lnTo>
                  <a:pt x="5728" y="640"/>
                </a:lnTo>
                <a:lnTo>
                  <a:pt x="5728" y="640"/>
                </a:lnTo>
                <a:lnTo>
                  <a:pt x="5756" y="634"/>
                </a:lnTo>
                <a:lnTo>
                  <a:pt x="5804" y="626"/>
                </a:lnTo>
                <a:lnTo>
                  <a:pt x="5804" y="626"/>
                </a:lnTo>
                <a:lnTo>
                  <a:pt x="5790" y="628"/>
                </a:lnTo>
                <a:lnTo>
                  <a:pt x="5792" y="628"/>
                </a:lnTo>
                <a:lnTo>
                  <a:pt x="5810" y="624"/>
                </a:lnTo>
                <a:lnTo>
                  <a:pt x="5860" y="618"/>
                </a:lnTo>
                <a:lnTo>
                  <a:pt x="5860" y="618"/>
                </a:lnTo>
                <a:lnTo>
                  <a:pt x="5840" y="622"/>
                </a:lnTo>
                <a:lnTo>
                  <a:pt x="5844" y="622"/>
                </a:lnTo>
                <a:lnTo>
                  <a:pt x="5856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60" y="620"/>
                </a:lnTo>
                <a:lnTo>
                  <a:pt x="5826" y="626"/>
                </a:lnTo>
                <a:lnTo>
                  <a:pt x="5784" y="632"/>
                </a:lnTo>
                <a:lnTo>
                  <a:pt x="5784" y="632"/>
                </a:lnTo>
                <a:lnTo>
                  <a:pt x="5820" y="628"/>
                </a:lnTo>
                <a:lnTo>
                  <a:pt x="5848" y="624"/>
                </a:lnTo>
                <a:lnTo>
                  <a:pt x="5876" y="618"/>
                </a:lnTo>
                <a:lnTo>
                  <a:pt x="5908" y="613"/>
                </a:lnTo>
                <a:lnTo>
                  <a:pt x="5908" y="613"/>
                </a:lnTo>
                <a:lnTo>
                  <a:pt x="5902" y="615"/>
                </a:lnTo>
                <a:lnTo>
                  <a:pt x="5882" y="620"/>
                </a:lnTo>
                <a:lnTo>
                  <a:pt x="5882" y="620"/>
                </a:lnTo>
                <a:lnTo>
                  <a:pt x="5912" y="613"/>
                </a:lnTo>
                <a:lnTo>
                  <a:pt x="5958" y="607"/>
                </a:lnTo>
                <a:lnTo>
                  <a:pt x="5958" y="607"/>
                </a:lnTo>
                <a:lnTo>
                  <a:pt x="5944" y="607"/>
                </a:lnTo>
                <a:lnTo>
                  <a:pt x="5946" y="607"/>
                </a:lnTo>
                <a:lnTo>
                  <a:pt x="5962" y="603"/>
                </a:lnTo>
                <a:lnTo>
                  <a:pt x="6004" y="599"/>
                </a:lnTo>
                <a:lnTo>
                  <a:pt x="6004" y="599"/>
                </a:lnTo>
                <a:lnTo>
                  <a:pt x="6028" y="595"/>
                </a:lnTo>
                <a:lnTo>
                  <a:pt x="6034" y="593"/>
                </a:lnTo>
                <a:lnTo>
                  <a:pt x="6040" y="591"/>
                </a:lnTo>
                <a:lnTo>
                  <a:pt x="6060" y="587"/>
                </a:lnTo>
                <a:lnTo>
                  <a:pt x="6034" y="591"/>
                </a:lnTo>
                <a:lnTo>
                  <a:pt x="6034" y="591"/>
                </a:lnTo>
                <a:lnTo>
                  <a:pt x="6062" y="585"/>
                </a:lnTo>
                <a:lnTo>
                  <a:pt x="6080" y="581"/>
                </a:lnTo>
                <a:lnTo>
                  <a:pt x="6088" y="579"/>
                </a:lnTo>
                <a:lnTo>
                  <a:pt x="6088" y="579"/>
                </a:lnTo>
                <a:lnTo>
                  <a:pt x="6024" y="591"/>
                </a:lnTo>
                <a:lnTo>
                  <a:pt x="6024" y="591"/>
                </a:lnTo>
                <a:lnTo>
                  <a:pt x="6022" y="591"/>
                </a:lnTo>
                <a:lnTo>
                  <a:pt x="6024" y="589"/>
                </a:lnTo>
                <a:lnTo>
                  <a:pt x="6038" y="587"/>
                </a:lnTo>
                <a:lnTo>
                  <a:pt x="6072" y="581"/>
                </a:lnTo>
                <a:lnTo>
                  <a:pt x="6072" y="581"/>
                </a:lnTo>
                <a:lnTo>
                  <a:pt x="6155" y="571"/>
                </a:lnTo>
                <a:lnTo>
                  <a:pt x="6155" y="571"/>
                </a:lnTo>
                <a:lnTo>
                  <a:pt x="6145" y="573"/>
                </a:lnTo>
                <a:lnTo>
                  <a:pt x="6125" y="579"/>
                </a:lnTo>
                <a:lnTo>
                  <a:pt x="6103" y="583"/>
                </a:lnTo>
                <a:lnTo>
                  <a:pt x="6099" y="585"/>
                </a:lnTo>
                <a:lnTo>
                  <a:pt x="6097" y="585"/>
                </a:lnTo>
                <a:lnTo>
                  <a:pt x="6099" y="585"/>
                </a:lnTo>
                <a:lnTo>
                  <a:pt x="6099" y="585"/>
                </a:lnTo>
                <a:lnTo>
                  <a:pt x="6187" y="571"/>
                </a:lnTo>
                <a:lnTo>
                  <a:pt x="6261" y="559"/>
                </a:lnTo>
                <a:lnTo>
                  <a:pt x="6261" y="559"/>
                </a:lnTo>
                <a:lnTo>
                  <a:pt x="6299" y="551"/>
                </a:lnTo>
                <a:lnTo>
                  <a:pt x="6301" y="551"/>
                </a:lnTo>
                <a:lnTo>
                  <a:pt x="6299" y="549"/>
                </a:lnTo>
                <a:lnTo>
                  <a:pt x="6295" y="549"/>
                </a:lnTo>
                <a:lnTo>
                  <a:pt x="6295" y="549"/>
                </a:lnTo>
                <a:lnTo>
                  <a:pt x="6337" y="543"/>
                </a:lnTo>
                <a:lnTo>
                  <a:pt x="6315" y="547"/>
                </a:lnTo>
                <a:lnTo>
                  <a:pt x="6315" y="547"/>
                </a:lnTo>
                <a:lnTo>
                  <a:pt x="6465" y="519"/>
                </a:lnTo>
                <a:lnTo>
                  <a:pt x="6465" y="519"/>
                </a:lnTo>
                <a:lnTo>
                  <a:pt x="6487" y="515"/>
                </a:lnTo>
                <a:lnTo>
                  <a:pt x="6477" y="515"/>
                </a:lnTo>
                <a:lnTo>
                  <a:pt x="6516" y="507"/>
                </a:lnTo>
                <a:lnTo>
                  <a:pt x="6509" y="509"/>
                </a:lnTo>
                <a:lnTo>
                  <a:pt x="6509" y="509"/>
                </a:lnTo>
                <a:lnTo>
                  <a:pt x="6536" y="503"/>
                </a:lnTo>
                <a:lnTo>
                  <a:pt x="6576" y="495"/>
                </a:lnTo>
                <a:lnTo>
                  <a:pt x="6576" y="495"/>
                </a:lnTo>
                <a:lnTo>
                  <a:pt x="6562" y="499"/>
                </a:lnTo>
                <a:lnTo>
                  <a:pt x="6562" y="499"/>
                </a:lnTo>
                <a:lnTo>
                  <a:pt x="6634" y="487"/>
                </a:lnTo>
                <a:lnTo>
                  <a:pt x="6634" y="487"/>
                </a:lnTo>
                <a:lnTo>
                  <a:pt x="6624" y="489"/>
                </a:lnTo>
                <a:lnTo>
                  <a:pt x="6594" y="495"/>
                </a:lnTo>
                <a:lnTo>
                  <a:pt x="6594" y="495"/>
                </a:lnTo>
                <a:lnTo>
                  <a:pt x="6590" y="495"/>
                </a:lnTo>
                <a:lnTo>
                  <a:pt x="6546" y="505"/>
                </a:lnTo>
                <a:lnTo>
                  <a:pt x="6546" y="505"/>
                </a:lnTo>
                <a:lnTo>
                  <a:pt x="6606" y="493"/>
                </a:lnTo>
                <a:lnTo>
                  <a:pt x="6622" y="491"/>
                </a:lnTo>
                <a:lnTo>
                  <a:pt x="6626" y="493"/>
                </a:lnTo>
                <a:lnTo>
                  <a:pt x="6626" y="493"/>
                </a:lnTo>
                <a:lnTo>
                  <a:pt x="6642" y="489"/>
                </a:lnTo>
                <a:lnTo>
                  <a:pt x="6632" y="489"/>
                </a:lnTo>
                <a:lnTo>
                  <a:pt x="6624" y="491"/>
                </a:lnTo>
                <a:lnTo>
                  <a:pt x="6644" y="487"/>
                </a:lnTo>
                <a:lnTo>
                  <a:pt x="6644" y="487"/>
                </a:lnTo>
                <a:lnTo>
                  <a:pt x="6702" y="477"/>
                </a:lnTo>
                <a:lnTo>
                  <a:pt x="6756" y="467"/>
                </a:lnTo>
                <a:lnTo>
                  <a:pt x="6802" y="459"/>
                </a:lnTo>
                <a:lnTo>
                  <a:pt x="6840" y="453"/>
                </a:lnTo>
                <a:lnTo>
                  <a:pt x="6840" y="453"/>
                </a:lnTo>
                <a:lnTo>
                  <a:pt x="6979" y="423"/>
                </a:lnTo>
                <a:lnTo>
                  <a:pt x="6979" y="423"/>
                </a:lnTo>
                <a:lnTo>
                  <a:pt x="6997" y="419"/>
                </a:lnTo>
                <a:lnTo>
                  <a:pt x="7007" y="415"/>
                </a:lnTo>
                <a:lnTo>
                  <a:pt x="7011" y="415"/>
                </a:lnTo>
                <a:lnTo>
                  <a:pt x="7011" y="415"/>
                </a:lnTo>
                <a:lnTo>
                  <a:pt x="7011" y="415"/>
                </a:lnTo>
                <a:lnTo>
                  <a:pt x="6971" y="421"/>
                </a:lnTo>
                <a:lnTo>
                  <a:pt x="6933" y="431"/>
                </a:lnTo>
                <a:lnTo>
                  <a:pt x="6896" y="437"/>
                </a:lnTo>
                <a:lnTo>
                  <a:pt x="6864" y="443"/>
                </a:lnTo>
                <a:lnTo>
                  <a:pt x="6864" y="443"/>
                </a:lnTo>
                <a:lnTo>
                  <a:pt x="6844" y="449"/>
                </a:lnTo>
                <a:lnTo>
                  <a:pt x="6836" y="451"/>
                </a:lnTo>
                <a:lnTo>
                  <a:pt x="6836" y="451"/>
                </a:lnTo>
                <a:lnTo>
                  <a:pt x="6792" y="459"/>
                </a:lnTo>
                <a:lnTo>
                  <a:pt x="6792" y="459"/>
                </a:lnTo>
                <a:lnTo>
                  <a:pt x="6816" y="453"/>
                </a:lnTo>
                <a:lnTo>
                  <a:pt x="6824" y="451"/>
                </a:lnTo>
                <a:lnTo>
                  <a:pt x="6836" y="447"/>
                </a:lnTo>
                <a:lnTo>
                  <a:pt x="6868" y="441"/>
                </a:lnTo>
                <a:lnTo>
                  <a:pt x="6868" y="441"/>
                </a:lnTo>
                <a:lnTo>
                  <a:pt x="6832" y="447"/>
                </a:lnTo>
                <a:lnTo>
                  <a:pt x="6784" y="457"/>
                </a:lnTo>
                <a:lnTo>
                  <a:pt x="6784" y="457"/>
                </a:lnTo>
                <a:lnTo>
                  <a:pt x="6788" y="455"/>
                </a:lnTo>
                <a:lnTo>
                  <a:pt x="6786" y="455"/>
                </a:lnTo>
                <a:lnTo>
                  <a:pt x="6770" y="457"/>
                </a:lnTo>
                <a:lnTo>
                  <a:pt x="6770" y="457"/>
                </a:lnTo>
                <a:lnTo>
                  <a:pt x="6840" y="441"/>
                </a:lnTo>
                <a:lnTo>
                  <a:pt x="6840" y="441"/>
                </a:lnTo>
                <a:lnTo>
                  <a:pt x="6838" y="441"/>
                </a:lnTo>
                <a:lnTo>
                  <a:pt x="6840" y="441"/>
                </a:lnTo>
                <a:lnTo>
                  <a:pt x="6842" y="441"/>
                </a:lnTo>
                <a:lnTo>
                  <a:pt x="6842" y="441"/>
                </a:lnTo>
                <a:lnTo>
                  <a:pt x="6908" y="427"/>
                </a:lnTo>
                <a:lnTo>
                  <a:pt x="6908" y="427"/>
                </a:lnTo>
                <a:lnTo>
                  <a:pt x="6928" y="423"/>
                </a:lnTo>
                <a:lnTo>
                  <a:pt x="6928" y="425"/>
                </a:lnTo>
                <a:lnTo>
                  <a:pt x="6924" y="425"/>
                </a:lnTo>
                <a:lnTo>
                  <a:pt x="6924" y="425"/>
                </a:lnTo>
                <a:lnTo>
                  <a:pt x="6987" y="413"/>
                </a:lnTo>
                <a:lnTo>
                  <a:pt x="7013" y="407"/>
                </a:lnTo>
                <a:lnTo>
                  <a:pt x="7025" y="407"/>
                </a:lnTo>
                <a:lnTo>
                  <a:pt x="7025" y="407"/>
                </a:lnTo>
                <a:lnTo>
                  <a:pt x="7041" y="403"/>
                </a:lnTo>
                <a:lnTo>
                  <a:pt x="7033" y="403"/>
                </a:lnTo>
                <a:lnTo>
                  <a:pt x="7005" y="409"/>
                </a:lnTo>
                <a:lnTo>
                  <a:pt x="7009" y="407"/>
                </a:lnTo>
                <a:lnTo>
                  <a:pt x="6959" y="417"/>
                </a:lnTo>
                <a:lnTo>
                  <a:pt x="6959" y="417"/>
                </a:lnTo>
                <a:lnTo>
                  <a:pt x="6965" y="415"/>
                </a:lnTo>
                <a:lnTo>
                  <a:pt x="6985" y="411"/>
                </a:lnTo>
                <a:lnTo>
                  <a:pt x="7009" y="407"/>
                </a:lnTo>
                <a:lnTo>
                  <a:pt x="7023" y="403"/>
                </a:lnTo>
                <a:lnTo>
                  <a:pt x="7023" y="403"/>
                </a:lnTo>
                <a:lnTo>
                  <a:pt x="7029" y="401"/>
                </a:lnTo>
                <a:lnTo>
                  <a:pt x="7037" y="399"/>
                </a:lnTo>
                <a:lnTo>
                  <a:pt x="7065" y="393"/>
                </a:lnTo>
                <a:lnTo>
                  <a:pt x="7099" y="387"/>
                </a:lnTo>
                <a:lnTo>
                  <a:pt x="7129" y="381"/>
                </a:lnTo>
                <a:lnTo>
                  <a:pt x="7089" y="393"/>
                </a:lnTo>
                <a:lnTo>
                  <a:pt x="7125" y="385"/>
                </a:lnTo>
                <a:lnTo>
                  <a:pt x="7125" y="385"/>
                </a:lnTo>
                <a:lnTo>
                  <a:pt x="7103" y="391"/>
                </a:lnTo>
                <a:lnTo>
                  <a:pt x="7075" y="399"/>
                </a:lnTo>
                <a:lnTo>
                  <a:pt x="7075" y="399"/>
                </a:lnTo>
                <a:lnTo>
                  <a:pt x="7155" y="383"/>
                </a:lnTo>
                <a:lnTo>
                  <a:pt x="7223" y="367"/>
                </a:lnTo>
                <a:lnTo>
                  <a:pt x="7223" y="367"/>
                </a:lnTo>
                <a:lnTo>
                  <a:pt x="7237" y="367"/>
                </a:lnTo>
                <a:lnTo>
                  <a:pt x="7239" y="367"/>
                </a:lnTo>
                <a:lnTo>
                  <a:pt x="7237" y="369"/>
                </a:lnTo>
                <a:lnTo>
                  <a:pt x="7237" y="369"/>
                </a:lnTo>
                <a:lnTo>
                  <a:pt x="7269" y="359"/>
                </a:lnTo>
                <a:lnTo>
                  <a:pt x="7299" y="353"/>
                </a:lnTo>
                <a:lnTo>
                  <a:pt x="7356" y="341"/>
                </a:lnTo>
                <a:lnTo>
                  <a:pt x="7356" y="341"/>
                </a:lnTo>
                <a:lnTo>
                  <a:pt x="7368" y="339"/>
                </a:lnTo>
                <a:lnTo>
                  <a:pt x="7354" y="341"/>
                </a:lnTo>
                <a:lnTo>
                  <a:pt x="7337" y="343"/>
                </a:lnTo>
                <a:lnTo>
                  <a:pt x="7335" y="343"/>
                </a:lnTo>
                <a:lnTo>
                  <a:pt x="7343" y="341"/>
                </a:lnTo>
                <a:lnTo>
                  <a:pt x="7343" y="341"/>
                </a:lnTo>
                <a:lnTo>
                  <a:pt x="7368" y="337"/>
                </a:lnTo>
                <a:lnTo>
                  <a:pt x="7394" y="329"/>
                </a:lnTo>
                <a:lnTo>
                  <a:pt x="7394" y="329"/>
                </a:lnTo>
                <a:lnTo>
                  <a:pt x="7354" y="339"/>
                </a:lnTo>
                <a:lnTo>
                  <a:pt x="7299" y="351"/>
                </a:lnTo>
                <a:lnTo>
                  <a:pt x="7299" y="351"/>
                </a:lnTo>
                <a:lnTo>
                  <a:pt x="7319" y="345"/>
                </a:lnTo>
                <a:lnTo>
                  <a:pt x="7327" y="343"/>
                </a:lnTo>
                <a:lnTo>
                  <a:pt x="7285" y="351"/>
                </a:lnTo>
                <a:lnTo>
                  <a:pt x="7285" y="351"/>
                </a:lnTo>
                <a:lnTo>
                  <a:pt x="7295" y="349"/>
                </a:lnTo>
                <a:lnTo>
                  <a:pt x="7313" y="343"/>
                </a:lnTo>
                <a:lnTo>
                  <a:pt x="7356" y="335"/>
                </a:lnTo>
                <a:lnTo>
                  <a:pt x="7356" y="335"/>
                </a:lnTo>
                <a:lnTo>
                  <a:pt x="7337" y="341"/>
                </a:lnTo>
                <a:lnTo>
                  <a:pt x="7337" y="341"/>
                </a:lnTo>
                <a:lnTo>
                  <a:pt x="7456" y="313"/>
                </a:lnTo>
                <a:lnTo>
                  <a:pt x="7456" y="313"/>
                </a:lnTo>
                <a:lnTo>
                  <a:pt x="7462" y="313"/>
                </a:lnTo>
                <a:lnTo>
                  <a:pt x="7454" y="315"/>
                </a:lnTo>
                <a:lnTo>
                  <a:pt x="7432" y="321"/>
                </a:lnTo>
                <a:lnTo>
                  <a:pt x="7432" y="321"/>
                </a:lnTo>
                <a:lnTo>
                  <a:pt x="7454" y="315"/>
                </a:lnTo>
                <a:lnTo>
                  <a:pt x="7474" y="311"/>
                </a:lnTo>
                <a:lnTo>
                  <a:pt x="7474" y="311"/>
                </a:lnTo>
                <a:lnTo>
                  <a:pt x="7460" y="315"/>
                </a:lnTo>
                <a:lnTo>
                  <a:pt x="7442" y="321"/>
                </a:lnTo>
                <a:lnTo>
                  <a:pt x="7544" y="295"/>
                </a:lnTo>
                <a:lnTo>
                  <a:pt x="7544" y="295"/>
                </a:lnTo>
                <a:lnTo>
                  <a:pt x="7502" y="307"/>
                </a:lnTo>
                <a:lnTo>
                  <a:pt x="7502" y="307"/>
                </a:lnTo>
                <a:lnTo>
                  <a:pt x="7546" y="295"/>
                </a:lnTo>
                <a:lnTo>
                  <a:pt x="7592" y="281"/>
                </a:lnTo>
                <a:lnTo>
                  <a:pt x="7592" y="281"/>
                </a:lnTo>
                <a:lnTo>
                  <a:pt x="7642" y="269"/>
                </a:lnTo>
                <a:lnTo>
                  <a:pt x="7656" y="267"/>
                </a:lnTo>
                <a:lnTo>
                  <a:pt x="7658" y="267"/>
                </a:lnTo>
                <a:lnTo>
                  <a:pt x="7656" y="267"/>
                </a:lnTo>
                <a:lnTo>
                  <a:pt x="7656" y="267"/>
                </a:lnTo>
                <a:lnTo>
                  <a:pt x="7664" y="263"/>
                </a:lnTo>
                <a:lnTo>
                  <a:pt x="7662" y="265"/>
                </a:lnTo>
                <a:lnTo>
                  <a:pt x="7662" y="265"/>
                </a:lnTo>
                <a:lnTo>
                  <a:pt x="7708" y="251"/>
                </a:lnTo>
                <a:lnTo>
                  <a:pt x="7742" y="239"/>
                </a:lnTo>
                <a:lnTo>
                  <a:pt x="7720" y="245"/>
                </a:lnTo>
                <a:lnTo>
                  <a:pt x="7720" y="245"/>
                </a:lnTo>
                <a:lnTo>
                  <a:pt x="7740" y="239"/>
                </a:lnTo>
                <a:lnTo>
                  <a:pt x="7746" y="237"/>
                </a:lnTo>
                <a:lnTo>
                  <a:pt x="7752" y="235"/>
                </a:lnTo>
                <a:lnTo>
                  <a:pt x="7771" y="229"/>
                </a:lnTo>
                <a:lnTo>
                  <a:pt x="7771" y="229"/>
                </a:lnTo>
                <a:lnTo>
                  <a:pt x="7766" y="231"/>
                </a:lnTo>
                <a:lnTo>
                  <a:pt x="7766" y="233"/>
                </a:lnTo>
                <a:lnTo>
                  <a:pt x="7775" y="233"/>
                </a:lnTo>
                <a:lnTo>
                  <a:pt x="7775" y="233"/>
                </a:lnTo>
                <a:lnTo>
                  <a:pt x="7795" y="227"/>
                </a:lnTo>
                <a:lnTo>
                  <a:pt x="7825" y="219"/>
                </a:lnTo>
                <a:lnTo>
                  <a:pt x="7825" y="219"/>
                </a:lnTo>
                <a:lnTo>
                  <a:pt x="7823" y="219"/>
                </a:lnTo>
                <a:lnTo>
                  <a:pt x="7825" y="217"/>
                </a:lnTo>
                <a:lnTo>
                  <a:pt x="7835" y="213"/>
                </a:lnTo>
                <a:lnTo>
                  <a:pt x="7843" y="211"/>
                </a:lnTo>
                <a:lnTo>
                  <a:pt x="7833" y="213"/>
                </a:lnTo>
                <a:lnTo>
                  <a:pt x="7833" y="213"/>
                </a:lnTo>
                <a:lnTo>
                  <a:pt x="7881" y="199"/>
                </a:lnTo>
                <a:lnTo>
                  <a:pt x="7921" y="185"/>
                </a:lnTo>
                <a:lnTo>
                  <a:pt x="7921" y="185"/>
                </a:lnTo>
                <a:lnTo>
                  <a:pt x="7917" y="187"/>
                </a:lnTo>
                <a:lnTo>
                  <a:pt x="7929" y="183"/>
                </a:lnTo>
                <a:lnTo>
                  <a:pt x="7939" y="177"/>
                </a:lnTo>
                <a:lnTo>
                  <a:pt x="7941" y="177"/>
                </a:lnTo>
                <a:lnTo>
                  <a:pt x="7939" y="177"/>
                </a:lnTo>
                <a:lnTo>
                  <a:pt x="7939" y="177"/>
                </a:lnTo>
                <a:lnTo>
                  <a:pt x="7985" y="162"/>
                </a:lnTo>
                <a:lnTo>
                  <a:pt x="7995" y="160"/>
                </a:lnTo>
                <a:lnTo>
                  <a:pt x="7997" y="160"/>
                </a:lnTo>
                <a:lnTo>
                  <a:pt x="7993" y="162"/>
                </a:lnTo>
                <a:lnTo>
                  <a:pt x="7993" y="162"/>
                </a:lnTo>
                <a:lnTo>
                  <a:pt x="7971" y="169"/>
                </a:lnTo>
                <a:lnTo>
                  <a:pt x="7961" y="173"/>
                </a:lnTo>
                <a:lnTo>
                  <a:pt x="7961" y="173"/>
                </a:lnTo>
                <a:lnTo>
                  <a:pt x="8031" y="150"/>
                </a:lnTo>
                <a:lnTo>
                  <a:pt x="8031" y="150"/>
                </a:lnTo>
                <a:lnTo>
                  <a:pt x="8057" y="142"/>
                </a:lnTo>
                <a:lnTo>
                  <a:pt x="8075" y="138"/>
                </a:lnTo>
                <a:lnTo>
                  <a:pt x="8075" y="138"/>
                </a:lnTo>
                <a:lnTo>
                  <a:pt x="8117" y="122"/>
                </a:lnTo>
                <a:lnTo>
                  <a:pt x="8139" y="114"/>
                </a:lnTo>
                <a:lnTo>
                  <a:pt x="8157" y="108"/>
                </a:lnTo>
                <a:lnTo>
                  <a:pt x="8157" y="108"/>
                </a:lnTo>
                <a:lnTo>
                  <a:pt x="8125" y="118"/>
                </a:lnTo>
                <a:lnTo>
                  <a:pt x="8105" y="126"/>
                </a:lnTo>
                <a:lnTo>
                  <a:pt x="8115" y="122"/>
                </a:lnTo>
                <a:lnTo>
                  <a:pt x="8111" y="124"/>
                </a:lnTo>
                <a:lnTo>
                  <a:pt x="8139" y="110"/>
                </a:lnTo>
                <a:lnTo>
                  <a:pt x="8139" y="110"/>
                </a:lnTo>
                <a:lnTo>
                  <a:pt x="8125" y="114"/>
                </a:lnTo>
                <a:lnTo>
                  <a:pt x="8121" y="116"/>
                </a:lnTo>
                <a:lnTo>
                  <a:pt x="8115" y="120"/>
                </a:lnTo>
                <a:lnTo>
                  <a:pt x="8095" y="128"/>
                </a:lnTo>
                <a:lnTo>
                  <a:pt x="8095" y="128"/>
                </a:lnTo>
                <a:lnTo>
                  <a:pt x="8087" y="130"/>
                </a:lnTo>
                <a:lnTo>
                  <a:pt x="8091" y="128"/>
                </a:lnTo>
                <a:lnTo>
                  <a:pt x="8115" y="118"/>
                </a:lnTo>
                <a:lnTo>
                  <a:pt x="8115" y="118"/>
                </a:lnTo>
                <a:lnTo>
                  <a:pt x="8139" y="108"/>
                </a:lnTo>
                <a:lnTo>
                  <a:pt x="8143" y="106"/>
                </a:lnTo>
                <a:lnTo>
                  <a:pt x="8135" y="108"/>
                </a:lnTo>
                <a:lnTo>
                  <a:pt x="8135" y="108"/>
                </a:lnTo>
                <a:lnTo>
                  <a:pt x="8109" y="118"/>
                </a:lnTo>
                <a:lnTo>
                  <a:pt x="8087" y="128"/>
                </a:lnTo>
                <a:lnTo>
                  <a:pt x="8093" y="126"/>
                </a:lnTo>
                <a:lnTo>
                  <a:pt x="8037" y="146"/>
                </a:lnTo>
                <a:lnTo>
                  <a:pt x="8037" y="146"/>
                </a:lnTo>
                <a:lnTo>
                  <a:pt x="8043" y="142"/>
                </a:lnTo>
                <a:lnTo>
                  <a:pt x="8051" y="140"/>
                </a:lnTo>
                <a:lnTo>
                  <a:pt x="8051" y="140"/>
                </a:lnTo>
                <a:lnTo>
                  <a:pt x="7975" y="165"/>
                </a:lnTo>
                <a:lnTo>
                  <a:pt x="7897" y="189"/>
                </a:lnTo>
                <a:lnTo>
                  <a:pt x="7897" y="189"/>
                </a:lnTo>
                <a:lnTo>
                  <a:pt x="7905" y="187"/>
                </a:lnTo>
                <a:lnTo>
                  <a:pt x="7901" y="189"/>
                </a:lnTo>
                <a:lnTo>
                  <a:pt x="7885" y="195"/>
                </a:lnTo>
                <a:lnTo>
                  <a:pt x="7885" y="195"/>
                </a:lnTo>
                <a:lnTo>
                  <a:pt x="7859" y="203"/>
                </a:lnTo>
                <a:lnTo>
                  <a:pt x="7837" y="209"/>
                </a:lnTo>
                <a:lnTo>
                  <a:pt x="7837" y="209"/>
                </a:lnTo>
                <a:lnTo>
                  <a:pt x="7855" y="203"/>
                </a:lnTo>
                <a:lnTo>
                  <a:pt x="7875" y="197"/>
                </a:lnTo>
                <a:lnTo>
                  <a:pt x="7873" y="195"/>
                </a:lnTo>
                <a:lnTo>
                  <a:pt x="7873" y="195"/>
                </a:lnTo>
                <a:lnTo>
                  <a:pt x="7917" y="179"/>
                </a:lnTo>
                <a:lnTo>
                  <a:pt x="7975" y="158"/>
                </a:lnTo>
                <a:lnTo>
                  <a:pt x="7975" y="158"/>
                </a:lnTo>
                <a:lnTo>
                  <a:pt x="8009" y="144"/>
                </a:lnTo>
                <a:lnTo>
                  <a:pt x="8073" y="124"/>
                </a:lnTo>
                <a:lnTo>
                  <a:pt x="8053" y="130"/>
                </a:lnTo>
                <a:lnTo>
                  <a:pt x="8053" y="130"/>
                </a:lnTo>
                <a:lnTo>
                  <a:pt x="8073" y="122"/>
                </a:lnTo>
                <a:lnTo>
                  <a:pt x="8079" y="120"/>
                </a:lnTo>
                <a:lnTo>
                  <a:pt x="8089" y="118"/>
                </a:lnTo>
                <a:lnTo>
                  <a:pt x="8115" y="108"/>
                </a:lnTo>
                <a:lnTo>
                  <a:pt x="8115" y="108"/>
                </a:lnTo>
                <a:lnTo>
                  <a:pt x="8151" y="98"/>
                </a:lnTo>
                <a:lnTo>
                  <a:pt x="8159" y="96"/>
                </a:lnTo>
                <a:lnTo>
                  <a:pt x="8149" y="102"/>
                </a:lnTo>
                <a:lnTo>
                  <a:pt x="8149" y="102"/>
                </a:lnTo>
                <a:lnTo>
                  <a:pt x="8194" y="86"/>
                </a:lnTo>
                <a:lnTo>
                  <a:pt x="8234" y="68"/>
                </a:lnTo>
                <a:lnTo>
                  <a:pt x="8234" y="68"/>
                </a:lnTo>
                <a:lnTo>
                  <a:pt x="8242" y="66"/>
                </a:lnTo>
                <a:lnTo>
                  <a:pt x="8238" y="70"/>
                </a:lnTo>
                <a:lnTo>
                  <a:pt x="8232" y="72"/>
                </a:lnTo>
                <a:lnTo>
                  <a:pt x="8230" y="74"/>
                </a:lnTo>
                <a:lnTo>
                  <a:pt x="8230" y="74"/>
                </a:lnTo>
                <a:lnTo>
                  <a:pt x="8230" y="74"/>
                </a:lnTo>
                <a:lnTo>
                  <a:pt x="8264" y="60"/>
                </a:lnTo>
                <a:lnTo>
                  <a:pt x="8272" y="56"/>
                </a:lnTo>
                <a:lnTo>
                  <a:pt x="8266" y="58"/>
                </a:lnTo>
                <a:lnTo>
                  <a:pt x="8266" y="58"/>
                </a:lnTo>
                <a:lnTo>
                  <a:pt x="8312" y="38"/>
                </a:lnTo>
                <a:lnTo>
                  <a:pt x="8312" y="38"/>
                </a:lnTo>
                <a:lnTo>
                  <a:pt x="8290" y="48"/>
                </a:lnTo>
                <a:lnTo>
                  <a:pt x="8290" y="48"/>
                </a:lnTo>
                <a:lnTo>
                  <a:pt x="8324" y="32"/>
                </a:lnTo>
                <a:lnTo>
                  <a:pt x="8352" y="16"/>
                </a:lnTo>
                <a:lnTo>
                  <a:pt x="8352" y="16"/>
                </a:lnTo>
                <a:lnTo>
                  <a:pt x="8332" y="28"/>
                </a:lnTo>
                <a:lnTo>
                  <a:pt x="8332" y="28"/>
                </a:lnTo>
                <a:lnTo>
                  <a:pt x="8364" y="8"/>
                </a:lnTo>
                <a:lnTo>
                  <a:pt x="8364" y="8"/>
                </a:lnTo>
                <a:lnTo>
                  <a:pt x="8372" y="4"/>
                </a:lnTo>
                <a:lnTo>
                  <a:pt x="8372" y="4"/>
                </a:lnTo>
                <a:lnTo>
                  <a:pt x="8374" y="2"/>
                </a:lnTo>
                <a:lnTo>
                  <a:pt x="8374" y="2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8" y="0"/>
                </a:lnTo>
                <a:lnTo>
                  <a:pt x="8378" y="0"/>
                </a:lnTo>
                <a:lnTo>
                  <a:pt x="8376" y="2"/>
                </a:lnTo>
                <a:lnTo>
                  <a:pt x="8376" y="2"/>
                </a:lnTo>
                <a:lnTo>
                  <a:pt x="8374" y="4"/>
                </a:lnTo>
                <a:lnTo>
                  <a:pt x="8374" y="4"/>
                </a:lnTo>
                <a:lnTo>
                  <a:pt x="8372" y="4"/>
                </a:lnTo>
                <a:lnTo>
                  <a:pt x="8372" y="4"/>
                </a:lnTo>
                <a:lnTo>
                  <a:pt x="8376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2"/>
                </a:lnTo>
                <a:lnTo>
                  <a:pt x="8378" y="0"/>
                </a:lnTo>
                <a:lnTo>
                  <a:pt x="8378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76" y="0"/>
                </a:lnTo>
                <a:lnTo>
                  <a:pt x="8368" y="6"/>
                </a:lnTo>
                <a:lnTo>
                  <a:pt x="8368" y="6"/>
                </a:lnTo>
                <a:lnTo>
                  <a:pt x="8356" y="12"/>
                </a:lnTo>
                <a:lnTo>
                  <a:pt x="8356" y="12"/>
                </a:lnTo>
                <a:lnTo>
                  <a:pt x="8328" y="28"/>
                </a:lnTo>
                <a:lnTo>
                  <a:pt x="8328" y="28"/>
                </a:lnTo>
                <a:lnTo>
                  <a:pt x="8334" y="24"/>
                </a:lnTo>
                <a:lnTo>
                  <a:pt x="8348" y="14"/>
                </a:lnTo>
                <a:lnTo>
                  <a:pt x="8348" y="14"/>
                </a:lnTo>
                <a:lnTo>
                  <a:pt x="8314" y="30"/>
                </a:lnTo>
                <a:lnTo>
                  <a:pt x="8290" y="40"/>
                </a:lnTo>
                <a:lnTo>
                  <a:pt x="8290" y="40"/>
                </a:lnTo>
                <a:lnTo>
                  <a:pt x="8316" y="30"/>
                </a:lnTo>
                <a:lnTo>
                  <a:pt x="8328" y="22"/>
                </a:lnTo>
                <a:lnTo>
                  <a:pt x="8262" y="54"/>
                </a:lnTo>
                <a:lnTo>
                  <a:pt x="8262" y="54"/>
                </a:lnTo>
                <a:lnTo>
                  <a:pt x="8250" y="58"/>
                </a:lnTo>
                <a:lnTo>
                  <a:pt x="8228" y="66"/>
                </a:lnTo>
                <a:lnTo>
                  <a:pt x="8210" y="74"/>
                </a:lnTo>
                <a:lnTo>
                  <a:pt x="8208" y="74"/>
                </a:lnTo>
                <a:lnTo>
                  <a:pt x="8214" y="72"/>
                </a:lnTo>
                <a:lnTo>
                  <a:pt x="8214" y="72"/>
                </a:lnTo>
                <a:lnTo>
                  <a:pt x="8194" y="80"/>
                </a:lnTo>
                <a:lnTo>
                  <a:pt x="8167" y="90"/>
                </a:lnTo>
                <a:lnTo>
                  <a:pt x="8167" y="90"/>
                </a:lnTo>
                <a:lnTo>
                  <a:pt x="8220" y="66"/>
                </a:lnTo>
                <a:lnTo>
                  <a:pt x="8220" y="66"/>
                </a:lnTo>
                <a:lnTo>
                  <a:pt x="8250" y="54"/>
                </a:lnTo>
                <a:lnTo>
                  <a:pt x="8252" y="54"/>
                </a:lnTo>
                <a:lnTo>
                  <a:pt x="8248" y="54"/>
                </a:lnTo>
                <a:lnTo>
                  <a:pt x="8236" y="60"/>
                </a:lnTo>
                <a:lnTo>
                  <a:pt x="8234" y="62"/>
                </a:lnTo>
                <a:lnTo>
                  <a:pt x="8236" y="62"/>
                </a:lnTo>
                <a:lnTo>
                  <a:pt x="8236" y="62"/>
                </a:lnTo>
                <a:lnTo>
                  <a:pt x="8290" y="38"/>
                </a:lnTo>
                <a:lnTo>
                  <a:pt x="8290" y="38"/>
                </a:lnTo>
                <a:lnTo>
                  <a:pt x="8294" y="36"/>
                </a:lnTo>
                <a:lnTo>
                  <a:pt x="8276" y="44"/>
                </a:lnTo>
                <a:lnTo>
                  <a:pt x="8276" y="44"/>
                </a:lnTo>
                <a:lnTo>
                  <a:pt x="8352" y="4"/>
                </a:lnTo>
                <a:lnTo>
                  <a:pt x="8352" y="4"/>
                </a:lnTo>
                <a:lnTo>
                  <a:pt x="8348" y="8"/>
                </a:lnTo>
                <a:lnTo>
                  <a:pt x="8334" y="14"/>
                </a:lnTo>
                <a:lnTo>
                  <a:pt x="8334" y="14"/>
                </a:lnTo>
                <a:lnTo>
                  <a:pt x="8348" y="4"/>
                </a:lnTo>
                <a:lnTo>
                  <a:pt x="8350" y="4"/>
                </a:lnTo>
                <a:lnTo>
                  <a:pt x="8348" y="4"/>
                </a:lnTo>
                <a:lnTo>
                  <a:pt x="8328" y="14"/>
                </a:lnTo>
                <a:lnTo>
                  <a:pt x="8328" y="14"/>
                </a:lnTo>
                <a:lnTo>
                  <a:pt x="8330" y="12"/>
                </a:lnTo>
                <a:lnTo>
                  <a:pt x="8326" y="16"/>
                </a:lnTo>
                <a:lnTo>
                  <a:pt x="8322" y="18"/>
                </a:lnTo>
                <a:lnTo>
                  <a:pt x="8330" y="14"/>
                </a:lnTo>
                <a:lnTo>
                  <a:pt x="8330" y="14"/>
                </a:lnTo>
                <a:lnTo>
                  <a:pt x="8294" y="32"/>
                </a:lnTo>
                <a:lnTo>
                  <a:pt x="8280" y="36"/>
                </a:lnTo>
                <a:lnTo>
                  <a:pt x="8280" y="36"/>
                </a:lnTo>
                <a:lnTo>
                  <a:pt x="8284" y="34"/>
                </a:lnTo>
                <a:lnTo>
                  <a:pt x="8284" y="34"/>
                </a:lnTo>
                <a:lnTo>
                  <a:pt x="8204" y="70"/>
                </a:lnTo>
                <a:lnTo>
                  <a:pt x="8204" y="70"/>
                </a:lnTo>
                <a:lnTo>
                  <a:pt x="8210" y="66"/>
                </a:lnTo>
                <a:lnTo>
                  <a:pt x="8228" y="58"/>
                </a:lnTo>
                <a:lnTo>
                  <a:pt x="8228" y="58"/>
                </a:lnTo>
                <a:lnTo>
                  <a:pt x="8163" y="84"/>
                </a:lnTo>
                <a:lnTo>
                  <a:pt x="8181" y="78"/>
                </a:lnTo>
                <a:lnTo>
                  <a:pt x="8181" y="78"/>
                </a:lnTo>
                <a:lnTo>
                  <a:pt x="8121" y="102"/>
                </a:lnTo>
                <a:lnTo>
                  <a:pt x="8069" y="122"/>
                </a:lnTo>
                <a:lnTo>
                  <a:pt x="8069" y="122"/>
                </a:lnTo>
                <a:lnTo>
                  <a:pt x="8091" y="112"/>
                </a:lnTo>
                <a:lnTo>
                  <a:pt x="8129" y="98"/>
                </a:lnTo>
                <a:lnTo>
                  <a:pt x="8129" y="98"/>
                </a:lnTo>
                <a:lnTo>
                  <a:pt x="8115" y="102"/>
                </a:lnTo>
                <a:lnTo>
                  <a:pt x="8107" y="106"/>
                </a:lnTo>
                <a:lnTo>
                  <a:pt x="8095" y="110"/>
                </a:lnTo>
                <a:lnTo>
                  <a:pt x="8075" y="118"/>
                </a:lnTo>
                <a:lnTo>
                  <a:pt x="8075" y="118"/>
                </a:lnTo>
                <a:lnTo>
                  <a:pt x="8069" y="120"/>
                </a:lnTo>
                <a:lnTo>
                  <a:pt x="8069" y="118"/>
                </a:lnTo>
                <a:lnTo>
                  <a:pt x="8039" y="130"/>
                </a:lnTo>
                <a:lnTo>
                  <a:pt x="8039" y="130"/>
                </a:lnTo>
                <a:lnTo>
                  <a:pt x="8033" y="132"/>
                </a:lnTo>
                <a:lnTo>
                  <a:pt x="8039" y="130"/>
                </a:lnTo>
                <a:lnTo>
                  <a:pt x="8039" y="130"/>
                </a:lnTo>
                <a:lnTo>
                  <a:pt x="8015" y="140"/>
                </a:lnTo>
                <a:lnTo>
                  <a:pt x="8011" y="142"/>
                </a:lnTo>
                <a:lnTo>
                  <a:pt x="7969" y="156"/>
                </a:lnTo>
                <a:lnTo>
                  <a:pt x="7969" y="156"/>
                </a:lnTo>
                <a:lnTo>
                  <a:pt x="8007" y="144"/>
                </a:lnTo>
                <a:lnTo>
                  <a:pt x="8041" y="132"/>
                </a:lnTo>
                <a:lnTo>
                  <a:pt x="8041" y="132"/>
                </a:lnTo>
                <a:lnTo>
                  <a:pt x="8047" y="130"/>
                </a:lnTo>
                <a:lnTo>
                  <a:pt x="8045" y="132"/>
                </a:lnTo>
                <a:lnTo>
                  <a:pt x="8029" y="138"/>
                </a:lnTo>
                <a:lnTo>
                  <a:pt x="7991" y="152"/>
                </a:lnTo>
                <a:lnTo>
                  <a:pt x="7991" y="152"/>
                </a:lnTo>
                <a:lnTo>
                  <a:pt x="7951" y="162"/>
                </a:lnTo>
                <a:lnTo>
                  <a:pt x="7905" y="179"/>
                </a:lnTo>
                <a:lnTo>
                  <a:pt x="7905" y="179"/>
                </a:lnTo>
                <a:lnTo>
                  <a:pt x="7923" y="171"/>
                </a:lnTo>
                <a:lnTo>
                  <a:pt x="7951" y="160"/>
                </a:lnTo>
                <a:lnTo>
                  <a:pt x="7951" y="160"/>
                </a:lnTo>
                <a:lnTo>
                  <a:pt x="7959" y="158"/>
                </a:lnTo>
                <a:lnTo>
                  <a:pt x="7953" y="160"/>
                </a:lnTo>
                <a:lnTo>
                  <a:pt x="7931" y="167"/>
                </a:lnTo>
                <a:lnTo>
                  <a:pt x="7931" y="167"/>
                </a:lnTo>
                <a:lnTo>
                  <a:pt x="7927" y="167"/>
                </a:lnTo>
                <a:lnTo>
                  <a:pt x="7927" y="169"/>
                </a:lnTo>
                <a:lnTo>
                  <a:pt x="7907" y="175"/>
                </a:lnTo>
                <a:lnTo>
                  <a:pt x="7909" y="175"/>
                </a:lnTo>
                <a:lnTo>
                  <a:pt x="7855" y="193"/>
                </a:lnTo>
                <a:lnTo>
                  <a:pt x="7855" y="193"/>
                </a:lnTo>
                <a:lnTo>
                  <a:pt x="7773" y="217"/>
                </a:lnTo>
                <a:lnTo>
                  <a:pt x="7734" y="229"/>
                </a:lnTo>
                <a:lnTo>
                  <a:pt x="7704" y="237"/>
                </a:lnTo>
                <a:lnTo>
                  <a:pt x="7712" y="235"/>
                </a:lnTo>
                <a:lnTo>
                  <a:pt x="7612" y="263"/>
                </a:lnTo>
                <a:lnTo>
                  <a:pt x="7612" y="263"/>
                </a:lnTo>
                <a:lnTo>
                  <a:pt x="7630" y="257"/>
                </a:lnTo>
                <a:lnTo>
                  <a:pt x="7660" y="249"/>
                </a:lnTo>
                <a:lnTo>
                  <a:pt x="7660" y="249"/>
                </a:lnTo>
                <a:lnTo>
                  <a:pt x="7514" y="289"/>
                </a:lnTo>
                <a:lnTo>
                  <a:pt x="7514" y="289"/>
                </a:lnTo>
                <a:lnTo>
                  <a:pt x="7574" y="277"/>
                </a:lnTo>
                <a:lnTo>
                  <a:pt x="7574" y="277"/>
                </a:lnTo>
                <a:lnTo>
                  <a:pt x="7550" y="283"/>
                </a:lnTo>
                <a:lnTo>
                  <a:pt x="7530" y="287"/>
                </a:lnTo>
                <a:lnTo>
                  <a:pt x="7510" y="291"/>
                </a:lnTo>
                <a:lnTo>
                  <a:pt x="7480" y="299"/>
                </a:lnTo>
                <a:lnTo>
                  <a:pt x="7480" y="299"/>
                </a:lnTo>
                <a:lnTo>
                  <a:pt x="7482" y="297"/>
                </a:lnTo>
                <a:lnTo>
                  <a:pt x="7486" y="297"/>
                </a:lnTo>
                <a:lnTo>
                  <a:pt x="7486" y="295"/>
                </a:lnTo>
                <a:lnTo>
                  <a:pt x="7482" y="295"/>
                </a:lnTo>
                <a:lnTo>
                  <a:pt x="7482" y="295"/>
                </a:lnTo>
                <a:lnTo>
                  <a:pt x="7406" y="317"/>
                </a:lnTo>
                <a:lnTo>
                  <a:pt x="7406" y="317"/>
                </a:lnTo>
                <a:lnTo>
                  <a:pt x="7402" y="315"/>
                </a:lnTo>
                <a:lnTo>
                  <a:pt x="7412" y="313"/>
                </a:lnTo>
                <a:lnTo>
                  <a:pt x="7464" y="299"/>
                </a:lnTo>
                <a:lnTo>
                  <a:pt x="7464" y="299"/>
                </a:lnTo>
                <a:lnTo>
                  <a:pt x="7522" y="285"/>
                </a:lnTo>
                <a:lnTo>
                  <a:pt x="7574" y="271"/>
                </a:lnTo>
                <a:lnTo>
                  <a:pt x="7556" y="275"/>
                </a:lnTo>
                <a:lnTo>
                  <a:pt x="7556" y="275"/>
                </a:lnTo>
                <a:lnTo>
                  <a:pt x="7648" y="249"/>
                </a:lnTo>
                <a:lnTo>
                  <a:pt x="7646" y="251"/>
                </a:lnTo>
                <a:lnTo>
                  <a:pt x="7662" y="245"/>
                </a:lnTo>
                <a:lnTo>
                  <a:pt x="7644" y="249"/>
                </a:lnTo>
                <a:lnTo>
                  <a:pt x="7644" y="249"/>
                </a:lnTo>
                <a:lnTo>
                  <a:pt x="7704" y="231"/>
                </a:lnTo>
                <a:lnTo>
                  <a:pt x="7704" y="231"/>
                </a:lnTo>
                <a:lnTo>
                  <a:pt x="7652" y="247"/>
                </a:lnTo>
                <a:lnTo>
                  <a:pt x="7622" y="257"/>
                </a:lnTo>
                <a:lnTo>
                  <a:pt x="7622" y="257"/>
                </a:lnTo>
                <a:lnTo>
                  <a:pt x="7566" y="271"/>
                </a:lnTo>
                <a:lnTo>
                  <a:pt x="7544" y="275"/>
                </a:lnTo>
                <a:lnTo>
                  <a:pt x="7522" y="281"/>
                </a:lnTo>
                <a:lnTo>
                  <a:pt x="7522" y="281"/>
                </a:lnTo>
                <a:lnTo>
                  <a:pt x="7508" y="283"/>
                </a:lnTo>
                <a:lnTo>
                  <a:pt x="7504" y="283"/>
                </a:lnTo>
                <a:lnTo>
                  <a:pt x="7512" y="281"/>
                </a:lnTo>
                <a:lnTo>
                  <a:pt x="7512" y="281"/>
                </a:lnTo>
                <a:lnTo>
                  <a:pt x="7546" y="273"/>
                </a:lnTo>
                <a:lnTo>
                  <a:pt x="7560" y="267"/>
                </a:lnTo>
                <a:lnTo>
                  <a:pt x="7560" y="267"/>
                </a:lnTo>
                <a:lnTo>
                  <a:pt x="7500" y="283"/>
                </a:lnTo>
                <a:lnTo>
                  <a:pt x="7500" y="283"/>
                </a:lnTo>
                <a:lnTo>
                  <a:pt x="7474" y="291"/>
                </a:lnTo>
                <a:lnTo>
                  <a:pt x="7430" y="305"/>
                </a:lnTo>
                <a:lnTo>
                  <a:pt x="7430" y="305"/>
                </a:lnTo>
                <a:lnTo>
                  <a:pt x="7378" y="317"/>
                </a:lnTo>
                <a:lnTo>
                  <a:pt x="7329" y="329"/>
                </a:lnTo>
                <a:lnTo>
                  <a:pt x="7329" y="329"/>
                </a:lnTo>
                <a:lnTo>
                  <a:pt x="7372" y="317"/>
                </a:lnTo>
                <a:lnTo>
                  <a:pt x="7386" y="313"/>
                </a:lnTo>
                <a:lnTo>
                  <a:pt x="7388" y="313"/>
                </a:lnTo>
                <a:lnTo>
                  <a:pt x="7386" y="313"/>
                </a:lnTo>
                <a:lnTo>
                  <a:pt x="7386" y="313"/>
                </a:lnTo>
                <a:lnTo>
                  <a:pt x="7347" y="321"/>
                </a:lnTo>
                <a:lnTo>
                  <a:pt x="7333" y="325"/>
                </a:lnTo>
                <a:lnTo>
                  <a:pt x="7329" y="325"/>
                </a:lnTo>
                <a:lnTo>
                  <a:pt x="7331" y="327"/>
                </a:lnTo>
                <a:lnTo>
                  <a:pt x="7331" y="327"/>
                </a:lnTo>
                <a:lnTo>
                  <a:pt x="7265" y="341"/>
                </a:lnTo>
                <a:lnTo>
                  <a:pt x="7237" y="347"/>
                </a:lnTo>
                <a:lnTo>
                  <a:pt x="7225" y="349"/>
                </a:lnTo>
                <a:lnTo>
                  <a:pt x="7225" y="349"/>
                </a:lnTo>
                <a:lnTo>
                  <a:pt x="7325" y="325"/>
                </a:lnTo>
                <a:lnTo>
                  <a:pt x="7325" y="325"/>
                </a:lnTo>
                <a:lnTo>
                  <a:pt x="7315" y="327"/>
                </a:lnTo>
                <a:lnTo>
                  <a:pt x="7313" y="327"/>
                </a:lnTo>
                <a:lnTo>
                  <a:pt x="7313" y="327"/>
                </a:lnTo>
                <a:lnTo>
                  <a:pt x="7360" y="317"/>
                </a:lnTo>
                <a:lnTo>
                  <a:pt x="7360" y="317"/>
                </a:lnTo>
                <a:lnTo>
                  <a:pt x="7327" y="323"/>
                </a:lnTo>
                <a:lnTo>
                  <a:pt x="7287" y="333"/>
                </a:lnTo>
                <a:lnTo>
                  <a:pt x="7287" y="333"/>
                </a:lnTo>
                <a:lnTo>
                  <a:pt x="7291" y="331"/>
                </a:lnTo>
                <a:lnTo>
                  <a:pt x="7257" y="339"/>
                </a:lnTo>
                <a:lnTo>
                  <a:pt x="7255" y="339"/>
                </a:lnTo>
                <a:lnTo>
                  <a:pt x="7255" y="339"/>
                </a:lnTo>
                <a:lnTo>
                  <a:pt x="7187" y="353"/>
                </a:lnTo>
                <a:lnTo>
                  <a:pt x="7101" y="373"/>
                </a:lnTo>
                <a:lnTo>
                  <a:pt x="7105" y="371"/>
                </a:lnTo>
                <a:lnTo>
                  <a:pt x="7105" y="371"/>
                </a:lnTo>
                <a:lnTo>
                  <a:pt x="7077" y="377"/>
                </a:lnTo>
                <a:lnTo>
                  <a:pt x="7055" y="383"/>
                </a:lnTo>
                <a:lnTo>
                  <a:pt x="7035" y="389"/>
                </a:lnTo>
                <a:lnTo>
                  <a:pt x="7003" y="397"/>
                </a:lnTo>
                <a:lnTo>
                  <a:pt x="7003" y="397"/>
                </a:lnTo>
                <a:lnTo>
                  <a:pt x="7011" y="393"/>
                </a:lnTo>
                <a:lnTo>
                  <a:pt x="7007" y="393"/>
                </a:lnTo>
                <a:lnTo>
                  <a:pt x="7007" y="393"/>
                </a:lnTo>
                <a:lnTo>
                  <a:pt x="6975" y="399"/>
                </a:lnTo>
                <a:lnTo>
                  <a:pt x="6943" y="405"/>
                </a:lnTo>
                <a:lnTo>
                  <a:pt x="6943" y="405"/>
                </a:lnTo>
                <a:lnTo>
                  <a:pt x="6953" y="403"/>
                </a:lnTo>
                <a:lnTo>
                  <a:pt x="6947" y="405"/>
                </a:lnTo>
                <a:lnTo>
                  <a:pt x="6939" y="407"/>
                </a:lnTo>
                <a:lnTo>
                  <a:pt x="6945" y="407"/>
                </a:lnTo>
                <a:lnTo>
                  <a:pt x="6945" y="407"/>
                </a:lnTo>
                <a:lnTo>
                  <a:pt x="6937" y="409"/>
                </a:lnTo>
                <a:lnTo>
                  <a:pt x="6914" y="415"/>
                </a:lnTo>
                <a:lnTo>
                  <a:pt x="6864" y="425"/>
                </a:lnTo>
                <a:lnTo>
                  <a:pt x="6864" y="425"/>
                </a:lnTo>
                <a:lnTo>
                  <a:pt x="6862" y="425"/>
                </a:lnTo>
                <a:lnTo>
                  <a:pt x="6864" y="423"/>
                </a:lnTo>
                <a:lnTo>
                  <a:pt x="6870" y="423"/>
                </a:lnTo>
                <a:lnTo>
                  <a:pt x="6896" y="417"/>
                </a:lnTo>
                <a:lnTo>
                  <a:pt x="6916" y="411"/>
                </a:lnTo>
                <a:lnTo>
                  <a:pt x="6916" y="411"/>
                </a:lnTo>
                <a:lnTo>
                  <a:pt x="6908" y="413"/>
                </a:lnTo>
                <a:lnTo>
                  <a:pt x="6908" y="413"/>
                </a:lnTo>
                <a:lnTo>
                  <a:pt x="6882" y="417"/>
                </a:lnTo>
                <a:lnTo>
                  <a:pt x="6892" y="417"/>
                </a:lnTo>
                <a:lnTo>
                  <a:pt x="6892" y="417"/>
                </a:lnTo>
                <a:lnTo>
                  <a:pt x="6834" y="427"/>
                </a:lnTo>
                <a:lnTo>
                  <a:pt x="6782" y="437"/>
                </a:lnTo>
                <a:lnTo>
                  <a:pt x="6782" y="437"/>
                </a:lnTo>
                <a:lnTo>
                  <a:pt x="6734" y="447"/>
                </a:lnTo>
                <a:lnTo>
                  <a:pt x="6698" y="455"/>
                </a:lnTo>
                <a:lnTo>
                  <a:pt x="6698" y="455"/>
                </a:lnTo>
                <a:lnTo>
                  <a:pt x="6722" y="451"/>
                </a:lnTo>
                <a:lnTo>
                  <a:pt x="6750" y="445"/>
                </a:lnTo>
                <a:lnTo>
                  <a:pt x="6720" y="453"/>
                </a:lnTo>
                <a:lnTo>
                  <a:pt x="6720" y="453"/>
                </a:lnTo>
                <a:lnTo>
                  <a:pt x="6666" y="461"/>
                </a:lnTo>
                <a:lnTo>
                  <a:pt x="6620" y="469"/>
                </a:lnTo>
                <a:lnTo>
                  <a:pt x="6650" y="463"/>
                </a:lnTo>
                <a:lnTo>
                  <a:pt x="6648" y="463"/>
                </a:lnTo>
                <a:lnTo>
                  <a:pt x="6648" y="463"/>
                </a:lnTo>
                <a:lnTo>
                  <a:pt x="6676" y="457"/>
                </a:lnTo>
                <a:lnTo>
                  <a:pt x="6692" y="453"/>
                </a:lnTo>
                <a:lnTo>
                  <a:pt x="6692" y="453"/>
                </a:lnTo>
                <a:lnTo>
                  <a:pt x="6654" y="461"/>
                </a:lnTo>
                <a:lnTo>
                  <a:pt x="6612" y="469"/>
                </a:lnTo>
                <a:lnTo>
                  <a:pt x="6612" y="469"/>
                </a:lnTo>
                <a:lnTo>
                  <a:pt x="6612" y="469"/>
                </a:lnTo>
                <a:lnTo>
                  <a:pt x="6570" y="477"/>
                </a:lnTo>
                <a:lnTo>
                  <a:pt x="6532" y="483"/>
                </a:lnTo>
                <a:lnTo>
                  <a:pt x="6499" y="489"/>
                </a:lnTo>
                <a:lnTo>
                  <a:pt x="6469" y="495"/>
                </a:lnTo>
                <a:lnTo>
                  <a:pt x="6469" y="495"/>
                </a:lnTo>
                <a:lnTo>
                  <a:pt x="6489" y="493"/>
                </a:lnTo>
                <a:lnTo>
                  <a:pt x="6495" y="493"/>
                </a:lnTo>
                <a:lnTo>
                  <a:pt x="6497" y="493"/>
                </a:lnTo>
                <a:lnTo>
                  <a:pt x="6495" y="493"/>
                </a:lnTo>
                <a:lnTo>
                  <a:pt x="6495" y="493"/>
                </a:lnTo>
                <a:lnTo>
                  <a:pt x="6465" y="497"/>
                </a:lnTo>
                <a:lnTo>
                  <a:pt x="6445" y="501"/>
                </a:lnTo>
                <a:lnTo>
                  <a:pt x="6459" y="497"/>
                </a:lnTo>
                <a:lnTo>
                  <a:pt x="6459" y="497"/>
                </a:lnTo>
                <a:lnTo>
                  <a:pt x="6391" y="509"/>
                </a:lnTo>
                <a:lnTo>
                  <a:pt x="6391" y="509"/>
                </a:lnTo>
                <a:lnTo>
                  <a:pt x="6385" y="511"/>
                </a:lnTo>
                <a:lnTo>
                  <a:pt x="6367" y="515"/>
                </a:lnTo>
                <a:lnTo>
                  <a:pt x="6367" y="515"/>
                </a:lnTo>
                <a:lnTo>
                  <a:pt x="6345" y="519"/>
                </a:lnTo>
                <a:lnTo>
                  <a:pt x="6351" y="517"/>
                </a:lnTo>
                <a:lnTo>
                  <a:pt x="6361" y="515"/>
                </a:lnTo>
                <a:lnTo>
                  <a:pt x="6349" y="515"/>
                </a:lnTo>
                <a:lnTo>
                  <a:pt x="6293" y="525"/>
                </a:lnTo>
                <a:lnTo>
                  <a:pt x="6281" y="527"/>
                </a:lnTo>
                <a:lnTo>
                  <a:pt x="6281" y="527"/>
                </a:lnTo>
                <a:lnTo>
                  <a:pt x="6165" y="547"/>
                </a:lnTo>
                <a:lnTo>
                  <a:pt x="6044" y="567"/>
                </a:lnTo>
                <a:lnTo>
                  <a:pt x="6044" y="567"/>
                </a:lnTo>
                <a:lnTo>
                  <a:pt x="6052" y="565"/>
                </a:lnTo>
                <a:lnTo>
                  <a:pt x="6076" y="561"/>
                </a:lnTo>
                <a:lnTo>
                  <a:pt x="6129" y="551"/>
                </a:lnTo>
                <a:lnTo>
                  <a:pt x="6129" y="551"/>
                </a:lnTo>
                <a:lnTo>
                  <a:pt x="6080" y="559"/>
                </a:lnTo>
                <a:lnTo>
                  <a:pt x="6024" y="567"/>
                </a:lnTo>
                <a:lnTo>
                  <a:pt x="6024" y="567"/>
                </a:lnTo>
                <a:lnTo>
                  <a:pt x="5980" y="575"/>
                </a:lnTo>
                <a:lnTo>
                  <a:pt x="5970" y="577"/>
                </a:lnTo>
                <a:lnTo>
                  <a:pt x="5968" y="577"/>
                </a:lnTo>
                <a:lnTo>
                  <a:pt x="5968" y="579"/>
                </a:lnTo>
                <a:lnTo>
                  <a:pt x="5968" y="579"/>
                </a:lnTo>
                <a:lnTo>
                  <a:pt x="5936" y="583"/>
                </a:lnTo>
                <a:lnTo>
                  <a:pt x="5932" y="583"/>
                </a:lnTo>
                <a:lnTo>
                  <a:pt x="5932" y="583"/>
                </a:lnTo>
                <a:lnTo>
                  <a:pt x="5890" y="591"/>
                </a:lnTo>
                <a:lnTo>
                  <a:pt x="5832" y="599"/>
                </a:lnTo>
                <a:lnTo>
                  <a:pt x="5830" y="599"/>
                </a:lnTo>
                <a:lnTo>
                  <a:pt x="5776" y="607"/>
                </a:lnTo>
                <a:lnTo>
                  <a:pt x="5776" y="607"/>
                </a:lnTo>
                <a:lnTo>
                  <a:pt x="5782" y="607"/>
                </a:lnTo>
                <a:lnTo>
                  <a:pt x="5778" y="609"/>
                </a:lnTo>
                <a:lnTo>
                  <a:pt x="5764" y="611"/>
                </a:lnTo>
                <a:lnTo>
                  <a:pt x="5764" y="611"/>
                </a:lnTo>
                <a:lnTo>
                  <a:pt x="5806" y="605"/>
                </a:lnTo>
                <a:lnTo>
                  <a:pt x="5850" y="599"/>
                </a:lnTo>
                <a:lnTo>
                  <a:pt x="5894" y="591"/>
                </a:lnTo>
                <a:lnTo>
                  <a:pt x="5936" y="587"/>
                </a:lnTo>
                <a:lnTo>
                  <a:pt x="5936" y="587"/>
                </a:lnTo>
                <a:lnTo>
                  <a:pt x="5930" y="587"/>
                </a:lnTo>
                <a:lnTo>
                  <a:pt x="5930" y="589"/>
                </a:lnTo>
                <a:lnTo>
                  <a:pt x="5932" y="589"/>
                </a:lnTo>
                <a:lnTo>
                  <a:pt x="5926" y="589"/>
                </a:lnTo>
                <a:lnTo>
                  <a:pt x="5926" y="589"/>
                </a:lnTo>
                <a:lnTo>
                  <a:pt x="5908" y="591"/>
                </a:lnTo>
                <a:lnTo>
                  <a:pt x="5908" y="591"/>
                </a:lnTo>
                <a:lnTo>
                  <a:pt x="5894" y="595"/>
                </a:lnTo>
                <a:lnTo>
                  <a:pt x="5906" y="593"/>
                </a:lnTo>
                <a:lnTo>
                  <a:pt x="5906" y="593"/>
                </a:lnTo>
                <a:lnTo>
                  <a:pt x="5896" y="597"/>
                </a:lnTo>
                <a:lnTo>
                  <a:pt x="5872" y="601"/>
                </a:lnTo>
                <a:lnTo>
                  <a:pt x="5808" y="611"/>
                </a:lnTo>
                <a:lnTo>
                  <a:pt x="5808" y="611"/>
                </a:lnTo>
                <a:lnTo>
                  <a:pt x="5800" y="611"/>
                </a:lnTo>
                <a:lnTo>
                  <a:pt x="5814" y="607"/>
                </a:lnTo>
                <a:lnTo>
                  <a:pt x="5856" y="601"/>
                </a:lnTo>
                <a:lnTo>
                  <a:pt x="5856" y="601"/>
                </a:lnTo>
                <a:lnTo>
                  <a:pt x="5834" y="603"/>
                </a:lnTo>
                <a:lnTo>
                  <a:pt x="5808" y="609"/>
                </a:lnTo>
                <a:lnTo>
                  <a:pt x="5812" y="605"/>
                </a:lnTo>
                <a:lnTo>
                  <a:pt x="5812" y="605"/>
                </a:lnTo>
                <a:lnTo>
                  <a:pt x="5782" y="611"/>
                </a:lnTo>
                <a:lnTo>
                  <a:pt x="5788" y="611"/>
                </a:lnTo>
                <a:lnTo>
                  <a:pt x="5788" y="611"/>
                </a:lnTo>
                <a:lnTo>
                  <a:pt x="5786" y="613"/>
                </a:lnTo>
                <a:lnTo>
                  <a:pt x="5786" y="613"/>
                </a:lnTo>
                <a:lnTo>
                  <a:pt x="5772" y="615"/>
                </a:lnTo>
                <a:lnTo>
                  <a:pt x="5754" y="620"/>
                </a:lnTo>
                <a:lnTo>
                  <a:pt x="5720" y="624"/>
                </a:lnTo>
                <a:lnTo>
                  <a:pt x="5738" y="620"/>
                </a:lnTo>
                <a:lnTo>
                  <a:pt x="5738" y="620"/>
                </a:lnTo>
                <a:lnTo>
                  <a:pt x="5690" y="628"/>
                </a:lnTo>
                <a:lnTo>
                  <a:pt x="5645" y="634"/>
                </a:lnTo>
                <a:lnTo>
                  <a:pt x="5627" y="636"/>
                </a:lnTo>
                <a:lnTo>
                  <a:pt x="5627" y="636"/>
                </a:lnTo>
                <a:lnTo>
                  <a:pt x="5657" y="632"/>
                </a:lnTo>
                <a:lnTo>
                  <a:pt x="5680" y="628"/>
                </a:lnTo>
                <a:lnTo>
                  <a:pt x="5696" y="624"/>
                </a:lnTo>
                <a:lnTo>
                  <a:pt x="5714" y="622"/>
                </a:lnTo>
                <a:lnTo>
                  <a:pt x="5714" y="622"/>
                </a:lnTo>
                <a:lnTo>
                  <a:pt x="5688" y="624"/>
                </a:lnTo>
                <a:lnTo>
                  <a:pt x="5698" y="622"/>
                </a:lnTo>
                <a:lnTo>
                  <a:pt x="5752" y="611"/>
                </a:lnTo>
                <a:lnTo>
                  <a:pt x="5752" y="611"/>
                </a:lnTo>
                <a:lnTo>
                  <a:pt x="5676" y="622"/>
                </a:lnTo>
                <a:lnTo>
                  <a:pt x="5676" y="622"/>
                </a:lnTo>
                <a:lnTo>
                  <a:pt x="5643" y="626"/>
                </a:lnTo>
                <a:lnTo>
                  <a:pt x="5607" y="632"/>
                </a:lnTo>
                <a:lnTo>
                  <a:pt x="5573" y="636"/>
                </a:lnTo>
                <a:lnTo>
                  <a:pt x="5541" y="642"/>
                </a:lnTo>
                <a:lnTo>
                  <a:pt x="5541" y="642"/>
                </a:lnTo>
                <a:lnTo>
                  <a:pt x="5533" y="642"/>
                </a:lnTo>
                <a:lnTo>
                  <a:pt x="5539" y="642"/>
                </a:lnTo>
                <a:lnTo>
                  <a:pt x="5545" y="640"/>
                </a:lnTo>
                <a:lnTo>
                  <a:pt x="5537" y="642"/>
                </a:lnTo>
                <a:lnTo>
                  <a:pt x="5537" y="642"/>
                </a:lnTo>
                <a:lnTo>
                  <a:pt x="5395" y="662"/>
                </a:lnTo>
                <a:lnTo>
                  <a:pt x="5395" y="662"/>
                </a:lnTo>
                <a:lnTo>
                  <a:pt x="5375" y="664"/>
                </a:lnTo>
                <a:lnTo>
                  <a:pt x="5367" y="664"/>
                </a:lnTo>
                <a:lnTo>
                  <a:pt x="5367" y="664"/>
                </a:lnTo>
                <a:lnTo>
                  <a:pt x="5289" y="674"/>
                </a:lnTo>
                <a:lnTo>
                  <a:pt x="5222" y="684"/>
                </a:lnTo>
                <a:lnTo>
                  <a:pt x="5154" y="692"/>
                </a:lnTo>
                <a:lnTo>
                  <a:pt x="5068" y="704"/>
                </a:lnTo>
                <a:lnTo>
                  <a:pt x="5088" y="700"/>
                </a:lnTo>
                <a:lnTo>
                  <a:pt x="5088" y="700"/>
                </a:lnTo>
                <a:lnTo>
                  <a:pt x="5050" y="704"/>
                </a:lnTo>
                <a:lnTo>
                  <a:pt x="5022" y="708"/>
                </a:lnTo>
                <a:lnTo>
                  <a:pt x="5022" y="708"/>
                </a:lnTo>
                <a:lnTo>
                  <a:pt x="4988" y="712"/>
                </a:lnTo>
                <a:lnTo>
                  <a:pt x="4946" y="718"/>
                </a:lnTo>
                <a:lnTo>
                  <a:pt x="4900" y="724"/>
                </a:lnTo>
                <a:lnTo>
                  <a:pt x="4860" y="726"/>
                </a:lnTo>
                <a:lnTo>
                  <a:pt x="4860" y="726"/>
                </a:lnTo>
                <a:lnTo>
                  <a:pt x="4803" y="734"/>
                </a:lnTo>
                <a:lnTo>
                  <a:pt x="4753" y="742"/>
                </a:lnTo>
                <a:lnTo>
                  <a:pt x="4753" y="742"/>
                </a:lnTo>
                <a:lnTo>
                  <a:pt x="4757" y="740"/>
                </a:lnTo>
                <a:lnTo>
                  <a:pt x="4743" y="740"/>
                </a:lnTo>
                <a:lnTo>
                  <a:pt x="4743" y="740"/>
                </a:lnTo>
                <a:lnTo>
                  <a:pt x="4525" y="766"/>
                </a:lnTo>
                <a:lnTo>
                  <a:pt x="4294" y="790"/>
                </a:lnTo>
                <a:lnTo>
                  <a:pt x="4294" y="790"/>
                </a:lnTo>
                <a:lnTo>
                  <a:pt x="4308" y="788"/>
                </a:lnTo>
                <a:lnTo>
                  <a:pt x="4308" y="788"/>
                </a:lnTo>
                <a:lnTo>
                  <a:pt x="4152" y="806"/>
                </a:lnTo>
                <a:lnTo>
                  <a:pt x="4008" y="820"/>
                </a:lnTo>
                <a:lnTo>
                  <a:pt x="4008" y="820"/>
                </a:lnTo>
                <a:lnTo>
                  <a:pt x="3969" y="824"/>
                </a:lnTo>
                <a:lnTo>
                  <a:pt x="3955" y="826"/>
                </a:lnTo>
                <a:lnTo>
                  <a:pt x="3953" y="828"/>
                </a:lnTo>
                <a:lnTo>
                  <a:pt x="3957" y="828"/>
                </a:lnTo>
                <a:lnTo>
                  <a:pt x="3957" y="828"/>
                </a:lnTo>
                <a:lnTo>
                  <a:pt x="3975" y="826"/>
                </a:lnTo>
                <a:lnTo>
                  <a:pt x="3979" y="828"/>
                </a:lnTo>
                <a:lnTo>
                  <a:pt x="3979" y="828"/>
                </a:lnTo>
                <a:lnTo>
                  <a:pt x="3979" y="828"/>
                </a:lnTo>
                <a:lnTo>
                  <a:pt x="3939" y="832"/>
                </a:lnTo>
                <a:lnTo>
                  <a:pt x="3923" y="832"/>
                </a:lnTo>
                <a:lnTo>
                  <a:pt x="3913" y="832"/>
                </a:lnTo>
                <a:lnTo>
                  <a:pt x="3887" y="834"/>
                </a:lnTo>
                <a:lnTo>
                  <a:pt x="3887" y="834"/>
                </a:lnTo>
                <a:lnTo>
                  <a:pt x="3883" y="834"/>
                </a:lnTo>
                <a:lnTo>
                  <a:pt x="3885" y="834"/>
                </a:lnTo>
                <a:lnTo>
                  <a:pt x="3897" y="832"/>
                </a:lnTo>
                <a:lnTo>
                  <a:pt x="3913" y="830"/>
                </a:lnTo>
                <a:lnTo>
                  <a:pt x="3919" y="828"/>
                </a:lnTo>
                <a:lnTo>
                  <a:pt x="3843" y="836"/>
                </a:lnTo>
                <a:lnTo>
                  <a:pt x="3843" y="836"/>
                </a:lnTo>
                <a:lnTo>
                  <a:pt x="3781" y="842"/>
                </a:lnTo>
                <a:lnTo>
                  <a:pt x="3721" y="848"/>
                </a:lnTo>
                <a:lnTo>
                  <a:pt x="3721" y="848"/>
                </a:lnTo>
                <a:lnTo>
                  <a:pt x="3733" y="846"/>
                </a:lnTo>
                <a:lnTo>
                  <a:pt x="3753" y="844"/>
                </a:lnTo>
                <a:lnTo>
                  <a:pt x="3753" y="844"/>
                </a:lnTo>
                <a:lnTo>
                  <a:pt x="3749" y="844"/>
                </a:lnTo>
                <a:lnTo>
                  <a:pt x="3749" y="844"/>
                </a:lnTo>
                <a:lnTo>
                  <a:pt x="3797" y="840"/>
                </a:lnTo>
                <a:lnTo>
                  <a:pt x="3839" y="834"/>
                </a:lnTo>
                <a:lnTo>
                  <a:pt x="3839" y="834"/>
                </a:lnTo>
                <a:lnTo>
                  <a:pt x="3677" y="850"/>
                </a:lnTo>
                <a:lnTo>
                  <a:pt x="3677" y="850"/>
                </a:lnTo>
                <a:lnTo>
                  <a:pt x="3679" y="850"/>
                </a:lnTo>
                <a:lnTo>
                  <a:pt x="3675" y="850"/>
                </a:lnTo>
                <a:lnTo>
                  <a:pt x="3661" y="852"/>
                </a:lnTo>
                <a:lnTo>
                  <a:pt x="3629" y="856"/>
                </a:lnTo>
                <a:lnTo>
                  <a:pt x="3627" y="856"/>
                </a:lnTo>
                <a:lnTo>
                  <a:pt x="3627" y="856"/>
                </a:lnTo>
                <a:lnTo>
                  <a:pt x="3591" y="860"/>
                </a:lnTo>
                <a:lnTo>
                  <a:pt x="3579" y="860"/>
                </a:lnTo>
                <a:lnTo>
                  <a:pt x="3579" y="860"/>
                </a:lnTo>
                <a:lnTo>
                  <a:pt x="3573" y="860"/>
                </a:lnTo>
                <a:lnTo>
                  <a:pt x="3564" y="862"/>
                </a:lnTo>
                <a:lnTo>
                  <a:pt x="3564" y="862"/>
                </a:lnTo>
                <a:lnTo>
                  <a:pt x="3490" y="868"/>
                </a:lnTo>
                <a:lnTo>
                  <a:pt x="3452" y="872"/>
                </a:lnTo>
                <a:lnTo>
                  <a:pt x="3432" y="872"/>
                </a:lnTo>
                <a:lnTo>
                  <a:pt x="3432" y="872"/>
                </a:lnTo>
                <a:lnTo>
                  <a:pt x="3354" y="880"/>
                </a:lnTo>
                <a:lnTo>
                  <a:pt x="3354" y="880"/>
                </a:lnTo>
                <a:lnTo>
                  <a:pt x="3366" y="878"/>
                </a:lnTo>
                <a:lnTo>
                  <a:pt x="3366" y="878"/>
                </a:lnTo>
                <a:lnTo>
                  <a:pt x="3248" y="888"/>
                </a:lnTo>
                <a:lnTo>
                  <a:pt x="3131" y="896"/>
                </a:lnTo>
                <a:lnTo>
                  <a:pt x="3131" y="896"/>
                </a:lnTo>
                <a:lnTo>
                  <a:pt x="2991" y="910"/>
                </a:lnTo>
                <a:lnTo>
                  <a:pt x="2991" y="910"/>
                </a:lnTo>
                <a:lnTo>
                  <a:pt x="3023" y="908"/>
                </a:lnTo>
                <a:lnTo>
                  <a:pt x="3031" y="906"/>
                </a:lnTo>
                <a:lnTo>
                  <a:pt x="3023" y="908"/>
                </a:lnTo>
                <a:lnTo>
                  <a:pt x="3023" y="908"/>
                </a:lnTo>
                <a:lnTo>
                  <a:pt x="2961" y="914"/>
                </a:lnTo>
                <a:lnTo>
                  <a:pt x="2961" y="914"/>
                </a:lnTo>
                <a:lnTo>
                  <a:pt x="2939" y="914"/>
                </a:lnTo>
                <a:lnTo>
                  <a:pt x="2931" y="914"/>
                </a:lnTo>
                <a:lnTo>
                  <a:pt x="2947" y="914"/>
                </a:lnTo>
                <a:lnTo>
                  <a:pt x="2947" y="914"/>
                </a:lnTo>
                <a:lnTo>
                  <a:pt x="2927" y="914"/>
                </a:lnTo>
                <a:lnTo>
                  <a:pt x="2893" y="916"/>
                </a:lnTo>
                <a:lnTo>
                  <a:pt x="2861" y="918"/>
                </a:lnTo>
                <a:lnTo>
                  <a:pt x="2847" y="920"/>
                </a:lnTo>
                <a:lnTo>
                  <a:pt x="2847" y="920"/>
                </a:lnTo>
                <a:lnTo>
                  <a:pt x="2801" y="924"/>
                </a:lnTo>
                <a:lnTo>
                  <a:pt x="2743" y="928"/>
                </a:lnTo>
                <a:lnTo>
                  <a:pt x="2743" y="928"/>
                </a:lnTo>
                <a:lnTo>
                  <a:pt x="2759" y="926"/>
                </a:lnTo>
                <a:lnTo>
                  <a:pt x="2779" y="924"/>
                </a:lnTo>
                <a:lnTo>
                  <a:pt x="2749" y="926"/>
                </a:lnTo>
                <a:lnTo>
                  <a:pt x="2749" y="926"/>
                </a:lnTo>
                <a:lnTo>
                  <a:pt x="2749" y="926"/>
                </a:lnTo>
                <a:lnTo>
                  <a:pt x="2688" y="932"/>
                </a:lnTo>
                <a:lnTo>
                  <a:pt x="2644" y="936"/>
                </a:lnTo>
                <a:lnTo>
                  <a:pt x="2646" y="936"/>
                </a:lnTo>
                <a:lnTo>
                  <a:pt x="2622" y="938"/>
                </a:lnTo>
                <a:lnTo>
                  <a:pt x="2650" y="934"/>
                </a:lnTo>
                <a:lnTo>
                  <a:pt x="2650" y="934"/>
                </a:lnTo>
                <a:lnTo>
                  <a:pt x="2552" y="944"/>
                </a:lnTo>
                <a:lnTo>
                  <a:pt x="2546" y="944"/>
                </a:lnTo>
                <a:lnTo>
                  <a:pt x="2522" y="946"/>
                </a:lnTo>
                <a:lnTo>
                  <a:pt x="2522" y="946"/>
                </a:lnTo>
                <a:lnTo>
                  <a:pt x="2524" y="944"/>
                </a:lnTo>
                <a:lnTo>
                  <a:pt x="2524" y="944"/>
                </a:lnTo>
                <a:lnTo>
                  <a:pt x="2474" y="950"/>
                </a:lnTo>
                <a:lnTo>
                  <a:pt x="2426" y="954"/>
                </a:lnTo>
                <a:lnTo>
                  <a:pt x="2426" y="954"/>
                </a:lnTo>
                <a:lnTo>
                  <a:pt x="2400" y="954"/>
                </a:lnTo>
                <a:lnTo>
                  <a:pt x="2372" y="956"/>
                </a:lnTo>
                <a:lnTo>
                  <a:pt x="2376" y="954"/>
                </a:lnTo>
                <a:lnTo>
                  <a:pt x="2376" y="954"/>
                </a:lnTo>
                <a:lnTo>
                  <a:pt x="2414" y="952"/>
                </a:lnTo>
                <a:lnTo>
                  <a:pt x="2456" y="950"/>
                </a:lnTo>
                <a:lnTo>
                  <a:pt x="2456" y="950"/>
                </a:lnTo>
                <a:lnTo>
                  <a:pt x="2410" y="952"/>
                </a:lnTo>
                <a:lnTo>
                  <a:pt x="2346" y="954"/>
                </a:lnTo>
                <a:lnTo>
                  <a:pt x="2209" y="964"/>
                </a:lnTo>
                <a:lnTo>
                  <a:pt x="2209" y="964"/>
                </a:lnTo>
                <a:lnTo>
                  <a:pt x="2095" y="972"/>
                </a:lnTo>
                <a:lnTo>
                  <a:pt x="2043" y="976"/>
                </a:lnTo>
                <a:lnTo>
                  <a:pt x="2009" y="978"/>
                </a:lnTo>
                <a:lnTo>
                  <a:pt x="2017" y="978"/>
                </a:lnTo>
                <a:lnTo>
                  <a:pt x="1907" y="982"/>
                </a:lnTo>
                <a:lnTo>
                  <a:pt x="1907" y="982"/>
                </a:lnTo>
                <a:lnTo>
                  <a:pt x="1768" y="992"/>
                </a:lnTo>
                <a:lnTo>
                  <a:pt x="1646" y="1000"/>
                </a:lnTo>
                <a:lnTo>
                  <a:pt x="1626" y="1000"/>
                </a:lnTo>
                <a:lnTo>
                  <a:pt x="1626" y="1000"/>
                </a:lnTo>
                <a:lnTo>
                  <a:pt x="1556" y="1006"/>
                </a:lnTo>
                <a:lnTo>
                  <a:pt x="1467" y="1010"/>
                </a:lnTo>
                <a:lnTo>
                  <a:pt x="1385" y="1016"/>
                </a:lnTo>
                <a:lnTo>
                  <a:pt x="1327" y="1022"/>
                </a:lnTo>
                <a:lnTo>
                  <a:pt x="1327" y="1022"/>
                </a:lnTo>
                <a:lnTo>
                  <a:pt x="1311" y="1022"/>
                </a:lnTo>
                <a:lnTo>
                  <a:pt x="1319" y="1020"/>
                </a:lnTo>
                <a:lnTo>
                  <a:pt x="1343" y="1018"/>
                </a:lnTo>
                <a:lnTo>
                  <a:pt x="1343" y="1018"/>
                </a:lnTo>
                <a:lnTo>
                  <a:pt x="1287" y="1022"/>
                </a:lnTo>
                <a:lnTo>
                  <a:pt x="1259" y="1024"/>
                </a:lnTo>
                <a:lnTo>
                  <a:pt x="1233" y="1024"/>
                </a:lnTo>
                <a:lnTo>
                  <a:pt x="1233" y="1024"/>
                </a:lnTo>
                <a:lnTo>
                  <a:pt x="1251" y="1024"/>
                </a:lnTo>
                <a:lnTo>
                  <a:pt x="1261" y="1022"/>
                </a:lnTo>
                <a:lnTo>
                  <a:pt x="1257" y="1022"/>
                </a:lnTo>
                <a:lnTo>
                  <a:pt x="1257" y="1022"/>
                </a:lnTo>
                <a:lnTo>
                  <a:pt x="1229" y="1024"/>
                </a:lnTo>
                <a:lnTo>
                  <a:pt x="1199" y="1026"/>
                </a:lnTo>
                <a:lnTo>
                  <a:pt x="1199" y="1026"/>
                </a:lnTo>
                <a:lnTo>
                  <a:pt x="1201" y="1026"/>
                </a:lnTo>
                <a:lnTo>
                  <a:pt x="1197" y="1026"/>
                </a:lnTo>
                <a:lnTo>
                  <a:pt x="1179" y="1028"/>
                </a:lnTo>
                <a:lnTo>
                  <a:pt x="1121" y="1032"/>
                </a:lnTo>
                <a:lnTo>
                  <a:pt x="1121" y="1032"/>
                </a:lnTo>
                <a:lnTo>
                  <a:pt x="1131" y="1032"/>
                </a:lnTo>
                <a:lnTo>
                  <a:pt x="1131" y="1032"/>
                </a:lnTo>
                <a:lnTo>
                  <a:pt x="1121" y="1034"/>
                </a:lnTo>
                <a:lnTo>
                  <a:pt x="1095" y="1034"/>
                </a:lnTo>
                <a:lnTo>
                  <a:pt x="1095" y="1034"/>
                </a:lnTo>
                <a:lnTo>
                  <a:pt x="1099" y="1034"/>
                </a:lnTo>
                <a:lnTo>
                  <a:pt x="1099" y="1034"/>
                </a:lnTo>
                <a:lnTo>
                  <a:pt x="794" y="1050"/>
                </a:lnTo>
                <a:lnTo>
                  <a:pt x="481" y="1064"/>
                </a:lnTo>
                <a:lnTo>
                  <a:pt x="517" y="1062"/>
                </a:lnTo>
                <a:lnTo>
                  <a:pt x="517" y="1062"/>
                </a:lnTo>
                <a:lnTo>
                  <a:pt x="421" y="1066"/>
                </a:lnTo>
                <a:lnTo>
                  <a:pt x="425" y="1066"/>
                </a:lnTo>
                <a:lnTo>
                  <a:pt x="425" y="1066"/>
                </a:lnTo>
                <a:lnTo>
                  <a:pt x="391" y="1066"/>
                </a:lnTo>
                <a:lnTo>
                  <a:pt x="369" y="1068"/>
                </a:lnTo>
                <a:lnTo>
                  <a:pt x="347" y="1071"/>
                </a:lnTo>
                <a:lnTo>
                  <a:pt x="321" y="1071"/>
                </a:lnTo>
                <a:lnTo>
                  <a:pt x="331" y="1068"/>
                </a:lnTo>
                <a:lnTo>
                  <a:pt x="331" y="1068"/>
                </a:lnTo>
                <a:lnTo>
                  <a:pt x="245" y="1073"/>
                </a:lnTo>
                <a:lnTo>
                  <a:pt x="160" y="1075"/>
                </a:lnTo>
                <a:lnTo>
                  <a:pt x="160" y="1075"/>
                </a:lnTo>
                <a:lnTo>
                  <a:pt x="116" y="1077"/>
                </a:lnTo>
                <a:lnTo>
                  <a:pt x="82" y="1077"/>
                </a:lnTo>
                <a:lnTo>
                  <a:pt x="82" y="1077"/>
                </a:lnTo>
                <a:lnTo>
                  <a:pt x="48" y="1079"/>
                </a:lnTo>
                <a:lnTo>
                  <a:pt x="36" y="1079"/>
                </a:lnTo>
                <a:lnTo>
                  <a:pt x="50" y="1079"/>
                </a:lnTo>
                <a:lnTo>
                  <a:pt x="50" y="1079"/>
                </a:lnTo>
                <a:lnTo>
                  <a:pt x="54" y="1079"/>
                </a:lnTo>
                <a:lnTo>
                  <a:pt x="52" y="1079"/>
                </a:lnTo>
                <a:lnTo>
                  <a:pt x="38" y="1081"/>
                </a:lnTo>
                <a:lnTo>
                  <a:pt x="0" y="1083"/>
                </a:lnTo>
                <a:lnTo>
                  <a:pt x="0" y="1083"/>
                </a:lnTo>
                <a:lnTo>
                  <a:pt x="16" y="1085"/>
                </a:lnTo>
                <a:lnTo>
                  <a:pt x="32" y="1087"/>
                </a:lnTo>
                <a:lnTo>
                  <a:pt x="66" y="1087"/>
                </a:lnTo>
                <a:lnTo>
                  <a:pt x="66" y="1087"/>
                </a:lnTo>
                <a:lnTo>
                  <a:pt x="90" y="1085"/>
                </a:lnTo>
                <a:lnTo>
                  <a:pt x="108" y="1087"/>
                </a:lnTo>
                <a:lnTo>
                  <a:pt x="128" y="1087"/>
                </a:lnTo>
                <a:lnTo>
                  <a:pt x="156" y="1085"/>
                </a:lnTo>
                <a:lnTo>
                  <a:pt x="156" y="1085"/>
                </a:lnTo>
                <a:lnTo>
                  <a:pt x="180" y="1085"/>
                </a:lnTo>
                <a:lnTo>
                  <a:pt x="206" y="1083"/>
                </a:lnTo>
                <a:lnTo>
                  <a:pt x="239" y="1083"/>
                </a:lnTo>
                <a:lnTo>
                  <a:pt x="271" y="1081"/>
                </a:lnTo>
                <a:lnTo>
                  <a:pt x="271" y="1081"/>
                </a:lnTo>
                <a:lnTo>
                  <a:pt x="267" y="1081"/>
                </a:lnTo>
                <a:lnTo>
                  <a:pt x="269" y="1081"/>
                </a:lnTo>
                <a:lnTo>
                  <a:pt x="283" y="1081"/>
                </a:lnTo>
                <a:lnTo>
                  <a:pt x="295" y="1081"/>
                </a:lnTo>
                <a:lnTo>
                  <a:pt x="285" y="1083"/>
                </a:lnTo>
                <a:lnTo>
                  <a:pt x="285" y="1083"/>
                </a:lnTo>
                <a:lnTo>
                  <a:pt x="343" y="1081"/>
                </a:lnTo>
                <a:lnTo>
                  <a:pt x="415" y="1077"/>
                </a:lnTo>
                <a:lnTo>
                  <a:pt x="415" y="1077"/>
                </a:lnTo>
                <a:lnTo>
                  <a:pt x="401" y="1079"/>
                </a:lnTo>
                <a:lnTo>
                  <a:pt x="401" y="1079"/>
                </a:lnTo>
                <a:lnTo>
                  <a:pt x="441" y="1077"/>
                </a:lnTo>
                <a:lnTo>
                  <a:pt x="471" y="1077"/>
                </a:lnTo>
                <a:lnTo>
                  <a:pt x="471" y="1075"/>
                </a:lnTo>
                <a:lnTo>
                  <a:pt x="471" y="1075"/>
                </a:lnTo>
                <a:lnTo>
                  <a:pt x="501" y="1075"/>
                </a:lnTo>
                <a:lnTo>
                  <a:pt x="501" y="1075"/>
                </a:lnTo>
                <a:lnTo>
                  <a:pt x="483" y="1075"/>
                </a:lnTo>
                <a:lnTo>
                  <a:pt x="479" y="1075"/>
                </a:lnTo>
                <a:lnTo>
                  <a:pt x="481" y="1075"/>
                </a:lnTo>
                <a:lnTo>
                  <a:pt x="481" y="1075"/>
                </a:lnTo>
                <a:lnTo>
                  <a:pt x="529" y="1071"/>
                </a:lnTo>
                <a:lnTo>
                  <a:pt x="529" y="1071"/>
                </a:lnTo>
                <a:lnTo>
                  <a:pt x="509" y="1073"/>
                </a:lnTo>
                <a:lnTo>
                  <a:pt x="509" y="1073"/>
                </a:lnTo>
                <a:lnTo>
                  <a:pt x="551" y="1073"/>
                </a:lnTo>
                <a:lnTo>
                  <a:pt x="551" y="1073"/>
                </a:lnTo>
                <a:lnTo>
                  <a:pt x="507" y="1075"/>
                </a:lnTo>
                <a:lnTo>
                  <a:pt x="507" y="1075"/>
                </a:lnTo>
                <a:lnTo>
                  <a:pt x="531" y="1075"/>
                </a:lnTo>
                <a:lnTo>
                  <a:pt x="527" y="1075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7"/>
                </a:lnTo>
                <a:lnTo>
                  <a:pt x="535" y="1075"/>
                </a:lnTo>
                <a:lnTo>
                  <a:pt x="541" y="1075"/>
                </a:lnTo>
                <a:lnTo>
                  <a:pt x="559" y="1075"/>
                </a:lnTo>
                <a:lnTo>
                  <a:pt x="607" y="1071"/>
                </a:lnTo>
                <a:lnTo>
                  <a:pt x="607" y="1071"/>
                </a:lnTo>
                <a:lnTo>
                  <a:pt x="599" y="1073"/>
                </a:lnTo>
                <a:lnTo>
                  <a:pt x="581" y="1073"/>
                </a:lnTo>
                <a:lnTo>
                  <a:pt x="581" y="1073"/>
                </a:lnTo>
                <a:lnTo>
                  <a:pt x="617" y="1073"/>
                </a:lnTo>
                <a:lnTo>
                  <a:pt x="650" y="1073"/>
                </a:lnTo>
                <a:lnTo>
                  <a:pt x="686" y="1068"/>
                </a:lnTo>
                <a:lnTo>
                  <a:pt x="730" y="1066"/>
                </a:lnTo>
                <a:lnTo>
                  <a:pt x="730" y="1066"/>
                </a:lnTo>
                <a:lnTo>
                  <a:pt x="716" y="1068"/>
                </a:lnTo>
                <a:lnTo>
                  <a:pt x="716" y="1068"/>
                </a:lnTo>
                <a:lnTo>
                  <a:pt x="758" y="1066"/>
                </a:lnTo>
                <a:lnTo>
                  <a:pt x="792" y="1064"/>
                </a:lnTo>
                <a:lnTo>
                  <a:pt x="792" y="1064"/>
                </a:lnTo>
                <a:lnTo>
                  <a:pt x="806" y="1064"/>
                </a:lnTo>
                <a:lnTo>
                  <a:pt x="812" y="1064"/>
                </a:lnTo>
                <a:lnTo>
                  <a:pt x="844" y="1064"/>
                </a:lnTo>
                <a:lnTo>
                  <a:pt x="844" y="1064"/>
                </a:lnTo>
                <a:lnTo>
                  <a:pt x="842" y="1064"/>
                </a:lnTo>
                <a:lnTo>
                  <a:pt x="848" y="1064"/>
                </a:lnTo>
                <a:lnTo>
                  <a:pt x="866" y="1062"/>
                </a:lnTo>
                <a:lnTo>
                  <a:pt x="890" y="1062"/>
                </a:lnTo>
                <a:lnTo>
                  <a:pt x="902" y="1060"/>
                </a:lnTo>
                <a:lnTo>
                  <a:pt x="938" y="1060"/>
                </a:lnTo>
                <a:lnTo>
                  <a:pt x="938" y="1060"/>
                </a:lnTo>
                <a:lnTo>
                  <a:pt x="950" y="1058"/>
                </a:lnTo>
                <a:lnTo>
                  <a:pt x="952" y="1056"/>
                </a:lnTo>
                <a:lnTo>
                  <a:pt x="960" y="1054"/>
                </a:lnTo>
                <a:lnTo>
                  <a:pt x="992" y="1052"/>
                </a:lnTo>
                <a:lnTo>
                  <a:pt x="992" y="1052"/>
                </a:lnTo>
                <a:lnTo>
                  <a:pt x="1016" y="1052"/>
                </a:lnTo>
                <a:lnTo>
                  <a:pt x="1016" y="1052"/>
                </a:lnTo>
                <a:lnTo>
                  <a:pt x="1014" y="1054"/>
                </a:lnTo>
                <a:lnTo>
                  <a:pt x="1008" y="1056"/>
                </a:lnTo>
                <a:lnTo>
                  <a:pt x="1020" y="1056"/>
                </a:lnTo>
                <a:lnTo>
                  <a:pt x="1034" y="1054"/>
                </a:lnTo>
                <a:lnTo>
                  <a:pt x="1063" y="1054"/>
                </a:lnTo>
                <a:lnTo>
                  <a:pt x="1057" y="1054"/>
                </a:lnTo>
                <a:lnTo>
                  <a:pt x="1057" y="1054"/>
                </a:lnTo>
                <a:lnTo>
                  <a:pt x="1105" y="1052"/>
                </a:lnTo>
                <a:lnTo>
                  <a:pt x="1105" y="1052"/>
                </a:lnTo>
                <a:lnTo>
                  <a:pt x="1081" y="1054"/>
                </a:lnTo>
                <a:lnTo>
                  <a:pt x="1081" y="1054"/>
                </a:lnTo>
                <a:lnTo>
                  <a:pt x="1151" y="1052"/>
                </a:lnTo>
                <a:lnTo>
                  <a:pt x="1191" y="1050"/>
                </a:lnTo>
                <a:lnTo>
                  <a:pt x="1221" y="1046"/>
                </a:lnTo>
                <a:lnTo>
                  <a:pt x="1221" y="1046"/>
                </a:lnTo>
                <a:lnTo>
                  <a:pt x="1251" y="1046"/>
                </a:lnTo>
                <a:lnTo>
                  <a:pt x="1267" y="1046"/>
                </a:lnTo>
                <a:lnTo>
                  <a:pt x="1267" y="1046"/>
                </a:lnTo>
                <a:lnTo>
                  <a:pt x="1313" y="1044"/>
                </a:lnTo>
                <a:lnTo>
                  <a:pt x="1363" y="1040"/>
                </a:lnTo>
                <a:lnTo>
                  <a:pt x="1363" y="1040"/>
                </a:lnTo>
                <a:lnTo>
                  <a:pt x="1373" y="1040"/>
                </a:lnTo>
                <a:lnTo>
                  <a:pt x="1397" y="1040"/>
                </a:lnTo>
                <a:lnTo>
                  <a:pt x="1397" y="1040"/>
                </a:lnTo>
                <a:lnTo>
                  <a:pt x="1387" y="1040"/>
                </a:lnTo>
                <a:lnTo>
                  <a:pt x="1405" y="1038"/>
                </a:lnTo>
                <a:lnTo>
                  <a:pt x="1405" y="1038"/>
                </a:lnTo>
                <a:lnTo>
                  <a:pt x="1451" y="1036"/>
                </a:lnTo>
                <a:lnTo>
                  <a:pt x="1488" y="1034"/>
                </a:lnTo>
                <a:lnTo>
                  <a:pt x="1488" y="1034"/>
                </a:lnTo>
                <a:lnTo>
                  <a:pt x="1510" y="1032"/>
                </a:lnTo>
                <a:lnTo>
                  <a:pt x="1512" y="1030"/>
                </a:lnTo>
                <a:lnTo>
                  <a:pt x="1514" y="1030"/>
                </a:lnTo>
                <a:lnTo>
                  <a:pt x="1514" y="1030"/>
                </a:lnTo>
                <a:lnTo>
                  <a:pt x="1562" y="1028"/>
                </a:lnTo>
                <a:lnTo>
                  <a:pt x="1582" y="1028"/>
                </a:lnTo>
                <a:lnTo>
                  <a:pt x="1588" y="1028"/>
                </a:lnTo>
                <a:lnTo>
                  <a:pt x="1586" y="1028"/>
                </a:lnTo>
                <a:lnTo>
                  <a:pt x="1586" y="1028"/>
                </a:lnTo>
                <a:lnTo>
                  <a:pt x="1554" y="1030"/>
                </a:lnTo>
                <a:lnTo>
                  <a:pt x="1540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38" y="1032"/>
                </a:lnTo>
                <a:lnTo>
                  <a:pt x="1562" y="1030"/>
                </a:lnTo>
                <a:lnTo>
                  <a:pt x="1580" y="1030"/>
                </a:lnTo>
                <a:lnTo>
                  <a:pt x="1580" y="1030"/>
                </a:lnTo>
                <a:lnTo>
                  <a:pt x="1586" y="1030"/>
                </a:lnTo>
                <a:lnTo>
                  <a:pt x="1592" y="1030"/>
                </a:lnTo>
                <a:lnTo>
                  <a:pt x="1592" y="1030"/>
                </a:lnTo>
                <a:lnTo>
                  <a:pt x="1652" y="1028"/>
                </a:lnTo>
                <a:lnTo>
                  <a:pt x="1652" y="1028"/>
                </a:lnTo>
                <a:lnTo>
                  <a:pt x="1640" y="1028"/>
                </a:lnTo>
                <a:lnTo>
                  <a:pt x="1648" y="1026"/>
                </a:lnTo>
                <a:lnTo>
                  <a:pt x="1656" y="1026"/>
                </a:lnTo>
                <a:lnTo>
                  <a:pt x="1652" y="1024"/>
                </a:lnTo>
                <a:lnTo>
                  <a:pt x="1620" y="1028"/>
                </a:lnTo>
                <a:lnTo>
                  <a:pt x="1620" y="1028"/>
                </a:lnTo>
                <a:lnTo>
                  <a:pt x="1598" y="1028"/>
                </a:lnTo>
                <a:lnTo>
                  <a:pt x="1600" y="1028"/>
                </a:lnTo>
                <a:lnTo>
                  <a:pt x="1596" y="1028"/>
                </a:lnTo>
                <a:lnTo>
                  <a:pt x="1596" y="1028"/>
                </a:lnTo>
                <a:lnTo>
                  <a:pt x="1660" y="1022"/>
                </a:lnTo>
                <a:lnTo>
                  <a:pt x="1720" y="1018"/>
                </a:lnTo>
                <a:lnTo>
                  <a:pt x="1760" y="1016"/>
                </a:lnTo>
                <a:lnTo>
                  <a:pt x="1760" y="1016"/>
                </a:lnTo>
                <a:lnTo>
                  <a:pt x="1746" y="1018"/>
                </a:lnTo>
                <a:lnTo>
                  <a:pt x="1756" y="1018"/>
                </a:lnTo>
                <a:lnTo>
                  <a:pt x="1756" y="1018"/>
                </a:lnTo>
                <a:lnTo>
                  <a:pt x="1806" y="1016"/>
                </a:lnTo>
                <a:lnTo>
                  <a:pt x="1854" y="1014"/>
                </a:lnTo>
                <a:lnTo>
                  <a:pt x="1854" y="1014"/>
                </a:lnTo>
                <a:lnTo>
                  <a:pt x="1838" y="1014"/>
                </a:lnTo>
                <a:lnTo>
                  <a:pt x="1850" y="1012"/>
                </a:lnTo>
                <a:lnTo>
                  <a:pt x="1850" y="1012"/>
                </a:lnTo>
                <a:lnTo>
                  <a:pt x="1891" y="1010"/>
                </a:lnTo>
                <a:lnTo>
                  <a:pt x="1893" y="1010"/>
                </a:lnTo>
                <a:lnTo>
                  <a:pt x="1905" y="1010"/>
                </a:lnTo>
                <a:lnTo>
                  <a:pt x="1905" y="1010"/>
                </a:lnTo>
                <a:lnTo>
                  <a:pt x="2031" y="1004"/>
                </a:lnTo>
                <a:lnTo>
                  <a:pt x="2145" y="996"/>
                </a:lnTo>
                <a:lnTo>
                  <a:pt x="2107" y="998"/>
                </a:lnTo>
                <a:lnTo>
                  <a:pt x="2095" y="1000"/>
                </a:lnTo>
                <a:lnTo>
                  <a:pt x="2095" y="1000"/>
                </a:lnTo>
                <a:lnTo>
                  <a:pt x="2083" y="1000"/>
                </a:lnTo>
                <a:lnTo>
                  <a:pt x="2089" y="998"/>
                </a:lnTo>
                <a:lnTo>
                  <a:pt x="2117" y="994"/>
                </a:lnTo>
                <a:lnTo>
                  <a:pt x="2117" y="994"/>
                </a:lnTo>
                <a:lnTo>
                  <a:pt x="2141" y="992"/>
                </a:lnTo>
                <a:lnTo>
                  <a:pt x="2153" y="992"/>
                </a:lnTo>
                <a:lnTo>
                  <a:pt x="2149" y="992"/>
                </a:lnTo>
                <a:lnTo>
                  <a:pt x="2197" y="988"/>
                </a:lnTo>
                <a:lnTo>
                  <a:pt x="2197" y="988"/>
                </a:lnTo>
                <a:lnTo>
                  <a:pt x="2179" y="990"/>
                </a:lnTo>
                <a:lnTo>
                  <a:pt x="2173" y="990"/>
                </a:lnTo>
                <a:lnTo>
                  <a:pt x="2181" y="988"/>
                </a:lnTo>
                <a:lnTo>
                  <a:pt x="2181" y="988"/>
                </a:lnTo>
                <a:lnTo>
                  <a:pt x="2215" y="986"/>
                </a:lnTo>
                <a:lnTo>
                  <a:pt x="2225" y="986"/>
                </a:lnTo>
                <a:lnTo>
                  <a:pt x="2215" y="988"/>
                </a:lnTo>
                <a:lnTo>
                  <a:pt x="2215" y="988"/>
                </a:lnTo>
                <a:lnTo>
                  <a:pt x="2253" y="986"/>
                </a:lnTo>
                <a:lnTo>
                  <a:pt x="2267" y="984"/>
                </a:lnTo>
                <a:lnTo>
                  <a:pt x="2267" y="984"/>
                </a:lnTo>
                <a:lnTo>
                  <a:pt x="2283" y="982"/>
                </a:lnTo>
                <a:lnTo>
                  <a:pt x="2277" y="984"/>
                </a:lnTo>
                <a:lnTo>
                  <a:pt x="2245" y="988"/>
                </a:lnTo>
                <a:lnTo>
                  <a:pt x="2245" y="988"/>
                </a:lnTo>
                <a:lnTo>
                  <a:pt x="2269" y="986"/>
                </a:lnTo>
                <a:lnTo>
                  <a:pt x="2263" y="988"/>
                </a:lnTo>
                <a:lnTo>
                  <a:pt x="2307" y="986"/>
                </a:lnTo>
                <a:lnTo>
                  <a:pt x="2307" y="986"/>
                </a:lnTo>
                <a:lnTo>
                  <a:pt x="2287" y="988"/>
                </a:lnTo>
                <a:lnTo>
                  <a:pt x="2287" y="988"/>
                </a:lnTo>
                <a:lnTo>
                  <a:pt x="2328" y="986"/>
                </a:lnTo>
                <a:lnTo>
                  <a:pt x="2364" y="984"/>
                </a:lnTo>
                <a:lnTo>
                  <a:pt x="2374" y="982"/>
                </a:lnTo>
                <a:lnTo>
                  <a:pt x="2374" y="982"/>
                </a:lnTo>
                <a:lnTo>
                  <a:pt x="2522" y="972"/>
                </a:lnTo>
                <a:lnTo>
                  <a:pt x="2510" y="972"/>
                </a:lnTo>
                <a:lnTo>
                  <a:pt x="2510" y="972"/>
                </a:lnTo>
                <a:lnTo>
                  <a:pt x="2542" y="970"/>
                </a:lnTo>
                <a:lnTo>
                  <a:pt x="2562" y="968"/>
                </a:lnTo>
                <a:lnTo>
                  <a:pt x="2584" y="968"/>
                </a:lnTo>
                <a:lnTo>
                  <a:pt x="2628" y="964"/>
                </a:lnTo>
                <a:lnTo>
                  <a:pt x="2628" y="964"/>
                </a:lnTo>
                <a:lnTo>
                  <a:pt x="2678" y="960"/>
                </a:lnTo>
                <a:lnTo>
                  <a:pt x="2690" y="958"/>
                </a:lnTo>
                <a:lnTo>
                  <a:pt x="2694" y="958"/>
                </a:lnTo>
                <a:lnTo>
                  <a:pt x="2692" y="958"/>
                </a:lnTo>
                <a:lnTo>
                  <a:pt x="2692" y="958"/>
                </a:lnTo>
                <a:lnTo>
                  <a:pt x="2718" y="956"/>
                </a:lnTo>
                <a:lnTo>
                  <a:pt x="2735" y="956"/>
                </a:lnTo>
                <a:lnTo>
                  <a:pt x="2735" y="956"/>
                </a:lnTo>
                <a:lnTo>
                  <a:pt x="2777" y="950"/>
                </a:lnTo>
                <a:lnTo>
                  <a:pt x="2827" y="946"/>
                </a:lnTo>
                <a:lnTo>
                  <a:pt x="2771" y="952"/>
                </a:lnTo>
                <a:lnTo>
                  <a:pt x="2771" y="952"/>
                </a:lnTo>
                <a:lnTo>
                  <a:pt x="2809" y="950"/>
                </a:lnTo>
                <a:lnTo>
                  <a:pt x="2869" y="946"/>
                </a:lnTo>
                <a:lnTo>
                  <a:pt x="3003" y="932"/>
                </a:lnTo>
                <a:lnTo>
                  <a:pt x="3003" y="932"/>
                </a:lnTo>
                <a:lnTo>
                  <a:pt x="2993" y="932"/>
                </a:lnTo>
                <a:lnTo>
                  <a:pt x="2993" y="930"/>
                </a:lnTo>
                <a:lnTo>
                  <a:pt x="2995" y="930"/>
                </a:lnTo>
                <a:lnTo>
                  <a:pt x="3027" y="926"/>
                </a:lnTo>
                <a:lnTo>
                  <a:pt x="3027" y="926"/>
                </a:lnTo>
                <a:lnTo>
                  <a:pt x="3053" y="924"/>
                </a:lnTo>
                <a:lnTo>
                  <a:pt x="3101" y="922"/>
                </a:lnTo>
                <a:lnTo>
                  <a:pt x="3101" y="922"/>
                </a:lnTo>
                <a:lnTo>
                  <a:pt x="3099" y="922"/>
                </a:lnTo>
                <a:lnTo>
                  <a:pt x="3103" y="922"/>
                </a:lnTo>
                <a:lnTo>
                  <a:pt x="3117" y="922"/>
                </a:lnTo>
                <a:lnTo>
                  <a:pt x="3125" y="922"/>
                </a:lnTo>
                <a:lnTo>
                  <a:pt x="3105" y="924"/>
                </a:lnTo>
                <a:lnTo>
                  <a:pt x="3105" y="924"/>
                </a:lnTo>
                <a:lnTo>
                  <a:pt x="3085" y="924"/>
                </a:lnTo>
                <a:lnTo>
                  <a:pt x="3061" y="926"/>
                </a:lnTo>
                <a:lnTo>
                  <a:pt x="3061" y="926"/>
                </a:lnTo>
                <a:lnTo>
                  <a:pt x="3141" y="922"/>
                </a:lnTo>
                <a:lnTo>
                  <a:pt x="3141" y="922"/>
                </a:lnTo>
                <a:lnTo>
                  <a:pt x="3103" y="926"/>
                </a:lnTo>
                <a:lnTo>
                  <a:pt x="3103" y="926"/>
                </a:lnTo>
                <a:lnTo>
                  <a:pt x="3109" y="926"/>
                </a:lnTo>
                <a:lnTo>
                  <a:pt x="3105" y="926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sp>
        <p:nvSpPr>
          <p:cNvPr id="21" name="Freeform 158"/>
          <p:cNvSpPr>
            <a:spLocks/>
          </p:cNvSpPr>
          <p:nvPr userDrawn="1"/>
        </p:nvSpPr>
        <p:spPr bwMode="auto">
          <a:xfrm>
            <a:off x="-6670675" y="5675313"/>
            <a:ext cx="13331825" cy="1546225"/>
          </a:xfrm>
          <a:custGeom>
            <a:avLst/>
            <a:gdLst>
              <a:gd name="T0" fmla="*/ 3394 w 8398"/>
              <a:gd name="T1" fmla="*/ 800 h 974"/>
              <a:gd name="T2" fmla="*/ 3595 w 8398"/>
              <a:gd name="T3" fmla="*/ 784 h 974"/>
              <a:gd name="T4" fmla="*/ 3671 w 8398"/>
              <a:gd name="T5" fmla="*/ 772 h 974"/>
              <a:gd name="T6" fmla="*/ 3773 w 8398"/>
              <a:gd name="T7" fmla="*/ 766 h 974"/>
              <a:gd name="T8" fmla="*/ 4166 w 8398"/>
              <a:gd name="T9" fmla="*/ 727 h 974"/>
              <a:gd name="T10" fmla="*/ 4386 w 8398"/>
              <a:gd name="T11" fmla="*/ 705 h 974"/>
              <a:gd name="T12" fmla="*/ 4535 w 8398"/>
              <a:gd name="T13" fmla="*/ 689 h 974"/>
              <a:gd name="T14" fmla="*/ 4827 w 8398"/>
              <a:gd name="T15" fmla="*/ 657 h 974"/>
              <a:gd name="T16" fmla="*/ 4914 w 8398"/>
              <a:gd name="T17" fmla="*/ 651 h 974"/>
              <a:gd name="T18" fmla="*/ 5134 w 8398"/>
              <a:gd name="T19" fmla="*/ 627 h 974"/>
              <a:gd name="T20" fmla="*/ 5451 w 8398"/>
              <a:gd name="T21" fmla="*/ 597 h 974"/>
              <a:gd name="T22" fmla="*/ 5619 w 8398"/>
              <a:gd name="T23" fmla="*/ 575 h 974"/>
              <a:gd name="T24" fmla="*/ 5852 w 8398"/>
              <a:gd name="T25" fmla="*/ 547 h 974"/>
              <a:gd name="T26" fmla="*/ 5954 w 8398"/>
              <a:gd name="T27" fmla="*/ 535 h 974"/>
              <a:gd name="T28" fmla="*/ 6091 w 8398"/>
              <a:gd name="T29" fmla="*/ 521 h 974"/>
              <a:gd name="T30" fmla="*/ 6556 w 8398"/>
              <a:gd name="T31" fmla="*/ 445 h 974"/>
              <a:gd name="T32" fmla="*/ 6971 w 8398"/>
              <a:gd name="T33" fmla="*/ 369 h 974"/>
              <a:gd name="T34" fmla="*/ 6782 w 8398"/>
              <a:gd name="T35" fmla="*/ 403 h 974"/>
              <a:gd name="T36" fmla="*/ 6953 w 8398"/>
              <a:gd name="T37" fmla="*/ 365 h 974"/>
              <a:gd name="T38" fmla="*/ 7229 w 8398"/>
              <a:gd name="T39" fmla="*/ 313 h 974"/>
              <a:gd name="T40" fmla="*/ 7331 w 8398"/>
              <a:gd name="T41" fmla="*/ 284 h 974"/>
              <a:gd name="T42" fmla="*/ 7648 w 8398"/>
              <a:gd name="T43" fmla="*/ 210 h 974"/>
              <a:gd name="T44" fmla="*/ 7835 w 8398"/>
              <a:gd name="T45" fmla="*/ 158 h 974"/>
              <a:gd name="T46" fmla="*/ 8115 w 8398"/>
              <a:gd name="T47" fmla="*/ 86 h 974"/>
              <a:gd name="T48" fmla="*/ 8089 w 8398"/>
              <a:gd name="T49" fmla="*/ 88 h 974"/>
              <a:gd name="T50" fmla="*/ 8049 w 8398"/>
              <a:gd name="T51" fmla="*/ 88 h 974"/>
              <a:gd name="T52" fmla="*/ 8318 w 8398"/>
              <a:gd name="T53" fmla="*/ 26 h 974"/>
              <a:gd name="T54" fmla="*/ 8228 w 8398"/>
              <a:gd name="T55" fmla="*/ 42 h 974"/>
              <a:gd name="T56" fmla="*/ 8358 w 8398"/>
              <a:gd name="T57" fmla="*/ 4 h 974"/>
              <a:gd name="T58" fmla="*/ 8121 w 8398"/>
              <a:gd name="T59" fmla="*/ 66 h 974"/>
              <a:gd name="T60" fmla="*/ 8043 w 8398"/>
              <a:gd name="T61" fmla="*/ 88 h 974"/>
              <a:gd name="T62" fmla="*/ 7704 w 8398"/>
              <a:gd name="T63" fmla="*/ 180 h 974"/>
              <a:gd name="T64" fmla="*/ 7404 w 8398"/>
              <a:gd name="T65" fmla="*/ 256 h 974"/>
              <a:gd name="T66" fmla="*/ 7504 w 8398"/>
              <a:gd name="T67" fmla="*/ 224 h 974"/>
              <a:gd name="T68" fmla="*/ 7217 w 8398"/>
              <a:gd name="T69" fmla="*/ 292 h 974"/>
              <a:gd name="T70" fmla="*/ 6997 w 8398"/>
              <a:gd name="T71" fmla="*/ 343 h 974"/>
              <a:gd name="T72" fmla="*/ 6876 w 8398"/>
              <a:gd name="T73" fmla="*/ 365 h 974"/>
              <a:gd name="T74" fmla="*/ 6606 w 8398"/>
              <a:gd name="T75" fmla="*/ 415 h 974"/>
              <a:gd name="T76" fmla="*/ 6287 w 8398"/>
              <a:gd name="T77" fmla="*/ 467 h 974"/>
              <a:gd name="T78" fmla="*/ 5770 w 8398"/>
              <a:gd name="T79" fmla="*/ 535 h 974"/>
              <a:gd name="T80" fmla="*/ 5800 w 8398"/>
              <a:gd name="T81" fmla="*/ 539 h 974"/>
              <a:gd name="T82" fmla="*/ 5672 w 8398"/>
              <a:gd name="T83" fmla="*/ 551 h 974"/>
              <a:gd name="T84" fmla="*/ 5359 w 8398"/>
              <a:gd name="T85" fmla="*/ 579 h 974"/>
              <a:gd name="T86" fmla="*/ 4300 w 8398"/>
              <a:gd name="T87" fmla="*/ 687 h 974"/>
              <a:gd name="T88" fmla="*/ 3835 w 8398"/>
              <a:gd name="T89" fmla="*/ 733 h 974"/>
              <a:gd name="T90" fmla="*/ 3556 w 8398"/>
              <a:gd name="T91" fmla="*/ 758 h 974"/>
              <a:gd name="T92" fmla="*/ 2941 w 8398"/>
              <a:gd name="T93" fmla="*/ 812 h 974"/>
              <a:gd name="T94" fmla="*/ 2518 w 8398"/>
              <a:gd name="T95" fmla="*/ 846 h 974"/>
              <a:gd name="T96" fmla="*/ 1622 w 8398"/>
              <a:gd name="T97" fmla="*/ 904 h 974"/>
              <a:gd name="T98" fmla="*/ 1175 w 8398"/>
              <a:gd name="T99" fmla="*/ 934 h 974"/>
              <a:gd name="T100" fmla="*/ 327 w 8398"/>
              <a:gd name="T101" fmla="*/ 962 h 974"/>
              <a:gd name="T102" fmla="*/ 6 w 8398"/>
              <a:gd name="T103" fmla="*/ 954 h 974"/>
              <a:gd name="T104" fmla="*/ 411 w 8398"/>
              <a:gd name="T105" fmla="*/ 972 h 974"/>
              <a:gd name="T106" fmla="*/ 531 w 8398"/>
              <a:gd name="T107" fmla="*/ 974 h 974"/>
              <a:gd name="T108" fmla="*/ 844 w 8398"/>
              <a:gd name="T109" fmla="*/ 966 h 974"/>
              <a:gd name="T110" fmla="*/ 1147 w 8398"/>
              <a:gd name="T111" fmla="*/ 956 h 974"/>
              <a:gd name="T112" fmla="*/ 1578 w 8398"/>
              <a:gd name="T113" fmla="*/ 932 h 974"/>
              <a:gd name="T114" fmla="*/ 1596 w 8398"/>
              <a:gd name="T115" fmla="*/ 934 h 974"/>
              <a:gd name="T116" fmla="*/ 2089 w 8398"/>
              <a:gd name="T117" fmla="*/ 902 h 974"/>
              <a:gd name="T118" fmla="*/ 2239 w 8398"/>
              <a:gd name="T119" fmla="*/ 890 h 974"/>
              <a:gd name="T120" fmla="*/ 2712 w 8398"/>
              <a:gd name="T121" fmla="*/ 854 h 974"/>
              <a:gd name="T122" fmla="*/ 3097 w 8398"/>
              <a:gd name="T123" fmla="*/ 822 h 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398" h="974">
                <a:moveTo>
                  <a:pt x="3099" y="822"/>
                </a:moveTo>
                <a:lnTo>
                  <a:pt x="3099" y="822"/>
                </a:lnTo>
                <a:lnTo>
                  <a:pt x="3073" y="826"/>
                </a:lnTo>
                <a:lnTo>
                  <a:pt x="3081" y="826"/>
                </a:lnTo>
                <a:lnTo>
                  <a:pt x="3097" y="826"/>
                </a:lnTo>
                <a:lnTo>
                  <a:pt x="3103" y="826"/>
                </a:lnTo>
                <a:lnTo>
                  <a:pt x="3103" y="826"/>
                </a:lnTo>
                <a:lnTo>
                  <a:pt x="3133" y="824"/>
                </a:lnTo>
                <a:lnTo>
                  <a:pt x="3143" y="822"/>
                </a:lnTo>
                <a:lnTo>
                  <a:pt x="3139" y="822"/>
                </a:lnTo>
                <a:lnTo>
                  <a:pt x="3139" y="822"/>
                </a:lnTo>
                <a:lnTo>
                  <a:pt x="3170" y="820"/>
                </a:lnTo>
                <a:lnTo>
                  <a:pt x="3208" y="816"/>
                </a:lnTo>
                <a:lnTo>
                  <a:pt x="3246" y="814"/>
                </a:lnTo>
                <a:lnTo>
                  <a:pt x="3278" y="812"/>
                </a:lnTo>
                <a:lnTo>
                  <a:pt x="3278" y="812"/>
                </a:lnTo>
                <a:lnTo>
                  <a:pt x="3272" y="810"/>
                </a:lnTo>
                <a:lnTo>
                  <a:pt x="3282" y="808"/>
                </a:lnTo>
                <a:lnTo>
                  <a:pt x="3282" y="808"/>
                </a:lnTo>
                <a:lnTo>
                  <a:pt x="3316" y="806"/>
                </a:lnTo>
                <a:lnTo>
                  <a:pt x="3332" y="806"/>
                </a:lnTo>
                <a:lnTo>
                  <a:pt x="3332" y="806"/>
                </a:lnTo>
                <a:lnTo>
                  <a:pt x="3394" y="800"/>
                </a:lnTo>
                <a:lnTo>
                  <a:pt x="3394" y="800"/>
                </a:lnTo>
                <a:lnTo>
                  <a:pt x="3402" y="798"/>
                </a:lnTo>
                <a:lnTo>
                  <a:pt x="3396" y="798"/>
                </a:lnTo>
                <a:lnTo>
                  <a:pt x="3390" y="798"/>
                </a:lnTo>
                <a:lnTo>
                  <a:pt x="3402" y="796"/>
                </a:lnTo>
                <a:lnTo>
                  <a:pt x="3402" y="796"/>
                </a:lnTo>
                <a:lnTo>
                  <a:pt x="3442" y="792"/>
                </a:lnTo>
                <a:lnTo>
                  <a:pt x="3486" y="788"/>
                </a:lnTo>
                <a:lnTo>
                  <a:pt x="3486" y="788"/>
                </a:lnTo>
                <a:lnTo>
                  <a:pt x="3494" y="788"/>
                </a:lnTo>
                <a:lnTo>
                  <a:pt x="3480" y="790"/>
                </a:lnTo>
                <a:lnTo>
                  <a:pt x="3438" y="794"/>
                </a:lnTo>
                <a:lnTo>
                  <a:pt x="3532" y="784"/>
                </a:lnTo>
                <a:lnTo>
                  <a:pt x="3532" y="784"/>
                </a:lnTo>
                <a:lnTo>
                  <a:pt x="3542" y="784"/>
                </a:lnTo>
                <a:lnTo>
                  <a:pt x="3534" y="786"/>
                </a:lnTo>
                <a:lnTo>
                  <a:pt x="3492" y="790"/>
                </a:lnTo>
                <a:lnTo>
                  <a:pt x="3492" y="790"/>
                </a:lnTo>
                <a:lnTo>
                  <a:pt x="3552" y="784"/>
                </a:lnTo>
                <a:lnTo>
                  <a:pt x="3591" y="780"/>
                </a:lnTo>
                <a:lnTo>
                  <a:pt x="3591" y="780"/>
                </a:lnTo>
                <a:lnTo>
                  <a:pt x="3649" y="774"/>
                </a:lnTo>
                <a:lnTo>
                  <a:pt x="3649" y="774"/>
                </a:lnTo>
                <a:lnTo>
                  <a:pt x="3627" y="778"/>
                </a:lnTo>
                <a:lnTo>
                  <a:pt x="3595" y="784"/>
                </a:lnTo>
                <a:lnTo>
                  <a:pt x="3595" y="784"/>
                </a:lnTo>
                <a:lnTo>
                  <a:pt x="3573" y="784"/>
                </a:lnTo>
                <a:lnTo>
                  <a:pt x="3577" y="784"/>
                </a:lnTo>
                <a:lnTo>
                  <a:pt x="3583" y="782"/>
                </a:lnTo>
                <a:lnTo>
                  <a:pt x="3566" y="784"/>
                </a:lnTo>
                <a:lnTo>
                  <a:pt x="3562" y="786"/>
                </a:lnTo>
                <a:lnTo>
                  <a:pt x="3562" y="786"/>
                </a:lnTo>
                <a:lnTo>
                  <a:pt x="3532" y="788"/>
                </a:lnTo>
                <a:lnTo>
                  <a:pt x="3502" y="790"/>
                </a:lnTo>
                <a:lnTo>
                  <a:pt x="3502" y="790"/>
                </a:lnTo>
                <a:lnTo>
                  <a:pt x="3496" y="790"/>
                </a:lnTo>
                <a:lnTo>
                  <a:pt x="3500" y="790"/>
                </a:lnTo>
                <a:lnTo>
                  <a:pt x="3512" y="790"/>
                </a:lnTo>
                <a:lnTo>
                  <a:pt x="3512" y="790"/>
                </a:lnTo>
                <a:lnTo>
                  <a:pt x="3458" y="794"/>
                </a:lnTo>
                <a:lnTo>
                  <a:pt x="3410" y="800"/>
                </a:lnTo>
                <a:lnTo>
                  <a:pt x="3410" y="800"/>
                </a:lnTo>
                <a:lnTo>
                  <a:pt x="3502" y="792"/>
                </a:lnTo>
                <a:lnTo>
                  <a:pt x="3571" y="786"/>
                </a:lnTo>
                <a:lnTo>
                  <a:pt x="3679" y="774"/>
                </a:lnTo>
                <a:lnTo>
                  <a:pt x="3679" y="774"/>
                </a:lnTo>
                <a:lnTo>
                  <a:pt x="3663" y="774"/>
                </a:lnTo>
                <a:lnTo>
                  <a:pt x="3659" y="774"/>
                </a:lnTo>
                <a:lnTo>
                  <a:pt x="3671" y="772"/>
                </a:lnTo>
                <a:lnTo>
                  <a:pt x="3671" y="772"/>
                </a:lnTo>
                <a:lnTo>
                  <a:pt x="3703" y="772"/>
                </a:lnTo>
                <a:lnTo>
                  <a:pt x="3757" y="768"/>
                </a:lnTo>
                <a:lnTo>
                  <a:pt x="3757" y="768"/>
                </a:lnTo>
                <a:lnTo>
                  <a:pt x="3755" y="768"/>
                </a:lnTo>
                <a:lnTo>
                  <a:pt x="3761" y="766"/>
                </a:lnTo>
                <a:lnTo>
                  <a:pt x="3781" y="764"/>
                </a:lnTo>
                <a:lnTo>
                  <a:pt x="3803" y="762"/>
                </a:lnTo>
                <a:lnTo>
                  <a:pt x="3807" y="760"/>
                </a:lnTo>
                <a:lnTo>
                  <a:pt x="3803" y="760"/>
                </a:lnTo>
                <a:lnTo>
                  <a:pt x="3803" y="760"/>
                </a:lnTo>
                <a:lnTo>
                  <a:pt x="3781" y="762"/>
                </a:lnTo>
                <a:lnTo>
                  <a:pt x="3771" y="762"/>
                </a:lnTo>
                <a:lnTo>
                  <a:pt x="3771" y="762"/>
                </a:lnTo>
                <a:lnTo>
                  <a:pt x="3789" y="760"/>
                </a:lnTo>
                <a:lnTo>
                  <a:pt x="3791" y="760"/>
                </a:lnTo>
                <a:lnTo>
                  <a:pt x="3791" y="760"/>
                </a:lnTo>
                <a:lnTo>
                  <a:pt x="3799" y="758"/>
                </a:lnTo>
                <a:lnTo>
                  <a:pt x="3799" y="758"/>
                </a:lnTo>
                <a:lnTo>
                  <a:pt x="3833" y="756"/>
                </a:lnTo>
                <a:lnTo>
                  <a:pt x="3867" y="754"/>
                </a:lnTo>
                <a:lnTo>
                  <a:pt x="3867" y="754"/>
                </a:lnTo>
                <a:lnTo>
                  <a:pt x="3773" y="766"/>
                </a:lnTo>
                <a:lnTo>
                  <a:pt x="3773" y="766"/>
                </a:lnTo>
                <a:lnTo>
                  <a:pt x="3831" y="762"/>
                </a:lnTo>
                <a:lnTo>
                  <a:pt x="3831" y="762"/>
                </a:lnTo>
                <a:lnTo>
                  <a:pt x="3823" y="762"/>
                </a:lnTo>
                <a:lnTo>
                  <a:pt x="3827" y="760"/>
                </a:lnTo>
                <a:lnTo>
                  <a:pt x="3833" y="760"/>
                </a:lnTo>
                <a:lnTo>
                  <a:pt x="3827" y="760"/>
                </a:lnTo>
                <a:lnTo>
                  <a:pt x="3827" y="760"/>
                </a:lnTo>
                <a:lnTo>
                  <a:pt x="4024" y="737"/>
                </a:lnTo>
                <a:lnTo>
                  <a:pt x="4024" y="737"/>
                </a:lnTo>
                <a:lnTo>
                  <a:pt x="4002" y="741"/>
                </a:lnTo>
                <a:lnTo>
                  <a:pt x="3963" y="745"/>
                </a:lnTo>
                <a:lnTo>
                  <a:pt x="3931" y="750"/>
                </a:lnTo>
                <a:lnTo>
                  <a:pt x="3925" y="752"/>
                </a:lnTo>
                <a:lnTo>
                  <a:pt x="3927" y="752"/>
                </a:lnTo>
                <a:lnTo>
                  <a:pt x="3927" y="752"/>
                </a:lnTo>
                <a:lnTo>
                  <a:pt x="3961" y="747"/>
                </a:lnTo>
                <a:lnTo>
                  <a:pt x="3990" y="745"/>
                </a:lnTo>
                <a:lnTo>
                  <a:pt x="3990" y="745"/>
                </a:lnTo>
                <a:lnTo>
                  <a:pt x="4046" y="739"/>
                </a:lnTo>
                <a:lnTo>
                  <a:pt x="4120" y="733"/>
                </a:lnTo>
                <a:lnTo>
                  <a:pt x="4098" y="733"/>
                </a:lnTo>
                <a:lnTo>
                  <a:pt x="4098" y="733"/>
                </a:lnTo>
                <a:lnTo>
                  <a:pt x="4170" y="727"/>
                </a:lnTo>
                <a:lnTo>
                  <a:pt x="4166" y="727"/>
                </a:lnTo>
                <a:lnTo>
                  <a:pt x="4186" y="725"/>
                </a:lnTo>
                <a:lnTo>
                  <a:pt x="4186" y="725"/>
                </a:lnTo>
                <a:lnTo>
                  <a:pt x="4190" y="725"/>
                </a:lnTo>
                <a:lnTo>
                  <a:pt x="4190" y="725"/>
                </a:lnTo>
                <a:lnTo>
                  <a:pt x="4314" y="713"/>
                </a:lnTo>
                <a:lnTo>
                  <a:pt x="4314" y="713"/>
                </a:lnTo>
                <a:lnTo>
                  <a:pt x="4288" y="715"/>
                </a:lnTo>
                <a:lnTo>
                  <a:pt x="4250" y="719"/>
                </a:lnTo>
                <a:lnTo>
                  <a:pt x="4250" y="719"/>
                </a:lnTo>
                <a:lnTo>
                  <a:pt x="4226" y="719"/>
                </a:lnTo>
                <a:lnTo>
                  <a:pt x="4218" y="721"/>
                </a:lnTo>
                <a:lnTo>
                  <a:pt x="4222" y="719"/>
                </a:lnTo>
                <a:lnTo>
                  <a:pt x="4222" y="719"/>
                </a:lnTo>
                <a:lnTo>
                  <a:pt x="4374" y="703"/>
                </a:lnTo>
                <a:lnTo>
                  <a:pt x="4356" y="705"/>
                </a:lnTo>
                <a:lnTo>
                  <a:pt x="4356" y="705"/>
                </a:lnTo>
                <a:lnTo>
                  <a:pt x="4431" y="697"/>
                </a:lnTo>
                <a:lnTo>
                  <a:pt x="4431" y="697"/>
                </a:lnTo>
                <a:lnTo>
                  <a:pt x="4447" y="695"/>
                </a:lnTo>
                <a:lnTo>
                  <a:pt x="4435" y="697"/>
                </a:lnTo>
                <a:lnTo>
                  <a:pt x="4419" y="699"/>
                </a:lnTo>
                <a:lnTo>
                  <a:pt x="4425" y="699"/>
                </a:lnTo>
                <a:lnTo>
                  <a:pt x="4425" y="699"/>
                </a:lnTo>
                <a:lnTo>
                  <a:pt x="4386" y="705"/>
                </a:lnTo>
                <a:lnTo>
                  <a:pt x="4362" y="707"/>
                </a:lnTo>
                <a:lnTo>
                  <a:pt x="4394" y="707"/>
                </a:lnTo>
                <a:lnTo>
                  <a:pt x="4394" y="707"/>
                </a:lnTo>
                <a:lnTo>
                  <a:pt x="4437" y="701"/>
                </a:lnTo>
                <a:lnTo>
                  <a:pt x="4473" y="699"/>
                </a:lnTo>
                <a:lnTo>
                  <a:pt x="4453" y="701"/>
                </a:lnTo>
                <a:lnTo>
                  <a:pt x="4453" y="701"/>
                </a:lnTo>
                <a:lnTo>
                  <a:pt x="4467" y="699"/>
                </a:lnTo>
                <a:lnTo>
                  <a:pt x="4485" y="697"/>
                </a:lnTo>
                <a:lnTo>
                  <a:pt x="4471" y="697"/>
                </a:lnTo>
                <a:lnTo>
                  <a:pt x="4471" y="697"/>
                </a:lnTo>
                <a:lnTo>
                  <a:pt x="4431" y="701"/>
                </a:lnTo>
                <a:lnTo>
                  <a:pt x="4398" y="703"/>
                </a:lnTo>
                <a:lnTo>
                  <a:pt x="4398" y="703"/>
                </a:lnTo>
                <a:lnTo>
                  <a:pt x="4447" y="697"/>
                </a:lnTo>
                <a:lnTo>
                  <a:pt x="4505" y="691"/>
                </a:lnTo>
                <a:lnTo>
                  <a:pt x="4505" y="691"/>
                </a:lnTo>
                <a:lnTo>
                  <a:pt x="4499" y="691"/>
                </a:lnTo>
                <a:lnTo>
                  <a:pt x="4485" y="693"/>
                </a:lnTo>
                <a:lnTo>
                  <a:pt x="4485" y="693"/>
                </a:lnTo>
                <a:lnTo>
                  <a:pt x="4521" y="689"/>
                </a:lnTo>
                <a:lnTo>
                  <a:pt x="4567" y="685"/>
                </a:lnTo>
                <a:lnTo>
                  <a:pt x="4567" y="685"/>
                </a:lnTo>
                <a:lnTo>
                  <a:pt x="4535" y="689"/>
                </a:lnTo>
                <a:lnTo>
                  <a:pt x="4529" y="691"/>
                </a:lnTo>
                <a:lnTo>
                  <a:pt x="4539" y="691"/>
                </a:lnTo>
                <a:lnTo>
                  <a:pt x="4559" y="687"/>
                </a:lnTo>
                <a:lnTo>
                  <a:pt x="4559" y="687"/>
                </a:lnTo>
                <a:lnTo>
                  <a:pt x="4575" y="685"/>
                </a:lnTo>
                <a:lnTo>
                  <a:pt x="4575" y="685"/>
                </a:lnTo>
                <a:lnTo>
                  <a:pt x="4585" y="685"/>
                </a:lnTo>
                <a:lnTo>
                  <a:pt x="4587" y="685"/>
                </a:lnTo>
                <a:lnTo>
                  <a:pt x="4607" y="681"/>
                </a:lnTo>
                <a:lnTo>
                  <a:pt x="4607" y="681"/>
                </a:lnTo>
                <a:lnTo>
                  <a:pt x="4619" y="681"/>
                </a:lnTo>
                <a:lnTo>
                  <a:pt x="4619" y="681"/>
                </a:lnTo>
                <a:lnTo>
                  <a:pt x="4651" y="677"/>
                </a:lnTo>
                <a:lnTo>
                  <a:pt x="4681" y="675"/>
                </a:lnTo>
                <a:lnTo>
                  <a:pt x="4681" y="675"/>
                </a:lnTo>
                <a:lnTo>
                  <a:pt x="4659" y="675"/>
                </a:lnTo>
                <a:lnTo>
                  <a:pt x="4653" y="675"/>
                </a:lnTo>
                <a:lnTo>
                  <a:pt x="4659" y="675"/>
                </a:lnTo>
                <a:lnTo>
                  <a:pt x="4679" y="671"/>
                </a:lnTo>
                <a:lnTo>
                  <a:pt x="4679" y="671"/>
                </a:lnTo>
                <a:lnTo>
                  <a:pt x="4749" y="665"/>
                </a:lnTo>
                <a:lnTo>
                  <a:pt x="4805" y="659"/>
                </a:lnTo>
                <a:lnTo>
                  <a:pt x="4827" y="657"/>
                </a:lnTo>
                <a:lnTo>
                  <a:pt x="4827" y="657"/>
                </a:lnTo>
                <a:lnTo>
                  <a:pt x="4825" y="657"/>
                </a:lnTo>
                <a:lnTo>
                  <a:pt x="4827" y="657"/>
                </a:lnTo>
                <a:lnTo>
                  <a:pt x="4842" y="657"/>
                </a:lnTo>
                <a:lnTo>
                  <a:pt x="4878" y="653"/>
                </a:lnTo>
                <a:lnTo>
                  <a:pt x="4878" y="653"/>
                </a:lnTo>
                <a:lnTo>
                  <a:pt x="4870" y="655"/>
                </a:lnTo>
                <a:lnTo>
                  <a:pt x="4842" y="657"/>
                </a:lnTo>
                <a:lnTo>
                  <a:pt x="4813" y="661"/>
                </a:lnTo>
                <a:lnTo>
                  <a:pt x="4799" y="663"/>
                </a:lnTo>
                <a:lnTo>
                  <a:pt x="4799" y="663"/>
                </a:lnTo>
                <a:lnTo>
                  <a:pt x="4821" y="661"/>
                </a:lnTo>
                <a:lnTo>
                  <a:pt x="4807" y="663"/>
                </a:lnTo>
                <a:lnTo>
                  <a:pt x="4807" y="663"/>
                </a:lnTo>
                <a:lnTo>
                  <a:pt x="4827" y="661"/>
                </a:lnTo>
                <a:lnTo>
                  <a:pt x="4832" y="661"/>
                </a:lnTo>
                <a:lnTo>
                  <a:pt x="4832" y="659"/>
                </a:lnTo>
                <a:lnTo>
                  <a:pt x="4838" y="657"/>
                </a:lnTo>
                <a:lnTo>
                  <a:pt x="4838" y="657"/>
                </a:lnTo>
                <a:lnTo>
                  <a:pt x="4868" y="655"/>
                </a:lnTo>
                <a:lnTo>
                  <a:pt x="4884" y="655"/>
                </a:lnTo>
                <a:lnTo>
                  <a:pt x="4886" y="655"/>
                </a:lnTo>
                <a:lnTo>
                  <a:pt x="4880" y="655"/>
                </a:lnTo>
                <a:lnTo>
                  <a:pt x="4880" y="655"/>
                </a:lnTo>
                <a:lnTo>
                  <a:pt x="4914" y="651"/>
                </a:lnTo>
                <a:lnTo>
                  <a:pt x="4942" y="647"/>
                </a:lnTo>
                <a:lnTo>
                  <a:pt x="4942" y="647"/>
                </a:lnTo>
                <a:lnTo>
                  <a:pt x="4936" y="649"/>
                </a:lnTo>
                <a:lnTo>
                  <a:pt x="4936" y="651"/>
                </a:lnTo>
                <a:lnTo>
                  <a:pt x="4936" y="651"/>
                </a:lnTo>
                <a:lnTo>
                  <a:pt x="4936" y="651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74" y="647"/>
                </a:lnTo>
                <a:lnTo>
                  <a:pt x="4958" y="647"/>
                </a:lnTo>
                <a:lnTo>
                  <a:pt x="4958" y="647"/>
                </a:lnTo>
                <a:lnTo>
                  <a:pt x="4994" y="643"/>
                </a:lnTo>
                <a:lnTo>
                  <a:pt x="5022" y="641"/>
                </a:lnTo>
                <a:lnTo>
                  <a:pt x="5022" y="641"/>
                </a:lnTo>
                <a:lnTo>
                  <a:pt x="5056" y="637"/>
                </a:lnTo>
                <a:lnTo>
                  <a:pt x="5110" y="633"/>
                </a:lnTo>
                <a:lnTo>
                  <a:pt x="5110" y="633"/>
                </a:lnTo>
                <a:lnTo>
                  <a:pt x="5100" y="631"/>
                </a:lnTo>
                <a:lnTo>
                  <a:pt x="5080" y="635"/>
                </a:lnTo>
                <a:lnTo>
                  <a:pt x="5060" y="637"/>
                </a:lnTo>
                <a:lnTo>
                  <a:pt x="5046" y="637"/>
                </a:lnTo>
                <a:lnTo>
                  <a:pt x="5046" y="637"/>
                </a:lnTo>
                <a:lnTo>
                  <a:pt x="5134" y="627"/>
                </a:lnTo>
                <a:lnTo>
                  <a:pt x="5238" y="615"/>
                </a:lnTo>
                <a:lnTo>
                  <a:pt x="5238" y="615"/>
                </a:lnTo>
                <a:lnTo>
                  <a:pt x="5263" y="613"/>
                </a:lnTo>
                <a:lnTo>
                  <a:pt x="5263" y="613"/>
                </a:lnTo>
                <a:lnTo>
                  <a:pt x="5261" y="615"/>
                </a:lnTo>
                <a:lnTo>
                  <a:pt x="5251" y="617"/>
                </a:lnTo>
                <a:lnTo>
                  <a:pt x="5249" y="617"/>
                </a:lnTo>
                <a:lnTo>
                  <a:pt x="5251" y="617"/>
                </a:lnTo>
                <a:lnTo>
                  <a:pt x="5251" y="617"/>
                </a:lnTo>
                <a:lnTo>
                  <a:pt x="5144" y="629"/>
                </a:lnTo>
                <a:lnTo>
                  <a:pt x="5144" y="629"/>
                </a:lnTo>
                <a:lnTo>
                  <a:pt x="5228" y="619"/>
                </a:lnTo>
                <a:lnTo>
                  <a:pt x="5305" y="611"/>
                </a:lnTo>
                <a:lnTo>
                  <a:pt x="5305" y="611"/>
                </a:lnTo>
                <a:lnTo>
                  <a:pt x="5337" y="609"/>
                </a:lnTo>
                <a:lnTo>
                  <a:pt x="5361" y="607"/>
                </a:lnTo>
                <a:lnTo>
                  <a:pt x="5387" y="605"/>
                </a:lnTo>
                <a:lnTo>
                  <a:pt x="5425" y="601"/>
                </a:lnTo>
                <a:lnTo>
                  <a:pt x="5425" y="601"/>
                </a:lnTo>
                <a:lnTo>
                  <a:pt x="5415" y="601"/>
                </a:lnTo>
                <a:lnTo>
                  <a:pt x="5397" y="601"/>
                </a:lnTo>
                <a:lnTo>
                  <a:pt x="5397" y="601"/>
                </a:lnTo>
                <a:lnTo>
                  <a:pt x="5451" y="597"/>
                </a:lnTo>
                <a:lnTo>
                  <a:pt x="5451" y="597"/>
                </a:lnTo>
                <a:lnTo>
                  <a:pt x="5453" y="595"/>
                </a:lnTo>
                <a:lnTo>
                  <a:pt x="5453" y="595"/>
                </a:lnTo>
                <a:lnTo>
                  <a:pt x="5445" y="597"/>
                </a:lnTo>
                <a:lnTo>
                  <a:pt x="5439" y="597"/>
                </a:lnTo>
                <a:lnTo>
                  <a:pt x="5449" y="595"/>
                </a:lnTo>
                <a:lnTo>
                  <a:pt x="5449" y="595"/>
                </a:lnTo>
                <a:lnTo>
                  <a:pt x="5467" y="593"/>
                </a:lnTo>
                <a:lnTo>
                  <a:pt x="5475" y="593"/>
                </a:lnTo>
                <a:lnTo>
                  <a:pt x="5471" y="593"/>
                </a:lnTo>
                <a:lnTo>
                  <a:pt x="5471" y="593"/>
                </a:lnTo>
                <a:lnTo>
                  <a:pt x="5503" y="591"/>
                </a:lnTo>
                <a:lnTo>
                  <a:pt x="5521" y="589"/>
                </a:lnTo>
                <a:lnTo>
                  <a:pt x="5537" y="587"/>
                </a:lnTo>
                <a:lnTo>
                  <a:pt x="5565" y="585"/>
                </a:lnTo>
                <a:lnTo>
                  <a:pt x="5565" y="585"/>
                </a:lnTo>
                <a:lnTo>
                  <a:pt x="5537" y="587"/>
                </a:lnTo>
                <a:lnTo>
                  <a:pt x="5537" y="587"/>
                </a:lnTo>
                <a:lnTo>
                  <a:pt x="5535" y="587"/>
                </a:lnTo>
                <a:lnTo>
                  <a:pt x="5537" y="587"/>
                </a:lnTo>
                <a:lnTo>
                  <a:pt x="5547" y="585"/>
                </a:lnTo>
                <a:lnTo>
                  <a:pt x="5583" y="579"/>
                </a:lnTo>
                <a:lnTo>
                  <a:pt x="5583" y="579"/>
                </a:lnTo>
                <a:lnTo>
                  <a:pt x="5593" y="579"/>
                </a:lnTo>
                <a:lnTo>
                  <a:pt x="5619" y="575"/>
                </a:lnTo>
                <a:lnTo>
                  <a:pt x="5619" y="575"/>
                </a:lnTo>
                <a:lnTo>
                  <a:pt x="5621" y="575"/>
                </a:lnTo>
                <a:lnTo>
                  <a:pt x="5617" y="577"/>
                </a:lnTo>
                <a:lnTo>
                  <a:pt x="5603" y="579"/>
                </a:lnTo>
                <a:lnTo>
                  <a:pt x="5571" y="583"/>
                </a:lnTo>
                <a:lnTo>
                  <a:pt x="5615" y="577"/>
                </a:lnTo>
                <a:lnTo>
                  <a:pt x="5607" y="579"/>
                </a:lnTo>
                <a:lnTo>
                  <a:pt x="5655" y="571"/>
                </a:lnTo>
                <a:lnTo>
                  <a:pt x="5655" y="571"/>
                </a:lnTo>
                <a:lnTo>
                  <a:pt x="5639" y="573"/>
                </a:lnTo>
                <a:lnTo>
                  <a:pt x="5637" y="573"/>
                </a:lnTo>
                <a:lnTo>
                  <a:pt x="5655" y="571"/>
                </a:lnTo>
                <a:lnTo>
                  <a:pt x="5655" y="571"/>
                </a:lnTo>
                <a:lnTo>
                  <a:pt x="5702" y="565"/>
                </a:lnTo>
                <a:lnTo>
                  <a:pt x="5716" y="565"/>
                </a:lnTo>
                <a:lnTo>
                  <a:pt x="5720" y="565"/>
                </a:lnTo>
                <a:lnTo>
                  <a:pt x="5720" y="565"/>
                </a:lnTo>
                <a:lnTo>
                  <a:pt x="5748" y="561"/>
                </a:lnTo>
                <a:lnTo>
                  <a:pt x="5798" y="555"/>
                </a:lnTo>
                <a:lnTo>
                  <a:pt x="5798" y="555"/>
                </a:lnTo>
                <a:lnTo>
                  <a:pt x="5782" y="555"/>
                </a:lnTo>
                <a:lnTo>
                  <a:pt x="5784" y="555"/>
                </a:lnTo>
                <a:lnTo>
                  <a:pt x="5802" y="551"/>
                </a:lnTo>
                <a:lnTo>
                  <a:pt x="5852" y="547"/>
                </a:lnTo>
                <a:lnTo>
                  <a:pt x="5852" y="547"/>
                </a:lnTo>
                <a:lnTo>
                  <a:pt x="5832" y="551"/>
                </a:lnTo>
                <a:lnTo>
                  <a:pt x="5836" y="551"/>
                </a:lnTo>
                <a:lnTo>
                  <a:pt x="5850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52" y="549"/>
                </a:lnTo>
                <a:lnTo>
                  <a:pt x="5818" y="555"/>
                </a:lnTo>
                <a:lnTo>
                  <a:pt x="5776" y="559"/>
                </a:lnTo>
                <a:lnTo>
                  <a:pt x="5776" y="559"/>
                </a:lnTo>
                <a:lnTo>
                  <a:pt x="5812" y="555"/>
                </a:lnTo>
                <a:lnTo>
                  <a:pt x="5842" y="551"/>
                </a:lnTo>
                <a:lnTo>
                  <a:pt x="5868" y="547"/>
                </a:lnTo>
                <a:lnTo>
                  <a:pt x="5900" y="545"/>
                </a:lnTo>
                <a:lnTo>
                  <a:pt x="5900" y="545"/>
                </a:lnTo>
                <a:lnTo>
                  <a:pt x="5896" y="545"/>
                </a:lnTo>
                <a:lnTo>
                  <a:pt x="5876" y="549"/>
                </a:lnTo>
                <a:lnTo>
                  <a:pt x="5876" y="549"/>
                </a:lnTo>
                <a:lnTo>
                  <a:pt x="5904" y="545"/>
                </a:lnTo>
                <a:lnTo>
                  <a:pt x="5950" y="539"/>
                </a:lnTo>
                <a:lnTo>
                  <a:pt x="5950" y="539"/>
                </a:lnTo>
                <a:lnTo>
                  <a:pt x="5938" y="539"/>
                </a:lnTo>
                <a:lnTo>
                  <a:pt x="5940" y="539"/>
                </a:lnTo>
                <a:lnTo>
                  <a:pt x="5954" y="535"/>
                </a:lnTo>
                <a:lnTo>
                  <a:pt x="5996" y="533"/>
                </a:lnTo>
                <a:lnTo>
                  <a:pt x="5996" y="533"/>
                </a:lnTo>
                <a:lnTo>
                  <a:pt x="6020" y="529"/>
                </a:lnTo>
                <a:lnTo>
                  <a:pt x="6028" y="527"/>
                </a:lnTo>
                <a:lnTo>
                  <a:pt x="6034" y="525"/>
                </a:lnTo>
                <a:lnTo>
                  <a:pt x="6052" y="523"/>
                </a:lnTo>
                <a:lnTo>
                  <a:pt x="6026" y="525"/>
                </a:lnTo>
                <a:lnTo>
                  <a:pt x="6026" y="525"/>
                </a:lnTo>
                <a:lnTo>
                  <a:pt x="6054" y="521"/>
                </a:lnTo>
                <a:lnTo>
                  <a:pt x="6082" y="515"/>
                </a:lnTo>
                <a:lnTo>
                  <a:pt x="6082" y="515"/>
                </a:lnTo>
                <a:lnTo>
                  <a:pt x="6016" y="525"/>
                </a:lnTo>
                <a:lnTo>
                  <a:pt x="6016" y="525"/>
                </a:lnTo>
                <a:lnTo>
                  <a:pt x="6016" y="525"/>
                </a:lnTo>
                <a:lnTo>
                  <a:pt x="6018" y="525"/>
                </a:lnTo>
                <a:lnTo>
                  <a:pt x="6032" y="523"/>
                </a:lnTo>
                <a:lnTo>
                  <a:pt x="6064" y="517"/>
                </a:lnTo>
                <a:lnTo>
                  <a:pt x="6064" y="517"/>
                </a:lnTo>
                <a:lnTo>
                  <a:pt x="6149" y="509"/>
                </a:lnTo>
                <a:lnTo>
                  <a:pt x="6149" y="509"/>
                </a:lnTo>
                <a:lnTo>
                  <a:pt x="6139" y="511"/>
                </a:lnTo>
                <a:lnTo>
                  <a:pt x="6117" y="515"/>
                </a:lnTo>
                <a:lnTo>
                  <a:pt x="6097" y="519"/>
                </a:lnTo>
                <a:lnTo>
                  <a:pt x="6091" y="521"/>
                </a:lnTo>
                <a:lnTo>
                  <a:pt x="6091" y="521"/>
                </a:lnTo>
                <a:lnTo>
                  <a:pt x="6091" y="523"/>
                </a:lnTo>
                <a:lnTo>
                  <a:pt x="6091" y="523"/>
                </a:lnTo>
                <a:lnTo>
                  <a:pt x="6255" y="499"/>
                </a:lnTo>
                <a:lnTo>
                  <a:pt x="6255" y="499"/>
                </a:lnTo>
                <a:lnTo>
                  <a:pt x="6291" y="493"/>
                </a:lnTo>
                <a:lnTo>
                  <a:pt x="6293" y="491"/>
                </a:lnTo>
                <a:lnTo>
                  <a:pt x="6293" y="491"/>
                </a:lnTo>
                <a:lnTo>
                  <a:pt x="6289" y="491"/>
                </a:lnTo>
                <a:lnTo>
                  <a:pt x="6289" y="491"/>
                </a:lnTo>
                <a:lnTo>
                  <a:pt x="6331" y="485"/>
                </a:lnTo>
                <a:lnTo>
                  <a:pt x="6309" y="489"/>
                </a:lnTo>
                <a:lnTo>
                  <a:pt x="6459" y="465"/>
                </a:lnTo>
                <a:lnTo>
                  <a:pt x="6459" y="465"/>
                </a:lnTo>
                <a:lnTo>
                  <a:pt x="6481" y="459"/>
                </a:lnTo>
                <a:lnTo>
                  <a:pt x="6471" y="459"/>
                </a:lnTo>
                <a:lnTo>
                  <a:pt x="6510" y="453"/>
                </a:lnTo>
                <a:lnTo>
                  <a:pt x="6503" y="453"/>
                </a:lnTo>
                <a:lnTo>
                  <a:pt x="6503" y="453"/>
                </a:lnTo>
                <a:lnTo>
                  <a:pt x="6530" y="449"/>
                </a:lnTo>
                <a:lnTo>
                  <a:pt x="6570" y="441"/>
                </a:lnTo>
                <a:lnTo>
                  <a:pt x="6570" y="441"/>
                </a:lnTo>
                <a:lnTo>
                  <a:pt x="6556" y="445"/>
                </a:lnTo>
                <a:lnTo>
                  <a:pt x="6556" y="445"/>
                </a:lnTo>
                <a:lnTo>
                  <a:pt x="6628" y="433"/>
                </a:lnTo>
                <a:lnTo>
                  <a:pt x="6628" y="433"/>
                </a:lnTo>
                <a:lnTo>
                  <a:pt x="6618" y="435"/>
                </a:lnTo>
                <a:lnTo>
                  <a:pt x="6588" y="441"/>
                </a:lnTo>
                <a:lnTo>
                  <a:pt x="6588" y="441"/>
                </a:lnTo>
                <a:lnTo>
                  <a:pt x="6584" y="441"/>
                </a:lnTo>
                <a:lnTo>
                  <a:pt x="6540" y="449"/>
                </a:lnTo>
                <a:lnTo>
                  <a:pt x="6540" y="449"/>
                </a:lnTo>
                <a:lnTo>
                  <a:pt x="6600" y="439"/>
                </a:lnTo>
                <a:lnTo>
                  <a:pt x="6616" y="439"/>
                </a:lnTo>
                <a:lnTo>
                  <a:pt x="6620" y="439"/>
                </a:lnTo>
                <a:lnTo>
                  <a:pt x="6620" y="439"/>
                </a:lnTo>
                <a:lnTo>
                  <a:pt x="6636" y="435"/>
                </a:lnTo>
                <a:lnTo>
                  <a:pt x="6626" y="437"/>
                </a:lnTo>
                <a:lnTo>
                  <a:pt x="6618" y="437"/>
                </a:lnTo>
                <a:lnTo>
                  <a:pt x="6638" y="433"/>
                </a:lnTo>
                <a:lnTo>
                  <a:pt x="6638" y="433"/>
                </a:lnTo>
                <a:lnTo>
                  <a:pt x="6696" y="423"/>
                </a:lnTo>
                <a:lnTo>
                  <a:pt x="6750" y="415"/>
                </a:lnTo>
                <a:lnTo>
                  <a:pt x="6796" y="405"/>
                </a:lnTo>
                <a:lnTo>
                  <a:pt x="6834" y="401"/>
                </a:lnTo>
                <a:lnTo>
                  <a:pt x="6834" y="401"/>
                </a:lnTo>
                <a:lnTo>
                  <a:pt x="6971" y="369"/>
                </a:lnTo>
                <a:lnTo>
                  <a:pt x="6971" y="369"/>
                </a:lnTo>
                <a:lnTo>
                  <a:pt x="6989" y="365"/>
                </a:lnTo>
                <a:lnTo>
                  <a:pt x="7001" y="363"/>
                </a:lnTo>
                <a:lnTo>
                  <a:pt x="7005" y="361"/>
                </a:lnTo>
                <a:lnTo>
                  <a:pt x="7003" y="361"/>
                </a:lnTo>
                <a:lnTo>
                  <a:pt x="7003" y="361"/>
                </a:lnTo>
                <a:lnTo>
                  <a:pt x="6965" y="369"/>
                </a:lnTo>
                <a:lnTo>
                  <a:pt x="6926" y="377"/>
                </a:lnTo>
                <a:lnTo>
                  <a:pt x="6890" y="385"/>
                </a:lnTo>
                <a:lnTo>
                  <a:pt x="6858" y="391"/>
                </a:lnTo>
                <a:lnTo>
                  <a:pt x="6858" y="391"/>
                </a:lnTo>
                <a:lnTo>
                  <a:pt x="6838" y="395"/>
                </a:lnTo>
                <a:lnTo>
                  <a:pt x="6830" y="399"/>
                </a:lnTo>
                <a:lnTo>
                  <a:pt x="6830" y="399"/>
                </a:lnTo>
                <a:lnTo>
                  <a:pt x="6786" y="407"/>
                </a:lnTo>
                <a:lnTo>
                  <a:pt x="6786" y="407"/>
                </a:lnTo>
                <a:lnTo>
                  <a:pt x="6810" y="401"/>
                </a:lnTo>
                <a:lnTo>
                  <a:pt x="6818" y="399"/>
                </a:lnTo>
                <a:lnTo>
                  <a:pt x="6830" y="395"/>
                </a:lnTo>
                <a:lnTo>
                  <a:pt x="6862" y="389"/>
                </a:lnTo>
                <a:lnTo>
                  <a:pt x="6862" y="389"/>
                </a:lnTo>
                <a:lnTo>
                  <a:pt x="6826" y="395"/>
                </a:lnTo>
                <a:lnTo>
                  <a:pt x="6778" y="403"/>
                </a:lnTo>
                <a:lnTo>
                  <a:pt x="6778" y="403"/>
                </a:lnTo>
                <a:lnTo>
                  <a:pt x="6782" y="403"/>
                </a:lnTo>
                <a:lnTo>
                  <a:pt x="6780" y="403"/>
                </a:lnTo>
                <a:lnTo>
                  <a:pt x="6764" y="405"/>
                </a:lnTo>
                <a:lnTo>
                  <a:pt x="6764" y="405"/>
                </a:lnTo>
                <a:lnTo>
                  <a:pt x="6834" y="387"/>
                </a:lnTo>
                <a:lnTo>
                  <a:pt x="6834" y="387"/>
                </a:lnTo>
                <a:lnTo>
                  <a:pt x="6832" y="389"/>
                </a:lnTo>
                <a:lnTo>
                  <a:pt x="6834" y="389"/>
                </a:lnTo>
                <a:lnTo>
                  <a:pt x="6836" y="389"/>
                </a:lnTo>
                <a:lnTo>
                  <a:pt x="6836" y="389"/>
                </a:lnTo>
                <a:lnTo>
                  <a:pt x="6902" y="373"/>
                </a:lnTo>
                <a:lnTo>
                  <a:pt x="6902" y="373"/>
                </a:lnTo>
                <a:lnTo>
                  <a:pt x="6922" y="371"/>
                </a:lnTo>
                <a:lnTo>
                  <a:pt x="6922" y="371"/>
                </a:lnTo>
                <a:lnTo>
                  <a:pt x="6918" y="373"/>
                </a:lnTo>
                <a:lnTo>
                  <a:pt x="6918" y="373"/>
                </a:lnTo>
                <a:lnTo>
                  <a:pt x="6981" y="359"/>
                </a:lnTo>
                <a:lnTo>
                  <a:pt x="7007" y="355"/>
                </a:lnTo>
                <a:lnTo>
                  <a:pt x="7017" y="353"/>
                </a:lnTo>
                <a:lnTo>
                  <a:pt x="7017" y="353"/>
                </a:lnTo>
                <a:lnTo>
                  <a:pt x="7035" y="349"/>
                </a:lnTo>
                <a:lnTo>
                  <a:pt x="7027" y="349"/>
                </a:lnTo>
                <a:lnTo>
                  <a:pt x="6999" y="355"/>
                </a:lnTo>
                <a:lnTo>
                  <a:pt x="7003" y="355"/>
                </a:lnTo>
                <a:lnTo>
                  <a:pt x="6953" y="365"/>
                </a:lnTo>
                <a:lnTo>
                  <a:pt x="6953" y="365"/>
                </a:lnTo>
                <a:lnTo>
                  <a:pt x="6959" y="363"/>
                </a:lnTo>
                <a:lnTo>
                  <a:pt x="6979" y="359"/>
                </a:lnTo>
                <a:lnTo>
                  <a:pt x="7003" y="353"/>
                </a:lnTo>
                <a:lnTo>
                  <a:pt x="7017" y="349"/>
                </a:lnTo>
                <a:lnTo>
                  <a:pt x="7017" y="349"/>
                </a:lnTo>
                <a:lnTo>
                  <a:pt x="7021" y="347"/>
                </a:lnTo>
                <a:lnTo>
                  <a:pt x="7031" y="345"/>
                </a:lnTo>
                <a:lnTo>
                  <a:pt x="7059" y="339"/>
                </a:lnTo>
                <a:lnTo>
                  <a:pt x="7093" y="333"/>
                </a:lnTo>
                <a:lnTo>
                  <a:pt x="7123" y="327"/>
                </a:lnTo>
                <a:lnTo>
                  <a:pt x="7083" y="339"/>
                </a:lnTo>
                <a:lnTo>
                  <a:pt x="7119" y="331"/>
                </a:lnTo>
                <a:lnTo>
                  <a:pt x="7119" y="331"/>
                </a:lnTo>
                <a:lnTo>
                  <a:pt x="7097" y="337"/>
                </a:lnTo>
                <a:lnTo>
                  <a:pt x="7067" y="347"/>
                </a:lnTo>
                <a:lnTo>
                  <a:pt x="7067" y="347"/>
                </a:lnTo>
                <a:lnTo>
                  <a:pt x="7149" y="329"/>
                </a:lnTo>
                <a:lnTo>
                  <a:pt x="7217" y="313"/>
                </a:lnTo>
                <a:lnTo>
                  <a:pt x="7217" y="313"/>
                </a:lnTo>
                <a:lnTo>
                  <a:pt x="7231" y="311"/>
                </a:lnTo>
                <a:lnTo>
                  <a:pt x="7231" y="311"/>
                </a:lnTo>
                <a:lnTo>
                  <a:pt x="7229" y="313"/>
                </a:lnTo>
                <a:lnTo>
                  <a:pt x="7229" y="313"/>
                </a:lnTo>
                <a:lnTo>
                  <a:pt x="7263" y="305"/>
                </a:lnTo>
                <a:lnTo>
                  <a:pt x="7291" y="299"/>
                </a:lnTo>
                <a:lnTo>
                  <a:pt x="7347" y="286"/>
                </a:lnTo>
                <a:lnTo>
                  <a:pt x="7347" y="286"/>
                </a:lnTo>
                <a:lnTo>
                  <a:pt x="7362" y="282"/>
                </a:lnTo>
                <a:lnTo>
                  <a:pt x="7347" y="284"/>
                </a:lnTo>
                <a:lnTo>
                  <a:pt x="7329" y="288"/>
                </a:lnTo>
                <a:lnTo>
                  <a:pt x="7329" y="288"/>
                </a:lnTo>
                <a:lnTo>
                  <a:pt x="7335" y="286"/>
                </a:lnTo>
                <a:lnTo>
                  <a:pt x="7335" y="286"/>
                </a:lnTo>
                <a:lnTo>
                  <a:pt x="7362" y="280"/>
                </a:lnTo>
                <a:lnTo>
                  <a:pt x="7386" y="272"/>
                </a:lnTo>
                <a:lnTo>
                  <a:pt x="7386" y="272"/>
                </a:lnTo>
                <a:lnTo>
                  <a:pt x="7291" y="294"/>
                </a:lnTo>
                <a:lnTo>
                  <a:pt x="7291" y="294"/>
                </a:lnTo>
                <a:lnTo>
                  <a:pt x="7311" y="288"/>
                </a:lnTo>
                <a:lnTo>
                  <a:pt x="7319" y="286"/>
                </a:lnTo>
                <a:lnTo>
                  <a:pt x="7279" y="294"/>
                </a:lnTo>
                <a:lnTo>
                  <a:pt x="7279" y="294"/>
                </a:lnTo>
                <a:lnTo>
                  <a:pt x="7287" y="292"/>
                </a:lnTo>
                <a:lnTo>
                  <a:pt x="7307" y="288"/>
                </a:lnTo>
                <a:lnTo>
                  <a:pt x="7347" y="278"/>
                </a:lnTo>
                <a:lnTo>
                  <a:pt x="7347" y="278"/>
                </a:lnTo>
                <a:lnTo>
                  <a:pt x="7331" y="284"/>
                </a:lnTo>
                <a:lnTo>
                  <a:pt x="7331" y="284"/>
                </a:lnTo>
                <a:lnTo>
                  <a:pt x="7392" y="270"/>
                </a:lnTo>
                <a:lnTo>
                  <a:pt x="7450" y="256"/>
                </a:lnTo>
                <a:lnTo>
                  <a:pt x="7450" y="256"/>
                </a:lnTo>
                <a:lnTo>
                  <a:pt x="7454" y="256"/>
                </a:lnTo>
                <a:lnTo>
                  <a:pt x="7448" y="258"/>
                </a:lnTo>
                <a:lnTo>
                  <a:pt x="7426" y="264"/>
                </a:lnTo>
                <a:lnTo>
                  <a:pt x="7426" y="264"/>
                </a:lnTo>
                <a:lnTo>
                  <a:pt x="7446" y="258"/>
                </a:lnTo>
                <a:lnTo>
                  <a:pt x="7468" y="254"/>
                </a:lnTo>
                <a:lnTo>
                  <a:pt x="7468" y="254"/>
                </a:lnTo>
                <a:lnTo>
                  <a:pt x="7454" y="258"/>
                </a:lnTo>
                <a:lnTo>
                  <a:pt x="7434" y="262"/>
                </a:lnTo>
                <a:lnTo>
                  <a:pt x="7536" y="238"/>
                </a:lnTo>
                <a:lnTo>
                  <a:pt x="7536" y="238"/>
                </a:lnTo>
                <a:lnTo>
                  <a:pt x="7494" y="248"/>
                </a:lnTo>
                <a:lnTo>
                  <a:pt x="7494" y="248"/>
                </a:lnTo>
                <a:lnTo>
                  <a:pt x="7538" y="238"/>
                </a:lnTo>
                <a:lnTo>
                  <a:pt x="7584" y="224"/>
                </a:lnTo>
                <a:lnTo>
                  <a:pt x="7584" y="224"/>
                </a:lnTo>
                <a:lnTo>
                  <a:pt x="7634" y="212"/>
                </a:lnTo>
                <a:lnTo>
                  <a:pt x="7648" y="210"/>
                </a:lnTo>
                <a:lnTo>
                  <a:pt x="7650" y="210"/>
                </a:lnTo>
                <a:lnTo>
                  <a:pt x="7648" y="210"/>
                </a:lnTo>
                <a:lnTo>
                  <a:pt x="7648" y="210"/>
                </a:lnTo>
                <a:lnTo>
                  <a:pt x="7658" y="208"/>
                </a:lnTo>
                <a:lnTo>
                  <a:pt x="7654" y="208"/>
                </a:lnTo>
                <a:lnTo>
                  <a:pt x="7654" y="208"/>
                </a:lnTo>
                <a:lnTo>
                  <a:pt x="7700" y="194"/>
                </a:lnTo>
                <a:lnTo>
                  <a:pt x="7734" y="184"/>
                </a:lnTo>
                <a:lnTo>
                  <a:pt x="7712" y="190"/>
                </a:lnTo>
                <a:lnTo>
                  <a:pt x="7712" y="190"/>
                </a:lnTo>
                <a:lnTo>
                  <a:pt x="7734" y="184"/>
                </a:lnTo>
                <a:lnTo>
                  <a:pt x="7740" y="182"/>
                </a:lnTo>
                <a:lnTo>
                  <a:pt x="7744" y="180"/>
                </a:lnTo>
                <a:lnTo>
                  <a:pt x="7762" y="174"/>
                </a:lnTo>
                <a:lnTo>
                  <a:pt x="7762" y="174"/>
                </a:lnTo>
                <a:lnTo>
                  <a:pt x="7760" y="176"/>
                </a:lnTo>
                <a:lnTo>
                  <a:pt x="7760" y="178"/>
                </a:lnTo>
                <a:lnTo>
                  <a:pt x="7766" y="178"/>
                </a:lnTo>
                <a:lnTo>
                  <a:pt x="7766" y="178"/>
                </a:lnTo>
                <a:lnTo>
                  <a:pt x="7789" y="172"/>
                </a:lnTo>
                <a:lnTo>
                  <a:pt x="7817" y="164"/>
                </a:lnTo>
                <a:lnTo>
                  <a:pt x="7817" y="164"/>
                </a:lnTo>
                <a:lnTo>
                  <a:pt x="7815" y="164"/>
                </a:lnTo>
                <a:lnTo>
                  <a:pt x="7817" y="164"/>
                </a:lnTo>
                <a:lnTo>
                  <a:pt x="7827" y="160"/>
                </a:lnTo>
                <a:lnTo>
                  <a:pt x="7835" y="158"/>
                </a:lnTo>
                <a:lnTo>
                  <a:pt x="7825" y="160"/>
                </a:lnTo>
                <a:lnTo>
                  <a:pt x="7825" y="160"/>
                </a:lnTo>
                <a:lnTo>
                  <a:pt x="7875" y="148"/>
                </a:lnTo>
                <a:lnTo>
                  <a:pt x="7915" y="136"/>
                </a:lnTo>
                <a:lnTo>
                  <a:pt x="7915" y="136"/>
                </a:lnTo>
                <a:lnTo>
                  <a:pt x="7911" y="136"/>
                </a:lnTo>
                <a:lnTo>
                  <a:pt x="7923" y="132"/>
                </a:lnTo>
                <a:lnTo>
                  <a:pt x="7933" y="130"/>
                </a:lnTo>
                <a:lnTo>
                  <a:pt x="7935" y="128"/>
                </a:lnTo>
                <a:lnTo>
                  <a:pt x="7933" y="128"/>
                </a:lnTo>
                <a:lnTo>
                  <a:pt x="7933" y="128"/>
                </a:lnTo>
                <a:lnTo>
                  <a:pt x="7979" y="118"/>
                </a:lnTo>
                <a:lnTo>
                  <a:pt x="7989" y="116"/>
                </a:lnTo>
                <a:lnTo>
                  <a:pt x="7991" y="116"/>
                </a:lnTo>
                <a:lnTo>
                  <a:pt x="7989" y="116"/>
                </a:lnTo>
                <a:lnTo>
                  <a:pt x="7989" y="116"/>
                </a:lnTo>
                <a:lnTo>
                  <a:pt x="7965" y="122"/>
                </a:lnTo>
                <a:lnTo>
                  <a:pt x="7955" y="126"/>
                </a:lnTo>
                <a:lnTo>
                  <a:pt x="8027" y="108"/>
                </a:lnTo>
                <a:lnTo>
                  <a:pt x="8027" y="108"/>
                </a:lnTo>
                <a:lnTo>
                  <a:pt x="8053" y="100"/>
                </a:lnTo>
                <a:lnTo>
                  <a:pt x="8069" y="98"/>
                </a:lnTo>
                <a:lnTo>
                  <a:pt x="8069" y="98"/>
                </a:lnTo>
                <a:lnTo>
                  <a:pt x="8115" y="86"/>
                </a:lnTo>
                <a:lnTo>
                  <a:pt x="8137" y="80"/>
                </a:lnTo>
                <a:lnTo>
                  <a:pt x="8155" y="74"/>
                </a:lnTo>
                <a:lnTo>
                  <a:pt x="8155" y="74"/>
                </a:lnTo>
                <a:lnTo>
                  <a:pt x="8123" y="84"/>
                </a:lnTo>
                <a:lnTo>
                  <a:pt x="8101" y="88"/>
                </a:lnTo>
                <a:lnTo>
                  <a:pt x="8113" y="84"/>
                </a:lnTo>
                <a:lnTo>
                  <a:pt x="8107" y="86"/>
                </a:lnTo>
                <a:lnTo>
                  <a:pt x="8137" y="76"/>
                </a:lnTo>
                <a:lnTo>
                  <a:pt x="8137" y="76"/>
                </a:lnTo>
                <a:lnTo>
                  <a:pt x="8123" y="80"/>
                </a:lnTo>
                <a:lnTo>
                  <a:pt x="8119" y="82"/>
                </a:lnTo>
                <a:lnTo>
                  <a:pt x="8111" y="84"/>
                </a:lnTo>
                <a:lnTo>
                  <a:pt x="8091" y="90"/>
                </a:lnTo>
                <a:lnTo>
                  <a:pt x="8091" y="90"/>
                </a:lnTo>
                <a:lnTo>
                  <a:pt x="8083" y="90"/>
                </a:lnTo>
                <a:lnTo>
                  <a:pt x="8087" y="88"/>
                </a:lnTo>
                <a:lnTo>
                  <a:pt x="8113" y="80"/>
                </a:lnTo>
                <a:lnTo>
                  <a:pt x="8137" y="72"/>
                </a:lnTo>
                <a:lnTo>
                  <a:pt x="8141" y="72"/>
                </a:lnTo>
                <a:lnTo>
                  <a:pt x="8133" y="72"/>
                </a:lnTo>
                <a:lnTo>
                  <a:pt x="8133" y="72"/>
                </a:lnTo>
                <a:lnTo>
                  <a:pt x="8105" y="80"/>
                </a:lnTo>
                <a:lnTo>
                  <a:pt x="8083" y="88"/>
                </a:lnTo>
                <a:lnTo>
                  <a:pt x="8089" y="88"/>
                </a:lnTo>
                <a:lnTo>
                  <a:pt x="8033" y="104"/>
                </a:lnTo>
                <a:lnTo>
                  <a:pt x="8033" y="104"/>
                </a:lnTo>
                <a:lnTo>
                  <a:pt x="8039" y="100"/>
                </a:lnTo>
                <a:lnTo>
                  <a:pt x="8047" y="98"/>
                </a:lnTo>
                <a:lnTo>
                  <a:pt x="8047" y="98"/>
                </a:lnTo>
                <a:lnTo>
                  <a:pt x="7891" y="138"/>
                </a:lnTo>
                <a:lnTo>
                  <a:pt x="7891" y="138"/>
                </a:lnTo>
                <a:lnTo>
                  <a:pt x="7899" y="138"/>
                </a:lnTo>
                <a:lnTo>
                  <a:pt x="7895" y="140"/>
                </a:lnTo>
                <a:lnTo>
                  <a:pt x="7877" y="144"/>
                </a:lnTo>
                <a:lnTo>
                  <a:pt x="7877" y="144"/>
                </a:lnTo>
                <a:lnTo>
                  <a:pt x="7853" y="150"/>
                </a:lnTo>
                <a:lnTo>
                  <a:pt x="7831" y="156"/>
                </a:lnTo>
                <a:lnTo>
                  <a:pt x="7831" y="156"/>
                </a:lnTo>
                <a:lnTo>
                  <a:pt x="7849" y="150"/>
                </a:lnTo>
                <a:lnTo>
                  <a:pt x="7869" y="144"/>
                </a:lnTo>
                <a:lnTo>
                  <a:pt x="7867" y="144"/>
                </a:lnTo>
                <a:lnTo>
                  <a:pt x="7867" y="144"/>
                </a:lnTo>
                <a:lnTo>
                  <a:pt x="7911" y="130"/>
                </a:lnTo>
                <a:lnTo>
                  <a:pt x="7969" y="112"/>
                </a:lnTo>
                <a:lnTo>
                  <a:pt x="7969" y="112"/>
                </a:lnTo>
                <a:lnTo>
                  <a:pt x="8005" y="100"/>
                </a:lnTo>
                <a:lnTo>
                  <a:pt x="8069" y="84"/>
                </a:lnTo>
                <a:lnTo>
                  <a:pt x="8049" y="88"/>
                </a:lnTo>
                <a:lnTo>
                  <a:pt x="8049" y="88"/>
                </a:lnTo>
                <a:lnTo>
                  <a:pt x="8069" y="82"/>
                </a:lnTo>
                <a:lnTo>
                  <a:pt x="8077" y="80"/>
                </a:lnTo>
                <a:lnTo>
                  <a:pt x="8085" y="78"/>
                </a:lnTo>
                <a:lnTo>
                  <a:pt x="8113" y="72"/>
                </a:lnTo>
                <a:lnTo>
                  <a:pt x="8113" y="72"/>
                </a:lnTo>
                <a:lnTo>
                  <a:pt x="8151" y="64"/>
                </a:lnTo>
                <a:lnTo>
                  <a:pt x="8159" y="64"/>
                </a:lnTo>
                <a:lnTo>
                  <a:pt x="8149" y="68"/>
                </a:lnTo>
                <a:lnTo>
                  <a:pt x="8149" y="68"/>
                </a:lnTo>
                <a:lnTo>
                  <a:pt x="8194" y="56"/>
                </a:lnTo>
                <a:lnTo>
                  <a:pt x="8236" y="44"/>
                </a:lnTo>
                <a:lnTo>
                  <a:pt x="8236" y="44"/>
                </a:lnTo>
                <a:lnTo>
                  <a:pt x="8244" y="44"/>
                </a:lnTo>
                <a:lnTo>
                  <a:pt x="8240" y="46"/>
                </a:lnTo>
                <a:lnTo>
                  <a:pt x="8232" y="48"/>
                </a:lnTo>
                <a:lnTo>
                  <a:pt x="8230" y="50"/>
                </a:lnTo>
                <a:lnTo>
                  <a:pt x="8230" y="50"/>
                </a:lnTo>
                <a:lnTo>
                  <a:pt x="8230" y="50"/>
                </a:lnTo>
                <a:lnTo>
                  <a:pt x="8266" y="40"/>
                </a:lnTo>
                <a:lnTo>
                  <a:pt x="8274" y="38"/>
                </a:lnTo>
                <a:lnTo>
                  <a:pt x="8268" y="38"/>
                </a:lnTo>
                <a:lnTo>
                  <a:pt x="8318" y="26"/>
                </a:lnTo>
                <a:lnTo>
                  <a:pt x="8318" y="26"/>
                </a:lnTo>
                <a:lnTo>
                  <a:pt x="8294" y="32"/>
                </a:lnTo>
                <a:lnTo>
                  <a:pt x="8294" y="32"/>
                </a:lnTo>
                <a:lnTo>
                  <a:pt x="8360" y="14"/>
                </a:lnTo>
                <a:lnTo>
                  <a:pt x="8360" y="14"/>
                </a:lnTo>
                <a:lnTo>
                  <a:pt x="8338" y="20"/>
                </a:lnTo>
                <a:lnTo>
                  <a:pt x="8338" y="20"/>
                </a:lnTo>
                <a:lnTo>
                  <a:pt x="8398" y="2"/>
                </a:lnTo>
                <a:lnTo>
                  <a:pt x="8398" y="2"/>
                </a:lnTo>
                <a:lnTo>
                  <a:pt x="8366" y="10"/>
                </a:lnTo>
                <a:lnTo>
                  <a:pt x="8334" y="18"/>
                </a:lnTo>
                <a:lnTo>
                  <a:pt x="8334" y="18"/>
                </a:lnTo>
                <a:lnTo>
                  <a:pt x="8340" y="16"/>
                </a:lnTo>
                <a:lnTo>
                  <a:pt x="8358" y="12"/>
                </a:lnTo>
                <a:lnTo>
                  <a:pt x="8358" y="12"/>
                </a:lnTo>
                <a:lnTo>
                  <a:pt x="8322" y="20"/>
                </a:lnTo>
                <a:lnTo>
                  <a:pt x="8296" y="26"/>
                </a:lnTo>
                <a:lnTo>
                  <a:pt x="8296" y="26"/>
                </a:lnTo>
                <a:lnTo>
                  <a:pt x="8322" y="18"/>
                </a:lnTo>
                <a:lnTo>
                  <a:pt x="8336" y="14"/>
                </a:lnTo>
                <a:lnTo>
                  <a:pt x="8336" y="14"/>
                </a:lnTo>
                <a:lnTo>
                  <a:pt x="8264" y="34"/>
                </a:lnTo>
                <a:lnTo>
                  <a:pt x="8264" y="34"/>
                </a:lnTo>
                <a:lnTo>
                  <a:pt x="8252" y="36"/>
                </a:lnTo>
                <a:lnTo>
                  <a:pt x="8228" y="42"/>
                </a:lnTo>
                <a:lnTo>
                  <a:pt x="8212" y="46"/>
                </a:lnTo>
                <a:lnTo>
                  <a:pt x="8210" y="48"/>
                </a:lnTo>
                <a:lnTo>
                  <a:pt x="8214" y="46"/>
                </a:lnTo>
                <a:lnTo>
                  <a:pt x="8214" y="46"/>
                </a:lnTo>
                <a:lnTo>
                  <a:pt x="8167" y="58"/>
                </a:lnTo>
                <a:lnTo>
                  <a:pt x="8167" y="58"/>
                </a:lnTo>
                <a:lnTo>
                  <a:pt x="8190" y="50"/>
                </a:lnTo>
                <a:lnTo>
                  <a:pt x="8222" y="40"/>
                </a:lnTo>
                <a:lnTo>
                  <a:pt x="8222" y="40"/>
                </a:lnTo>
                <a:lnTo>
                  <a:pt x="8254" y="32"/>
                </a:lnTo>
                <a:lnTo>
                  <a:pt x="8256" y="32"/>
                </a:lnTo>
                <a:lnTo>
                  <a:pt x="8252" y="34"/>
                </a:lnTo>
                <a:lnTo>
                  <a:pt x="8238" y="38"/>
                </a:lnTo>
                <a:lnTo>
                  <a:pt x="8236" y="40"/>
                </a:lnTo>
                <a:lnTo>
                  <a:pt x="8238" y="38"/>
                </a:lnTo>
                <a:lnTo>
                  <a:pt x="8296" y="24"/>
                </a:lnTo>
                <a:lnTo>
                  <a:pt x="8296" y="24"/>
                </a:lnTo>
                <a:lnTo>
                  <a:pt x="8300" y="22"/>
                </a:lnTo>
                <a:lnTo>
                  <a:pt x="8282" y="26"/>
                </a:lnTo>
                <a:lnTo>
                  <a:pt x="8282" y="26"/>
                </a:lnTo>
                <a:lnTo>
                  <a:pt x="8318" y="14"/>
                </a:lnTo>
                <a:lnTo>
                  <a:pt x="8364" y="2"/>
                </a:lnTo>
                <a:lnTo>
                  <a:pt x="8364" y="2"/>
                </a:lnTo>
                <a:lnTo>
                  <a:pt x="8358" y="4"/>
                </a:lnTo>
                <a:lnTo>
                  <a:pt x="8342" y="8"/>
                </a:lnTo>
                <a:lnTo>
                  <a:pt x="8342" y="8"/>
                </a:lnTo>
                <a:lnTo>
                  <a:pt x="8360" y="0"/>
                </a:lnTo>
                <a:lnTo>
                  <a:pt x="8362" y="0"/>
                </a:lnTo>
                <a:lnTo>
                  <a:pt x="8358" y="0"/>
                </a:lnTo>
                <a:lnTo>
                  <a:pt x="8338" y="6"/>
                </a:lnTo>
                <a:lnTo>
                  <a:pt x="8338" y="6"/>
                </a:lnTo>
                <a:lnTo>
                  <a:pt x="8340" y="4"/>
                </a:lnTo>
                <a:lnTo>
                  <a:pt x="8334" y="6"/>
                </a:lnTo>
                <a:lnTo>
                  <a:pt x="8330" y="8"/>
                </a:lnTo>
                <a:lnTo>
                  <a:pt x="8340" y="6"/>
                </a:lnTo>
                <a:lnTo>
                  <a:pt x="8340" y="6"/>
                </a:lnTo>
                <a:lnTo>
                  <a:pt x="8300" y="16"/>
                </a:lnTo>
                <a:lnTo>
                  <a:pt x="8286" y="20"/>
                </a:lnTo>
                <a:lnTo>
                  <a:pt x="8284" y="20"/>
                </a:lnTo>
                <a:lnTo>
                  <a:pt x="8290" y="18"/>
                </a:lnTo>
                <a:lnTo>
                  <a:pt x="8204" y="42"/>
                </a:lnTo>
                <a:lnTo>
                  <a:pt x="8204" y="42"/>
                </a:lnTo>
                <a:lnTo>
                  <a:pt x="8212" y="40"/>
                </a:lnTo>
                <a:lnTo>
                  <a:pt x="8230" y="34"/>
                </a:lnTo>
                <a:lnTo>
                  <a:pt x="8163" y="52"/>
                </a:lnTo>
                <a:lnTo>
                  <a:pt x="8183" y="48"/>
                </a:lnTo>
                <a:lnTo>
                  <a:pt x="8183" y="48"/>
                </a:lnTo>
                <a:lnTo>
                  <a:pt x="8121" y="66"/>
                </a:lnTo>
                <a:lnTo>
                  <a:pt x="8065" y="82"/>
                </a:lnTo>
                <a:lnTo>
                  <a:pt x="8065" y="82"/>
                </a:lnTo>
                <a:lnTo>
                  <a:pt x="8089" y="74"/>
                </a:lnTo>
                <a:lnTo>
                  <a:pt x="8127" y="64"/>
                </a:lnTo>
                <a:lnTo>
                  <a:pt x="8127" y="64"/>
                </a:lnTo>
                <a:lnTo>
                  <a:pt x="8113" y="66"/>
                </a:lnTo>
                <a:lnTo>
                  <a:pt x="8105" y="68"/>
                </a:lnTo>
                <a:lnTo>
                  <a:pt x="8071" y="78"/>
                </a:lnTo>
                <a:lnTo>
                  <a:pt x="8071" y="78"/>
                </a:lnTo>
                <a:lnTo>
                  <a:pt x="8065" y="80"/>
                </a:lnTo>
                <a:lnTo>
                  <a:pt x="8067" y="78"/>
                </a:lnTo>
                <a:lnTo>
                  <a:pt x="8035" y="88"/>
                </a:lnTo>
                <a:lnTo>
                  <a:pt x="8035" y="88"/>
                </a:lnTo>
                <a:lnTo>
                  <a:pt x="8029" y="90"/>
                </a:lnTo>
                <a:lnTo>
                  <a:pt x="8035" y="88"/>
                </a:lnTo>
                <a:lnTo>
                  <a:pt x="8035" y="88"/>
                </a:lnTo>
                <a:lnTo>
                  <a:pt x="8011" y="96"/>
                </a:lnTo>
                <a:lnTo>
                  <a:pt x="8007" y="98"/>
                </a:lnTo>
                <a:lnTo>
                  <a:pt x="7963" y="110"/>
                </a:lnTo>
                <a:lnTo>
                  <a:pt x="7963" y="110"/>
                </a:lnTo>
                <a:lnTo>
                  <a:pt x="8003" y="100"/>
                </a:lnTo>
                <a:lnTo>
                  <a:pt x="8039" y="90"/>
                </a:lnTo>
                <a:lnTo>
                  <a:pt x="8039" y="90"/>
                </a:lnTo>
                <a:lnTo>
                  <a:pt x="8043" y="88"/>
                </a:lnTo>
                <a:lnTo>
                  <a:pt x="8041" y="90"/>
                </a:lnTo>
                <a:lnTo>
                  <a:pt x="8023" y="96"/>
                </a:lnTo>
                <a:lnTo>
                  <a:pt x="7985" y="106"/>
                </a:lnTo>
                <a:lnTo>
                  <a:pt x="7985" y="106"/>
                </a:lnTo>
                <a:lnTo>
                  <a:pt x="7945" y="116"/>
                </a:lnTo>
                <a:lnTo>
                  <a:pt x="7899" y="128"/>
                </a:lnTo>
                <a:lnTo>
                  <a:pt x="7899" y="128"/>
                </a:lnTo>
                <a:lnTo>
                  <a:pt x="7917" y="122"/>
                </a:lnTo>
                <a:lnTo>
                  <a:pt x="7945" y="114"/>
                </a:lnTo>
                <a:lnTo>
                  <a:pt x="7945" y="114"/>
                </a:lnTo>
                <a:lnTo>
                  <a:pt x="7953" y="110"/>
                </a:lnTo>
                <a:lnTo>
                  <a:pt x="7947" y="112"/>
                </a:lnTo>
                <a:lnTo>
                  <a:pt x="7927" y="116"/>
                </a:lnTo>
                <a:lnTo>
                  <a:pt x="7927" y="116"/>
                </a:lnTo>
                <a:lnTo>
                  <a:pt x="7921" y="118"/>
                </a:lnTo>
                <a:lnTo>
                  <a:pt x="7921" y="120"/>
                </a:lnTo>
                <a:lnTo>
                  <a:pt x="7901" y="126"/>
                </a:lnTo>
                <a:lnTo>
                  <a:pt x="7903" y="124"/>
                </a:lnTo>
                <a:lnTo>
                  <a:pt x="7847" y="140"/>
                </a:lnTo>
                <a:lnTo>
                  <a:pt x="7847" y="140"/>
                </a:lnTo>
                <a:lnTo>
                  <a:pt x="7766" y="162"/>
                </a:lnTo>
                <a:lnTo>
                  <a:pt x="7728" y="172"/>
                </a:lnTo>
                <a:lnTo>
                  <a:pt x="7696" y="180"/>
                </a:lnTo>
                <a:lnTo>
                  <a:pt x="7704" y="180"/>
                </a:lnTo>
                <a:lnTo>
                  <a:pt x="7604" y="206"/>
                </a:lnTo>
                <a:lnTo>
                  <a:pt x="7604" y="206"/>
                </a:lnTo>
                <a:lnTo>
                  <a:pt x="7622" y="200"/>
                </a:lnTo>
                <a:lnTo>
                  <a:pt x="7654" y="192"/>
                </a:lnTo>
                <a:lnTo>
                  <a:pt x="7654" y="192"/>
                </a:lnTo>
                <a:lnTo>
                  <a:pt x="7572" y="214"/>
                </a:lnTo>
                <a:lnTo>
                  <a:pt x="7506" y="232"/>
                </a:lnTo>
                <a:lnTo>
                  <a:pt x="7506" y="232"/>
                </a:lnTo>
                <a:lnTo>
                  <a:pt x="7566" y="218"/>
                </a:lnTo>
                <a:lnTo>
                  <a:pt x="7566" y="218"/>
                </a:lnTo>
                <a:lnTo>
                  <a:pt x="7542" y="226"/>
                </a:lnTo>
                <a:lnTo>
                  <a:pt x="7524" y="230"/>
                </a:lnTo>
                <a:lnTo>
                  <a:pt x="7502" y="234"/>
                </a:lnTo>
                <a:lnTo>
                  <a:pt x="7472" y="242"/>
                </a:lnTo>
                <a:lnTo>
                  <a:pt x="7472" y="242"/>
                </a:lnTo>
                <a:lnTo>
                  <a:pt x="7474" y="240"/>
                </a:lnTo>
                <a:lnTo>
                  <a:pt x="7478" y="240"/>
                </a:lnTo>
                <a:lnTo>
                  <a:pt x="7480" y="238"/>
                </a:lnTo>
                <a:lnTo>
                  <a:pt x="7474" y="238"/>
                </a:lnTo>
                <a:lnTo>
                  <a:pt x="7474" y="238"/>
                </a:lnTo>
                <a:lnTo>
                  <a:pt x="7398" y="260"/>
                </a:lnTo>
                <a:lnTo>
                  <a:pt x="7398" y="260"/>
                </a:lnTo>
                <a:lnTo>
                  <a:pt x="7394" y="258"/>
                </a:lnTo>
                <a:lnTo>
                  <a:pt x="7404" y="256"/>
                </a:lnTo>
                <a:lnTo>
                  <a:pt x="7456" y="242"/>
                </a:lnTo>
                <a:lnTo>
                  <a:pt x="7456" y="242"/>
                </a:lnTo>
                <a:lnTo>
                  <a:pt x="7514" y="228"/>
                </a:lnTo>
                <a:lnTo>
                  <a:pt x="7566" y="214"/>
                </a:lnTo>
                <a:lnTo>
                  <a:pt x="7548" y="218"/>
                </a:lnTo>
                <a:lnTo>
                  <a:pt x="7548" y="218"/>
                </a:lnTo>
                <a:lnTo>
                  <a:pt x="7640" y="192"/>
                </a:lnTo>
                <a:lnTo>
                  <a:pt x="7640" y="194"/>
                </a:lnTo>
                <a:lnTo>
                  <a:pt x="7654" y="188"/>
                </a:lnTo>
                <a:lnTo>
                  <a:pt x="7638" y="192"/>
                </a:lnTo>
                <a:lnTo>
                  <a:pt x="7638" y="192"/>
                </a:lnTo>
                <a:lnTo>
                  <a:pt x="7696" y="174"/>
                </a:lnTo>
                <a:lnTo>
                  <a:pt x="7696" y="174"/>
                </a:lnTo>
                <a:lnTo>
                  <a:pt x="7644" y="190"/>
                </a:lnTo>
                <a:lnTo>
                  <a:pt x="7614" y="200"/>
                </a:lnTo>
                <a:lnTo>
                  <a:pt x="7614" y="200"/>
                </a:lnTo>
                <a:lnTo>
                  <a:pt x="7558" y="214"/>
                </a:lnTo>
                <a:lnTo>
                  <a:pt x="7536" y="218"/>
                </a:lnTo>
                <a:lnTo>
                  <a:pt x="7514" y="224"/>
                </a:lnTo>
                <a:lnTo>
                  <a:pt x="7514" y="224"/>
                </a:lnTo>
                <a:lnTo>
                  <a:pt x="7500" y="226"/>
                </a:lnTo>
                <a:lnTo>
                  <a:pt x="7496" y="226"/>
                </a:lnTo>
                <a:lnTo>
                  <a:pt x="7504" y="224"/>
                </a:lnTo>
                <a:lnTo>
                  <a:pt x="7504" y="224"/>
                </a:lnTo>
                <a:lnTo>
                  <a:pt x="7538" y="216"/>
                </a:lnTo>
                <a:lnTo>
                  <a:pt x="7554" y="210"/>
                </a:lnTo>
                <a:lnTo>
                  <a:pt x="7554" y="210"/>
                </a:lnTo>
                <a:lnTo>
                  <a:pt x="7492" y="226"/>
                </a:lnTo>
                <a:lnTo>
                  <a:pt x="7492" y="226"/>
                </a:lnTo>
                <a:lnTo>
                  <a:pt x="7466" y="234"/>
                </a:lnTo>
                <a:lnTo>
                  <a:pt x="7422" y="248"/>
                </a:lnTo>
                <a:lnTo>
                  <a:pt x="7422" y="248"/>
                </a:lnTo>
                <a:lnTo>
                  <a:pt x="7370" y="260"/>
                </a:lnTo>
                <a:lnTo>
                  <a:pt x="7321" y="272"/>
                </a:lnTo>
                <a:lnTo>
                  <a:pt x="7321" y="272"/>
                </a:lnTo>
                <a:lnTo>
                  <a:pt x="7366" y="260"/>
                </a:lnTo>
                <a:lnTo>
                  <a:pt x="7378" y="256"/>
                </a:lnTo>
                <a:lnTo>
                  <a:pt x="7380" y="256"/>
                </a:lnTo>
                <a:lnTo>
                  <a:pt x="7378" y="256"/>
                </a:lnTo>
                <a:lnTo>
                  <a:pt x="7378" y="256"/>
                </a:lnTo>
                <a:lnTo>
                  <a:pt x="7339" y="266"/>
                </a:lnTo>
                <a:lnTo>
                  <a:pt x="7325" y="268"/>
                </a:lnTo>
                <a:lnTo>
                  <a:pt x="7323" y="270"/>
                </a:lnTo>
                <a:lnTo>
                  <a:pt x="7323" y="270"/>
                </a:lnTo>
                <a:lnTo>
                  <a:pt x="7323" y="270"/>
                </a:lnTo>
                <a:lnTo>
                  <a:pt x="7257" y="284"/>
                </a:lnTo>
                <a:lnTo>
                  <a:pt x="7231" y="290"/>
                </a:lnTo>
                <a:lnTo>
                  <a:pt x="7217" y="292"/>
                </a:lnTo>
                <a:lnTo>
                  <a:pt x="7217" y="292"/>
                </a:lnTo>
                <a:lnTo>
                  <a:pt x="7319" y="268"/>
                </a:lnTo>
                <a:lnTo>
                  <a:pt x="7319" y="268"/>
                </a:lnTo>
                <a:lnTo>
                  <a:pt x="7307" y="272"/>
                </a:lnTo>
                <a:lnTo>
                  <a:pt x="7305" y="272"/>
                </a:lnTo>
                <a:lnTo>
                  <a:pt x="7307" y="270"/>
                </a:lnTo>
                <a:lnTo>
                  <a:pt x="7352" y="260"/>
                </a:lnTo>
                <a:lnTo>
                  <a:pt x="7352" y="260"/>
                </a:lnTo>
                <a:lnTo>
                  <a:pt x="7319" y="266"/>
                </a:lnTo>
                <a:lnTo>
                  <a:pt x="7281" y="276"/>
                </a:lnTo>
                <a:lnTo>
                  <a:pt x="7281" y="276"/>
                </a:lnTo>
                <a:lnTo>
                  <a:pt x="7285" y="276"/>
                </a:lnTo>
                <a:lnTo>
                  <a:pt x="7249" y="284"/>
                </a:lnTo>
                <a:lnTo>
                  <a:pt x="7247" y="282"/>
                </a:lnTo>
                <a:lnTo>
                  <a:pt x="7247" y="282"/>
                </a:lnTo>
                <a:lnTo>
                  <a:pt x="7181" y="299"/>
                </a:lnTo>
                <a:lnTo>
                  <a:pt x="7093" y="319"/>
                </a:lnTo>
                <a:lnTo>
                  <a:pt x="7099" y="317"/>
                </a:lnTo>
                <a:lnTo>
                  <a:pt x="7099" y="317"/>
                </a:lnTo>
                <a:lnTo>
                  <a:pt x="7069" y="323"/>
                </a:lnTo>
                <a:lnTo>
                  <a:pt x="7049" y="329"/>
                </a:lnTo>
                <a:lnTo>
                  <a:pt x="7027" y="335"/>
                </a:lnTo>
                <a:lnTo>
                  <a:pt x="6997" y="343"/>
                </a:lnTo>
                <a:lnTo>
                  <a:pt x="6997" y="343"/>
                </a:lnTo>
                <a:lnTo>
                  <a:pt x="7005" y="339"/>
                </a:lnTo>
                <a:lnTo>
                  <a:pt x="7001" y="339"/>
                </a:lnTo>
                <a:lnTo>
                  <a:pt x="7001" y="339"/>
                </a:lnTo>
                <a:lnTo>
                  <a:pt x="6969" y="347"/>
                </a:lnTo>
                <a:lnTo>
                  <a:pt x="6935" y="353"/>
                </a:lnTo>
                <a:lnTo>
                  <a:pt x="6935" y="353"/>
                </a:lnTo>
                <a:lnTo>
                  <a:pt x="6945" y="351"/>
                </a:lnTo>
                <a:lnTo>
                  <a:pt x="6941" y="353"/>
                </a:lnTo>
                <a:lnTo>
                  <a:pt x="6933" y="355"/>
                </a:lnTo>
                <a:lnTo>
                  <a:pt x="6937" y="355"/>
                </a:lnTo>
                <a:lnTo>
                  <a:pt x="6937" y="355"/>
                </a:lnTo>
                <a:lnTo>
                  <a:pt x="6931" y="357"/>
                </a:lnTo>
                <a:lnTo>
                  <a:pt x="6908" y="361"/>
                </a:lnTo>
                <a:lnTo>
                  <a:pt x="6858" y="371"/>
                </a:lnTo>
                <a:lnTo>
                  <a:pt x="6858" y="371"/>
                </a:lnTo>
                <a:lnTo>
                  <a:pt x="6856" y="371"/>
                </a:lnTo>
                <a:lnTo>
                  <a:pt x="6858" y="371"/>
                </a:lnTo>
                <a:lnTo>
                  <a:pt x="6864" y="369"/>
                </a:lnTo>
                <a:lnTo>
                  <a:pt x="6888" y="363"/>
                </a:lnTo>
                <a:lnTo>
                  <a:pt x="6910" y="359"/>
                </a:lnTo>
                <a:lnTo>
                  <a:pt x="6910" y="359"/>
                </a:lnTo>
                <a:lnTo>
                  <a:pt x="6902" y="359"/>
                </a:lnTo>
                <a:lnTo>
                  <a:pt x="6902" y="359"/>
                </a:lnTo>
                <a:lnTo>
                  <a:pt x="6876" y="365"/>
                </a:lnTo>
                <a:lnTo>
                  <a:pt x="6886" y="363"/>
                </a:lnTo>
                <a:lnTo>
                  <a:pt x="6886" y="363"/>
                </a:lnTo>
                <a:lnTo>
                  <a:pt x="6828" y="375"/>
                </a:lnTo>
                <a:lnTo>
                  <a:pt x="6776" y="383"/>
                </a:lnTo>
                <a:lnTo>
                  <a:pt x="6776" y="383"/>
                </a:lnTo>
                <a:lnTo>
                  <a:pt x="6728" y="393"/>
                </a:lnTo>
                <a:lnTo>
                  <a:pt x="6694" y="403"/>
                </a:lnTo>
                <a:lnTo>
                  <a:pt x="6694" y="403"/>
                </a:lnTo>
                <a:lnTo>
                  <a:pt x="6716" y="397"/>
                </a:lnTo>
                <a:lnTo>
                  <a:pt x="6744" y="393"/>
                </a:lnTo>
                <a:lnTo>
                  <a:pt x="6714" y="399"/>
                </a:lnTo>
                <a:lnTo>
                  <a:pt x="6714" y="399"/>
                </a:lnTo>
                <a:lnTo>
                  <a:pt x="6660" y="409"/>
                </a:lnTo>
                <a:lnTo>
                  <a:pt x="6616" y="415"/>
                </a:lnTo>
                <a:lnTo>
                  <a:pt x="6644" y="409"/>
                </a:lnTo>
                <a:lnTo>
                  <a:pt x="6642" y="411"/>
                </a:lnTo>
                <a:lnTo>
                  <a:pt x="6642" y="411"/>
                </a:lnTo>
                <a:lnTo>
                  <a:pt x="6670" y="405"/>
                </a:lnTo>
                <a:lnTo>
                  <a:pt x="6686" y="401"/>
                </a:lnTo>
                <a:lnTo>
                  <a:pt x="6686" y="401"/>
                </a:lnTo>
                <a:lnTo>
                  <a:pt x="6648" y="409"/>
                </a:lnTo>
                <a:lnTo>
                  <a:pt x="6606" y="417"/>
                </a:lnTo>
                <a:lnTo>
                  <a:pt x="6606" y="415"/>
                </a:lnTo>
                <a:lnTo>
                  <a:pt x="6606" y="415"/>
                </a:lnTo>
                <a:lnTo>
                  <a:pt x="6564" y="423"/>
                </a:lnTo>
                <a:lnTo>
                  <a:pt x="6528" y="429"/>
                </a:lnTo>
                <a:lnTo>
                  <a:pt x="6493" y="433"/>
                </a:lnTo>
                <a:lnTo>
                  <a:pt x="6463" y="439"/>
                </a:lnTo>
                <a:lnTo>
                  <a:pt x="6463" y="439"/>
                </a:lnTo>
                <a:lnTo>
                  <a:pt x="6483" y="437"/>
                </a:lnTo>
                <a:lnTo>
                  <a:pt x="6491" y="437"/>
                </a:lnTo>
                <a:lnTo>
                  <a:pt x="6491" y="437"/>
                </a:lnTo>
                <a:lnTo>
                  <a:pt x="6489" y="437"/>
                </a:lnTo>
                <a:lnTo>
                  <a:pt x="6489" y="437"/>
                </a:lnTo>
                <a:lnTo>
                  <a:pt x="6459" y="441"/>
                </a:lnTo>
                <a:lnTo>
                  <a:pt x="6441" y="445"/>
                </a:lnTo>
                <a:lnTo>
                  <a:pt x="6453" y="441"/>
                </a:lnTo>
                <a:lnTo>
                  <a:pt x="6453" y="441"/>
                </a:lnTo>
                <a:lnTo>
                  <a:pt x="6385" y="453"/>
                </a:lnTo>
                <a:lnTo>
                  <a:pt x="6385" y="453"/>
                </a:lnTo>
                <a:lnTo>
                  <a:pt x="6379" y="455"/>
                </a:lnTo>
                <a:lnTo>
                  <a:pt x="6361" y="459"/>
                </a:lnTo>
                <a:lnTo>
                  <a:pt x="6361" y="459"/>
                </a:lnTo>
                <a:lnTo>
                  <a:pt x="6339" y="461"/>
                </a:lnTo>
                <a:lnTo>
                  <a:pt x="6345" y="459"/>
                </a:lnTo>
                <a:lnTo>
                  <a:pt x="6355" y="457"/>
                </a:lnTo>
                <a:lnTo>
                  <a:pt x="6343" y="457"/>
                </a:lnTo>
                <a:lnTo>
                  <a:pt x="6287" y="467"/>
                </a:lnTo>
                <a:lnTo>
                  <a:pt x="6275" y="467"/>
                </a:lnTo>
                <a:lnTo>
                  <a:pt x="6275" y="467"/>
                </a:lnTo>
                <a:lnTo>
                  <a:pt x="6159" y="485"/>
                </a:lnTo>
                <a:lnTo>
                  <a:pt x="6036" y="503"/>
                </a:lnTo>
                <a:lnTo>
                  <a:pt x="6036" y="503"/>
                </a:lnTo>
                <a:lnTo>
                  <a:pt x="6046" y="499"/>
                </a:lnTo>
                <a:lnTo>
                  <a:pt x="6070" y="495"/>
                </a:lnTo>
                <a:lnTo>
                  <a:pt x="6123" y="489"/>
                </a:lnTo>
                <a:lnTo>
                  <a:pt x="6123" y="489"/>
                </a:lnTo>
                <a:lnTo>
                  <a:pt x="6072" y="495"/>
                </a:lnTo>
                <a:lnTo>
                  <a:pt x="6016" y="501"/>
                </a:lnTo>
                <a:lnTo>
                  <a:pt x="6016" y="501"/>
                </a:lnTo>
                <a:lnTo>
                  <a:pt x="5974" y="507"/>
                </a:lnTo>
                <a:lnTo>
                  <a:pt x="5964" y="509"/>
                </a:lnTo>
                <a:lnTo>
                  <a:pt x="5962" y="511"/>
                </a:lnTo>
                <a:lnTo>
                  <a:pt x="5962" y="511"/>
                </a:lnTo>
                <a:lnTo>
                  <a:pt x="5962" y="511"/>
                </a:lnTo>
                <a:lnTo>
                  <a:pt x="5930" y="515"/>
                </a:lnTo>
                <a:lnTo>
                  <a:pt x="5926" y="515"/>
                </a:lnTo>
                <a:lnTo>
                  <a:pt x="5926" y="515"/>
                </a:lnTo>
                <a:lnTo>
                  <a:pt x="5882" y="521"/>
                </a:lnTo>
                <a:lnTo>
                  <a:pt x="5824" y="527"/>
                </a:lnTo>
                <a:lnTo>
                  <a:pt x="5822" y="527"/>
                </a:lnTo>
                <a:lnTo>
                  <a:pt x="5770" y="535"/>
                </a:lnTo>
                <a:lnTo>
                  <a:pt x="5770" y="535"/>
                </a:lnTo>
                <a:lnTo>
                  <a:pt x="5774" y="535"/>
                </a:lnTo>
                <a:lnTo>
                  <a:pt x="5770" y="537"/>
                </a:lnTo>
                <a:lnTo>
                  <a:pt x="5756" y="537"/>
                </a:lnTo>
                <a:lnTo>
                  <a:pt x="5756" y="537"/>
                </a:lnTo>
                <a:lnTo>
                  <a:pt x="5798" y="533"/>
                </a:lnTo>
                <a:lnTo>
                  <a:pt x="5842" y="529"/>
                </a:lnTo>
                <a:lnTo>
                  <a:pt x="5888" y="523"/>
                </a:lnTo>
                <a:lnTo>
                  <a:pt x="5930" y="519"/>
                </a:lnTo>
                <a:lnTo>
                  <a:pt x="5930" y="519"/>
                </a:lnTo>
                <a:lnTo>
                  <a:pt x="5924" y="519"/>
                </a:lnTo>
                <a:lnTo>
                  <a:pt x="5924" y="519"/>
                </a:lnTo>
                <a:lnTo>
                  <a:pt x="5926" y="521"/>
                </a:lnTo>
                <a:lnTo>
                  <a:pt x="5918" y="521"/>
                </a:lnTo>
                <a:lnTo>
                  <a:pt x="5918" y="521"/>
                </a:lnTo>
                <a:lnTo>
                  <a:pt x="5900" y="523"/>
                </a:lnTo>
                <a:lnTo>
                  <a:pt x="5900" y="523"/>
                </a:lnTo>
                <a:lnTo>
                  <a:pt x="5886" y="525"/>
                </a:lnTo>
                <a:lnTo>
                  <a:pt x="5900" y="525"/>
                </a:lnTo>
                <a:lnTo>
                  <a:pt x="5900" y="525"/>
                </a:lnTo>
                <a:lnTo>
                  <a:pt x="5890" y="527"/>
                </a:lnTo>
                <a:lnTo>
                  <a:pt x="5864" y="531"/>
                </a:lnTo>
                <a:lnTo>
                  <a:pt x="5800" y="539"/>
                </a:lnTo>
                <a:lnTo>
                  <a:pt x="5800" y="539"/>
                </a:lnTo>
                <a:lnTo>
                  <a:pt x="5792" y="539"/>
                </a:lnTo>
                <a:lnTo>
                  <a:pt x="5808" y="537"/>
                </a:lnTo>
                <a:lnTo>
                  <a:pt x="5850" y="529"/>
                </a:lnTo>
                <a:lnTo>
                  <a:pt x="5850" y="529"/>
                </a:lnTo>
                <a:lnTo>
                  <a:pt x="5828" y="533"/>
                </a:lnTo>
                <a:lnTo>
                  <a:pt x="5800" y="537"/>
                </a:lnTo>
                <a:lnTo>
                  <a:pt x="5806" y="533"/>
                </a:lnTo>
                <a:lnTo>
                  <a:pt x="5806" y="533"/>
                </a:lnTo>
                <a:lnTo>
                  <a:pt x="5776" y="539"/>
                </a:lnTo>
                <a:lnTo>
                  <a:pt x="5780" y="539"/>
                </a:lnTo>
                <a:lnTo>
                  <a:pt x="5780" y="539"/>
                </a:lnTo>
                <a:lnTo>
                  <a:pt x="5778" y="541"/>
                </a:lnTo>
                <a:lnTo>
                  <a:pt x="5778" y="541"/>
                </a:lnTo>
                <a:lnTo>
                  <a:pt x="5764" y="543"/>
                </a:lnTo>
                <a:lnTo>
                  <a:pt x="5746" y="545"/>
                </a:lnTo>
                <a:lnTo>
                  <a:pt x="5714" y="547"/>
                </a:lnTo>
                <a:lnTo>
                  <a:pt x="5730" y="545"/>
                </a:lnTo>
                <a:lnTo>
                  <a:pt x="5730" y="545"/>
                </a:lnTo>
                <a:lnTo>
                  <a:pt x="5682" y="551"/>
                </a:lnTo>
                <a:lnTo>
                  <a:pt x="5639" y="557"/>
                </a:lnTo>
                <a:lnTo>
                  <a:pt x="5619" y="557"/>
                </a:lnTo>
                <a:lnTo>
                  <a:pt x="5619" y="557"/>
                </a:lnTo>
                <a:lnTo>
                  <a:pt x="5649" y="555"/>
                </a:lnTo>
                <a:lnTo>
                  <a:pt x="5672" y="551"/>
                </a:lnTo>
                <a:lnTo>
                  <a:pt x="5690" y="549"/>
                </a:lnTo>
                <a:lnTo>
                  <a:pt x="5708" y="547"/>
                </a:lnTo>
                <a:lnTo>
                  <a:pt x="5708" y="547"/>
                </a:lnTo>
                <a:lnTo>
                  <a:pt x="5680" y="547"/>
                </a:lnTo>
                <a:lnTo>
                  <a:pt x="5692" y="545"/>
                </a:lnTo>
                <a:lnTo>
                  <a:pt x="5744" y="537"/>
                </a:lnTo>
                <a:lnTo>
                  <a:pt x="5744" y="537"/>
                </a:lnTo>
                <a:lnTo>
                  <a:pt x="5670" y="545"/>
                </a:lnTo>
                <a:lnTo>
                  <a:pt x="5670" y="545"/>
                </a:lnTo>
                <a:lnTo>
                  <a:pt x="5635" y="549"/>
                </a:lnTo>
                <a:lnTo>
                  <a:pt x="5601" y="553"/>
                </a:lnTo>
                <a:lnTo>
                  <a:pt x="5567" y="557"/>
                </a:lnTo>
                <a:lnTo>
                  <a:pt x="5533" y="561"/>
                </a:lnTo>
                <a:lnTo>
                  <a:pt x="5533" y="561"/>
                </a:lnTo>
                <a:lnTo>
                  <a:pt x="5527" y="561"/>
                </a:lnTo>
                <a:lnTo>
                  <a:pt x="5531" y="561"/>
                </a:lnTo>
                <a:lnTo>
                  <a:pt x="5537" y="559"/>
                </a:lnTo>
                <a:lnTo>
                  <a:pt x="5529" y="561"/>
                </a:lnTo>
                <a:lnTo>
                  <a:pt x="5529" y="561"/>
                </a:lnTo>
                <a:lnTo>
                  <a:pt x="5387" y="577"/>
                </a:lnTo>
                <a:lnTo>
                  <a:pt x="5387" y="577"/>
                </a:lnTo>
                <a:lnTo>
                  <a:pt x="5367" y="579"/>
                </a:lnTo>
                <a:lnTo>
                  <a:pt x="5359" y="579"/>
                </a:lnTo>
                <a:lnTo>
                  <a:pt x="5359" y="579"/>
                </a:lnTo>
                <a:lnTo>
                  <a:pt x="5281" y="587"/>
                </a:lnTo>
                <a:lnTo>
                  <a:pt x="5214" y="595"/>
                </a:lnTo>
                <a:lnTo>
                  <a:pt x="5144" y="603"/>
                </a:lnTo>
                <a:lnTo>
                  <a:pt x="5060" y="611"/>
                </a:lnTo>
                <a:lnTo>
                  <a:pt x="5078" y="609"/>
                </a:lnTo>
                <a:lnTo>
                  <a:pt x="5078" y="609"/>
                </a:lnTo>
                <a:lnTo>
                  <a:pt x="5042" y="613"/>
                </a:lnTo>
                <a:lnTo>
                  <a:pt x="5014" y="615"/>
                </a:lnTo>
                <a:lnTo>
                  <a:pt x="5014" y="615"/>
                </a:lnTo>
                <a:lnTo>
                  <a:pt x="4980" y="619"/>
                </a:lnTo>
                <a:lnTo>
                  <a:pt x="4936" y="623"/>
                </a:lnTo>
                <a:lnTo>
                  <a:pt x="4892" y="629"/>
                </a:lnTo>
                <a:lnTo>
                  <a:pt x="4852" y="631"/>
                </a:lnTo>
                <a:lnTo>
                  <a:pt x="4852" y="631"/>
                </a:lnTo>
                <a:lnTo>
                  <a:pt x="4793" y="637"/>
                </a:lnTo>
                <a:lnTo>
                  <a:pt x="4745" y="643"/>
                </a:lnTo>
                <a:lnTo>
                  <a:pt x="4745" y="643"/>
                </a:lnTo>
                <a:lnTo>
                  <a:pt x="4749" y="643"/>
                </a:lnTo>
                <a:lnTo>
                  <a:pt x="4735" y="643"/>
                </a:lnTo>
                <a:lnTo>
                  <a:pt x="4735" y="643"/>
                </a:lnTo>
                <a:lnTo>
                  <a:pt x="4286" y="689"/>
                </a:lnTo>
                <a:lnTo>
                  <a:pt x="4286" y="689"/>
                </a:lnTo>
                <a:lnTo>
                  <a:pt x="4300" y="687"/>
                </a:lnTo>
                <a:lnTo>
                  <a:pt x="4300" y="687"/>
                </a:lnTo>
                <a:lnTo>
                  <a:pt x="4144" y="703"/>
                </a:lnTo>
                <a:lnTo>
                  <a:pt x="4000" y="717"/>
                </a:lnTo>
                <a:lnTo>
                  <a:pt x="4000" y="717"/>
                </a:lnTo>
                <a:lnTo>
                  <a:pt x="3961" y="721"/>
                </a:lnTo>
                <a:lnTo>
                  <a:pt x="3947" y="723"/>
                </a:lnTo>
                <a:lnTo>
                  <a:pt x="3945" y="723"/>
                </a:lnTo>
                <a:lnTo>
                  <a:pt x="3947" y="723"/>
                </a:lnTo>
                <a:lnTo>
                  <a:pt x="3947" y="723"/>
                </a:lnTo>
                <a:lnTo>
                  <a:pt x="3967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71" y="723"/>
                </a:lnTo>
                <a:lnTo>
                  <a:pt x="3931" y="727"/>
                </a:lnTo>
                <a:lnTo>
                  <a:pt x="3915" y="729"/>
                </a:lnTo>
                <a:lnTo>
                  <a:pt x="3905" y="729"/>
                </a:lnTo>
                <a:lnTo>
                  <a:pt x="3879" y="731"/>
                </a:lnTo>
                <a:lnTo>
                  <a:pt x="3879" y="731"/>
                </a:lnTo>
                <a:lnTo>
                  <a:pt x="3875" y="731"/>
                </a:lnTo>
                <a:lnTo>
                  <a:pt x="3877" y="729"/>
                </a:lnTo>
                <a:lnTo>
                  <a:pt x="3889" y="727"/>
                </a:lnTo>
                <a:lnTo>
                  <a:pt x="3905" y="725"/>
                </a:lnTo>
                <a:lnTo>
                  <a:pt x="3911" y="723"/>
                </a:lnTo>
                <a:lnTo>
                  <a:pt x="3835" y="733"/>
                </a:lnTo>
                <a:lnTo>
                  <a:pt x="3835" y="733"/>
                </a:lnTo>
                <a:lnTo>
                  <a:pt x="3771" y="739"/>
                </a:lnTo>
                <a:lnTo>
                  <a:pt x="3713" y="743"/>
                </a:lnTo>
                <a:lnTo>
                  <a:pt x="3713" y="743"/>
                </a:lnTo>
                <a:lnTo>
                  <a:pt x="3725" y="741"/>
                </a:lnTo>
                <a:lnTo>
                  <a:pt x="3745" y="739"/>
                </a:lnTo>
                <a:lnTo>
                  <a:pt x="3745" y="739"/>
                </a:lnTo>
                <a:lnTo>
                  <a:pt x="3739" y="741"/>
                </a:lnTo>
                <a:lnTo>
                  <a:pt x="3739" y="741"/>
                </a:lnTo>
                <a:lnTo>
                  <a:pt x="3789" y="735"/>
                </a:lnTo>
                <a:lnTo>
                  <a:pt x="3831" y="731"/>
                </a:lnTo>
                <a:lnTo>
                  <a:pt x="3831" y="731"/>
                </a:lnTo>
                <a:lnTo>
                  <a:pt x="3669" y="745"/>
                </a:lnTo>
                <a:lnTo>
                  <a:pt x="3669" y="745"/>
                </a:lnTo>
                <a:lnTo>
                  <a:pt x="3671" y="745"/>
                </a:lnTo>
                <a:lnTo>
                  <a:pt x="3667" y="747"/>
                </a:lnTo>
                <a:lnTo>
                  <a:pt x="3653" y="747"/>
                </a:lnTo>
                <a:lnTo>
                  <a:pt x="3621" y="752"/>
                </a:lnTo>
                <a:lnTo>
                  <a:pt x="3619" y="752"/>
                </a:lnTo>
                <a:lnTo>
                  <a:pt x="3619" y="752"/>
                </a:lnTo>
                <a:lnTo>
                  <a:pt x="3583" y="758"/>
                </a:lnTo>
                <a:lnTo>
                  <a:pt x="3571" y="756"/>
                </a:lnTo>
                <a:lnTo>
                  <a:pt x="3571" y="756"/>
                </a:lnTo>
                <a:lnTo>
                  <a:pt x="3564" y="758"/>
                </a:lnTo>
                <a:lnTo>
                  <a:pt x="3556" y="758"/>
                </a:lnTo>
                <a:lnTo>
                  <a:pt x="3556" y="758"/>
                </a:lnTo>
                <a:lnTo>
                  <a:pt x="3482" y="766"/>
                </a:lnTo>
                <a:lnTo>
                  <a:pt x="3444" y="768"/>
                </a:lnTo>
                <a:lnTo>
                  <a:pt x="3424" y="768"/>
                </a:lnTo>
                <a:lnTo>
                  <a:pt x="3424" y="768"/>
                </a:lnTo>
                <a:lnTo>
                  <a:pt x="3346" y="776"/>
                </a:lnTo>
                <a:lnTo>
                  <a:pt x="3346" y="776"/>
                </a:lnTo>
                <a:lnTo>
                  <a:pt x="3358" y="774"/>
                </a:lnTo>
                <a:lnTo>
                  <a:pt x="3358" y="774"/>
                </a:lnTo>
                <a:lnTo>
                  <a:pt x="3240" y="784"/>
                </a:lnTo>
                <a:lnTo>
                  <a:pt x="3125" y="794"/>
                </a:lnTo>
                <a:lnTo>
                  <a:pt x="3125" y="794"/>
                </a:lnTo>
                <a:lnTo>
                  <a:pt x="2983" y="808"/>
                </a:lnTo>
                <a:lnTo>
                  <a:pt x="2983" y="808"/>
                </a:lnTo>
                <a:lnTo>
                  <a:pt x="3015" y="804"/>
                </a:lnTo>
                <a:lnTo>
                  <a:pt x="3025" y="804"/>
                </a:lnTo>
                <a:lnTo>
                  <a:pt x="3015" y="806"/>
                </a:lnTo>
                <a:lnTo>
                  <a:pt x="3015" y="806"/>
                </a:lnTo>
                <a:lnTo>
                  <a:pt x="2953" y="812"/>
                </a:lnTo>
                <a:lnTo>
                  <a:pt x="2953" y="812"/>
                </a:lnTo>
                <a:lnTo>
                  <a:pt x="2931" y="812"/>
                </a:lnTo>
                <a:lnTo>
                  <a:pt x="2923" y="814"/>
                </a:lnTo>
                <a:lnTo>
                  <a:pt x="2941" y="812"/>
                </a:lnTo>
                <a:lnTo>
                  <a:pt x="2941" y="812"/>
                </a:lnTo>
                <a:lnTo>
                  <a:pt x="2919" y="812"/>
                </a:lnTo>
                <a:lnTo>
                  <a:pt x="2885" y="816"/>
                </a:lnTo>
                <a:lnTo>
                  <a:pt x="2853" y="818"/>
                </a:lnTo>
                <a:lnTo>
                  <a:pt x="2839" y="818"/>
                </a:lnTo>
                <a:lnTo>
                  <a:pt x="2839" y="818"/>
                </a:lnTo>
                <a:lnTo>
                  <a:pt x="2793" y="822"/>
                </a:lnTo>
                <a:lnTo>
                  <a:pt x="2737" y="828"/>
                </a:lnTo>
                <a:lnTo>
                  <a:pt x="2737" y="828"/>
                </a:lnTo>
                <a:lnTo>
                  <a:pt x="2753" y="826"/>
                </a:lnTo>
                <a:lnTo>
                  <a:pt x="2773" y="824"/>
                </a:lnTo>
                <a:lnTo>
                  <a:pt x="2743" y="826"/>
                </a:lnTo>
                <a:lnTo>
                  <a:pt x="2743" y="826"/>
                </a:lnTo>
                <a:lnTo>
                  <a:pt x="2743" y="826"/>
                </a:lnTo>
                <a:lnTo>
                  <a:pt x="2680" y="832"/>
                </a:lnTo>
                <a:lnTo>
                  <a:pt x="2638" y="836"/>
                </a:lnTo>
                <a:lnTo>
                  <a:pt x="2638" y="836"/>
                </a:lnTo>
                <a:lnTo>
                  <a:pt x="2616" y="838"/>
                </a:lnTo>
                <a:lnTo>
                  <a:pt x="2642" y="834"/>
                </a:lnTo>
                <a:lnTo>
                  <a:pt x="2642" y="834"/>
                </a:lnTo>
                <a:lnTo>
                  <a:pt x="2544" y="844"/>
                </a:lnTo>
                <a:lnTo>
                  <a:pt x="2540" y="844"/>
                </a:lnTo>
                <a:lnTo>
                  <a:pt x="2516" y="846"/>
                </a:lnTo>
                <a:lnTo>
                  <a:pt x="2516" y="846"/>
                </a:lnTo>
                <a:lnTo>
                  <a:pt x="2518" y="846"/>
                </a:lnTo>
                <a:lnTo>
                  <a:pt x="2518" y="846"/>
                </a:lnTo>
                <a:lnTo>
                  <a:pt x="2468" y="850"/>
                </a:lnTo>
                <a:lnTo>
                  <a:pt x="2418" y="856"/>
                </a:lnTo>
                <a:lnTo>
                  <a:pt x="2418" y="856"/>
                </a:lnTo>
                <a:lnTo>
                  <a:pt x="2394" y="856"/>
                </a:lnTo>
                <a:lnTo>
                  <a:pt x="2366" y="858"/>
                </a:lnTo>
                <a:lnTo>
                  <a:pt x="2370" y="856"/>
                </a:lnTo>
                <a:lnTo>
                  <a:pt x="2370" y="856"/>
                </a:lnTo>
                <a:lnTo>
                  <a:pt x="2408" y="854"/>
                </a:lnTo>
                <a:lnTo>
                  <a:pt x="2450" y="850"/>
                </a:lnTo>
                <a:lnTo>
                  <a:pt x="2450" y="850"/>
                </a:lnTo>
                <a:lnTo>
                  <a:pt x="2404" y="852"/>
                </a:lnTo>
                <a:lnTo>
                  <a:pt x="2340" y="856"/>
                </a:lnTo>
                <a:lnTo>
                  <a:pt x="2203" y="866"/>
                </a:lnTo>
                <a:lnTo>
                  <a:pt x="2203" y="866"/>
                </a:lnTo>
                <a:lnTo>
                  <a:pt x="2091" y="874"/>
                </a:lnTo>
                <a:lnTo>
                  <a:pt x="2039" y="878"/>
                </a:lnTo>
                <a:lnTo>
                  <a:pt x="2005" y="882"/>
                </a:lnTo>
                <a:lnTo>
                  <a:pt x="2011" y="880"/>
                </a:lnTo>
                <a:lnTo>
                  <a:pt x="1901" y="886"/>
                </a:lnTo>
                <a:lnTo>
                  <a:pt x="1901" y="886"/>
                </a:lnTo>
                <a:lnTo>
                  <a:pt x="1762" y="896"/>
                </a:lnTo>
                <a:lnTo>
                  <a:pt x="1642" y="904"/>
                </a:lnTo>
                <a:lnTo>
                  <a:pt x="1622" y="904"/>
                </a:lnTo>
                <a:lnTo>
                  <a:pt x="1622" y="904"/>
                </a:lnTo>
                <a:lnTo>
                  <a:pt x="1552" y="910"/>
                </a:lnTo>
                <a:lnTo>
                  <a:pt x="1463" y="916"/>
                </a:lnTo>
                <a:lnTo>
                  <a:pt x="1379" y="922"/>
                </a:lnTo>
                <a:lnTo>
                  <a:pt x="1323" y="928"/>
                </a:lnTo>
                <a:lnTo>
                  <a:pt x="1323" y="928"/>
                </a:lnTo>
                <a:lnTo>
                  <a:pt x="1307" y="928"/>
                </a:lnTo>
                <a:lnTo>
                  <a:pt x="1315" y="926"/>
                </a:lnTo>
                <a:lnTo>
                  <a:pt x="1339" y="924"/>
                </a:lnTo>
                <a:lnTo>
                  <a:pt x="1339" y="924"/>
                </a:lnTo>
                <a:lnTo>
                  <a:pt x="1283" y="928"/>
                </a:lnTo>
                <a:lnTo>
                  <a:pt x="1253" y="930"/>
                </a:lnTo>
                <a:lnTo>
                  <a:pt x="1229" y="930"/>
                </a:lnTo>
                <a:lnTo>
                  <a:pt x="1229" y="930"/>
                </a:lnTo>
                <a:lnTo>
                  <a:pt x="1247" y="928"/>
                </a:lnTo>
                <a:lnTo>
                  <a:pt x="1257" y="928"/>
                </a:lnTo>
                <a:lnTo>
                  <a:pt x="1253" y="928"/>
                </a:lnTo>
                <a:lnTo>
                  <a:pt x="1253" y="928"/>
                </a:lnTo>
                <a:lnTo>
                  <a:pt x="1225" y="930"/>
                </a:lnTo>
                <a:lnTo>
                  <a:pt x="1195" y="930"/>
                </a:lnTo>
                <a:lnTo>
                  <a:pt x="1195" y="930"/>
                </a:lnTo>
                <a:lnTo>
                  <a:pt x="1197" y="930"/>
                </a:lnTo>
                <a:lnTo>
                  <a:pt x="1193" y="932"/>
                </a:lnTo>
                <a:lnTo>
                  <a:pt x="1175" y="934"/>
                </a:lnTo>
                <a:lnTo>
                  <a:pt x="1117" y="938"/>
                </a:lnTo>
                <a:lnTo>
                  <a:pt x="1117" y="938"/>
                </a:lnTo>
                <a:lnTo>
                  <a:pt x="1127" y="936"/>
                </a:lnTo>
                <a:lnTo>
                  <a:pt x="1127" y="936"/>
                </a:lnTo>
                <a:lnTo>
                  <a:pt x="1117" y="938"/>
                </a:lnTo>
                <a:lnTo>
                  <a:pt x="1089" y="940"/>
                </a:lnTo>
                <a:lnTo>
                  <a:pt x="1089" y="940"/>
                </a:lnTo>
                <a:lnTo>
                  <a:pt x="1095" y="940"/>
                </a:lnTo>
                <a:lnTo>
                  <a:pt x="1095" y="940"/>
                </a:lnTo>
                <a:lnTo>
                  <a:pt x="946" y="946"/>
                </a:lnTo>
                <a:lnTo>
                  <a:pt x="790" y="954"/>
                </a:lnTo>
                <a:lnTo>
                  <a:pt x="632" y="958"/>
                </a:lnTo>
                <a:lnTo>
                  <a:pt x="477" y="962"/>
                </a:lnTo>
                <a:lnTo>
                  <a:pt x="515" y="960"/>
                </a:lnTo>
                <a:lnTo>
                  <a:pt x="515" y="960"/>
                </a:lnTo>
                <a:lnTo>
                  <a:pt x="461" y="962"/>
                </a:lnTo>
                <a:lnTo>
                  <a:pt x="417" y="962"/>
                </a:lnTo>
                <a:lnTo>
                  <a:pt x="421" y="962"/>
                </a:lnTo>
                <a:lnTo>
                  <a:pt x="421" y="962"/>
                </a:lnTo>
                <a:lnTo>
                  <a:pt x="389" y="960"/>
                </a:lnTo>
                <a:lnTo>
                  <a:pt x="365" y="962"/>
                </a:lnTo>
                <a:lnTo>
                  <a:pt x="345" y="962"/>
                </a:lnTo>
                <a:lnTo>
                  <a:pt x="319" y="962"/>
                </a:lnTo>
                <a:lnTo>
                  <a:pt x="327" y="962"/>
                </a:lnTo>
                <a:lnTo>
                  <a:pt x="327" y="962"/>
                </a:lnTo>
                <a:lnTo>
                  <a:pt x="243" y="960"/>
                </a:lnTo>
                <a:lnTo>
                  <a:pt x="158" y="960"/>
                </a:lnTo>
                <a:lnTo>
                  <a:pt x="158" y="960"/>
                </a:lnTo>
                <a:lnTo>
                  <a:pt x="112" y="958"/>
                </a:lnTo>
                <a:lnTo>
                  <a:pt x="78" y="954"/>
                </a:lnTo>
                <a:lnTo>
                  <a:pt x="78" y="954"/>
                </a:lnTo>
                <a:lnTo>
                  <a:pt x="34" y="954"/>
                </a:lnTo>
                <a:lnTo>
                  <a:pt x="48" y="954"/>
                </a:lnTo>
                <a:lnTo>
                  <a:pt x="48" y="954"/>
                </a:lnTo>
                <a:lnTo>
                  <a:pt x="52" y="956"/>
                </a:lnTo>
                <a:lnTo>
                  <a:pt x="50" y="956"/>
                </a:lnTo>
                <a:lnTo>
                  <a:pt x="36" y="954"/>
                </a:lnTo>
                <a:lnTo>
                  <a:pt x="36" y="954"/>
                </a:lnTo>
                <a:lnTo>
                  <a:pt x="16" y="954"/>
                </a:lnTo>
                <a:lnTo>
                  <a:pt x="16" y="954"/>
                </a:lnTo>
                <a:lnTo>
                  <a:pt x="6" y="952"/>
                </a:lnTo>
                <a:lnTo>
                  <a:pt x="6" y="952"/>
                </a:lnTo>
                <a:lnTo>
                  <a:pt x="4" y="950"/>
                </a:lnTo>
                <a:lnTo>
                  <a:pt x="0" y="950"/>
                </a:lnTo>
                <a:lnTo>
                  <a:pt x="0" y="950"/>
                </a:lnTo>
                <a:lnTo>
                  <a:pt x="4" y="952"/>
                </a:lnTo>
                <a:lnTo>
                  <a:pt x="6" y="954"/>
                </a:lnTo>
                <a:lnTo>
                  <a:pt x="6" y="954"/>
                </a:lnTo>
                <a:lnTo>
                  <a:pt x="14" y="956"/>
                </a:lnTo>
                <a:lnTo>
                  <a:pt x="14" y="956"/>
                </a:lnTo>
                <a:lnTo>
                  <a:pt x="30" y="960"/>
                </a:lnTo>
                <a:lnTo>
                  <a:pt x="62" y="964"/>
                </a:lnTo>
                <a:lnTo>
                  <a:pt x="62" y="964"/>
                </a:lnTo>
                <a:lnTo>
                  <a:pt x="88" y="966"/>
                </a:lnTo>
                <a:lnTo>
                  <a:pt x="106" y="966"/>
                </a:lnTo>
                <a:lnTo>
                  <a:pt x="124" y="968"/>
                </a:lnTo>
                <a:lnTo>
                  <a:pt x="152" y="970"/>
                </a:lnTo>
                <a:lnTo>
                  <a:pt x="152" y="970"/>
                </a:lnTo>
                <a:lnTo>
                  <a:pt x="176" y="970"/>
                </a:lnTo>
                <a:lnTo>
                  <a:pt x="204" y="970"/>
                </a:lnTo>
                <a:lnTo>
                  <a:pt x="235" y="970"/>
                </a:lnTo>
                <a:lnTo>
                  <a:pt x="267" y="970"/>
                </a:lnTo>
                <a:lnTo>
                  <a:pt x="267" y="970"/>
                </a:lnTo>
                <a:lnTo>
                  <a:pt x="263" y="970"/>
                </a:lnTo>
                <a:lnTo>
                  <a:pt x="265" y="972"/>
                </a:lnTo>
                <a:lnTo>
                  <a:pt x="281" y="972"/>
                </a:lnTo>
                <a:lnTo>
                  <a:pt x="293" y="972"/>
                </a:lnTo>
                <a:lnTo>
                  <a:pt x="281" y="974"/>
                </a:lnTo>
                <a:lnTo>
                  <a:pt x="281" y="974"/>
                </a:lnTo>
                <a:lnTo>
                  <a:pt x="339" y="972"/>
                </a:lnTo>
                <a:lnTo>
                  <a:pt x="411" y="972"/>
                </a:lnTo>
                <a:lnTo>
                  <a:pt x="411" y="972"/>
                </a:lnTo>
                <a:lnTo>
                  <a:pt x="399" y="974"/>
                </a:lnTo>
                <a:lnTo>
                  <a:pt x="399" y="974"/>
                </a:lnTo>
                <a:lnTo>
                  <a:pt x="437" y="974"/>
                </a:lnTo>
                <a:lnTo>
                  <a:pt x="467" y="974"/>
                </a:lnTo>
                <a:lnTo>
                  <a:pt x="467" y="972"/>
                </a:lnTo>
                <a:lnTo>
                  <a:pt x="467" y="972"/>
                </a:lnTo>
                <a:lnTo>
                  <a:pt x="497" y="972"/>
                </a:lnTo>
                <a:lnTo>
                  <a:pt x="497" y="972"/>
                </a:lnTo>
                <a:lnTo>
                  <a:pt x="479" y="972"/>
                </a:lnTo>
                <a:lnTo>
                  <a:pt x="475" y="970"/>
                </a:lnTo>
                <a:lnTo>
                  <a:pt x="477" y="970"/>
                </a:lnTo>
                <a:lnTo>
                  <a:pt x="477" y="970"/>
                </a:lnTo>
                <a:lnTo>
                  <a:pt x="525" y="968"/>
                </a:lnTo>
                <a:lnTo>
                  <a:pt x="525" y="968"/>
                </a:lnTo>
                <a:lnTo>
                  <a:pt x="505" y="970"/>
                </a:lnTo>
                <a:lnTo>
                  <a:pt x="505" y="970"/>
                </a:lnTo>
                <a:lnTo>
                  <a:pt x="547" y="970"/>
                </a:lnTo>
                <a:lnTo>
                  <a:pt x="547" y="970"/>
                </a:lnTo>
                <a:lnTo>
                  <a:pt x="503" y="972"/>
                </a:lnTo>
                <a:lnTo>
                  <a:pt x="503" y="972"/>
                </a:lnTo>
                <a:lnTo>
                  <a:pt x="527" y="972"/>
                </a:lnTo>
                <a:lnTo>
                  <a:pt x="523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1" y="974"/>
                </a:lnTo>
                <a:lnTo>
                  <a:pt x="537" y="972"/>
                </a:lnTo>
                <a:lnTo>
                  <a:pt x="555" y="972"/>
                </a:lnTo>
                <a:lnTo>
                  <a:pt x="605" y="970"/>
                </a:lnTo>
                <a:lnTo>
                  <a:pt x="605" y="970"/>
                </a:lnTo>
                <a:lnTo>
                  <a:pt x="595" y="972"/>
                </a:lnTo>
                <a:lnTo>
                  <a:pt x="577" y="972"/>
                </a:lnTo>
                <a:lnTo>
                  <a:pt x="577" y="972"/>
                </a:lnTo>
                <a:lnTo>
                  <a:pt x="613" y="972"/>
                </a:lnTo>
                <a:lnTo>
                  <a:pt x="646" y="972"/>
                </a:lnTo>
                <a:lnTo>
                  <a:pt x="726" y="968"/>
                </a:lnTo>
                <a:lnTo>
                  <a:pt x="726" y="968"/>
                </a:lnTo>
                <a:lnTo>
                  <a:pt x="712" y="970"/>
                </a:lnTo>
                <a:lnTo>
                  <a:pt x="712" y="970"/>
                </a:lnTo>
                <a:lnTo>
                  <a:pt x="754" y="968"/>
                </a:lnTo>
                <a:lnTo>
                  <a:pt x="788" y="966"/>
                </a:lnTo>
                <a:lnTo>
                  <a:pt x="788" y="966"/>
                </a:lnTo>
                <a:lnTo>
                  <a:pt x="802" y="966"/>
                </a:lnTo>
                <a:lnTo>
                  <a:pt x="808" y="968"/>
                </a:lnTo>
                <a:lnTo>
                  <a:pt x="840" y="968"/>
                </a:lnTo>
                <a:lnTo>
                  <a:pt x="840" y="968"/>
                </a:lnTo>
                <a:lnTo>
                  <a:pt x="838" y="966"/>
                </a:lnTo>
                <a:lnTo>
                  <a:pt x="844" y="966"/>
                </a:lnTo>
                <a:lnTo>
                  <a:pt x="864" y="966"/>
                </a:lnTo>
                <a:lnTo>
                  <a:pt x="886" y="964"/>
                </a:lnTo>
                <a:lnTo>
                  <a:pt x="898" y="964"/>
                </a:lnTo>
                <a:lnTo>
                  <a:pt x="934" y="964"/>
                </a:lnTo>
                <a:lnTo>
                  <a:pt x="934" y="964"/>
                </a:lnTo>
                <a:lnTo>
                  <a:pt x="946" y="962"/>
                </a:lnTo>
                <a:lnTo>
                  <a:pt x="948" y="960"/>
                </a:lnTo>
                <a:lnTo>
                  <a:pt x="956" y="958"/>
                </a:lnTo>
                <a:lnTo>
                  <a:pt x="988" y="956"/>
                </a:lnTo>
                <a:lnTo>
                  <a:pt x="988" y="956"/>
                </a:lnTo>
                <a:lnTo>
                  <a:pt x="1012" y="956"/>
                </a:lnTo>
                <a:lnTo>
                  <a:pt x="1012" y="958"/>
                </a:lnTo>
                <a:lnTo>
                  <a:pt x="1010" y="958"/>
                </a:lnTo>
                <a:lnTo>
                  <a:pt x="1004" y="960"/>
                </a:lnTo>
                <a:lnTo>
                  <a:pt x="1016" y="960"/>
                </a:lnTo>
                <a:lnTo>
                  <a:pt x="1030" y="958"/>
                </a:lnTo>
                <a:lnTo>
                  <a:pt x="1059" y="958"/>
                </a:lnTo>
                <a:lnTo>
                  <a:pt x="1053" y="958"/>
                </a:lnTo>
                <a:lnTo>
                  <a:pt x="1053" y="958"/>
                </a:lnTo>
                <a:lnTo>
                  <a:pt x="1101" y="956"/>
                </a:lnTo>
                <a:lnTo>
                  <a:pt x="1101" y="956"/>
                </a:lnTo>
                <a:lnTo>
                  <a:pt x="1077" y="960"/>
                </a:lnTo>
                <a:lnTo>
                  <a:pt x="1077" y="960"/>
                </a:lnTo>
                <a:lnTo>
                  <a:pt x="1147" y="956"/>
                </a:lnTo>
                <a:lnTo>
                  <a:pt x="1187" y="954"/>
                </a:lnTo>
                <a:lnTo>
                  <a:pt x="1217" y="952"/>
                </a:lnTo>
                <a:lnTo>
                  <a:pt x="1217" y="952"/>
                </a:lnTo>
                <a:lnTo>
                  <a:pt x="1247" y="952"/>
                </a:lnTo>
                <a:lnTo>
                  <a:pt x="1263" y="952"/>
                </a:lnTo>
                <a:lnTo>
                  <a:pt x="1263" y="952"/>
                </a:lnTo>
                <a:lnTo>
                  <a:pt x="1307" y="948"/>
                </a:lnTo>
                <a:lnTo>
                  <a:pt x="1359" y="946"/>
                </a:lnTo>
                <a:lnTo>
                  <a:pt x="1359" y="946"/>
                </a:lnTo>
                <a:lnTo>
                  <a:pt x="1369" y="946"/>
                </a:lnTo>
                <a:lnTo>
                  <a:pt x="1393" y="946"/>
                </a:lnTo>
                <a:lnTo>
                  <a:pt x="1393" y="946"/>
                </a:lnTo>
                <a:lnTo>
                  <a:pt x="1383" y="944"/>
                </a:lnTo>
                <a:lnTo>
                  <a:pt x="1399" y="942"/>
                </a:lnTo>
                <a:lnTo>
                  <a:pt x="1399" y="942"/>
                </a:lnTo>
                <a:lnTo>
                  <a:pt x="1445" y="940"/>
                </a:lnTo>
                <a:lnTo>
                  <a:pt x="1484" y="940"/>
                </a:lnTo>
                <a:lnTo>
                  <a:pt x="1484" y="940"/>
                </a:lnTo>
                <a:lnTo>
                  <a:pt x="1506" y="938"/>
                </a:lnTo>
                <a:lnTo>
                  <a:pt x="1508" y="936"/>
                </a:lnTo>
                <a:lnTo>
                  <a:pt x="1510" y="934"/>
                </a:lnTo>
                <a:lnTo>
                  <a:pt x="1510" y="934"/>
                </a:lnTo>
                <a:lnTo>
                  <a:pt x="1558" y="934"/>
                </a:lnTo>
                <a:lnTo>
                  <a:pt x="1578" y="932"/>
                </a:lnTo>
                <a:lnTo>
                  <a:pt x="1582" y="934"/>
                </a:lnTo>
                <a:lnTo>
                  <a:pt x="1582" y="934"/>
                </a:lnTo>
                <a:lnTo>
                  <a:pt x="1582" y="934"/>
                </a:lnTo>
                <a:lnTo>
                  <a:pt x="1548" y="936"/>
                </a:lnTo>
                <a:lnTo>
                  <a:pt x="1536" y="936"/>
                </a:lnTo>
                <a:lnTo>
                  <a:pt x="1534" y="936"/>
                </a:lnTo>
                <a:lnTo>
                  <a:pt x="1534" y="938"/>
                </a:lnTo>
                <a:lnTo>
                  <a:pt x="1534" y="938"/>
                </a:lnTo>
                <a:lnTo>
                  <a:pt x="1556" y="936"/>
                </a:lnTo>
                <a:lnTo>
                  <a:pt x="1574" y="934"/>
                </a:lnTo>
                <a:lnTo>
                  <a:pt x="1574" y="934"/>
                </a:lnTo>
                <a:lnTo>
                  <a:pt x="1582" y="934"/>
                </a:lnTo>
                <a:lnTo>
                  <a:pt x="1588" y="936"/>
                </a:lnTo>
                <a:lnTo>
                  <a:pt x="1588" y="936"/>
                </a:lnTo>
                <a:lnTo>
                  <a:pt x="1646" y="932"/>
                </a:lnTo>
                <a:lnTo>
                  <a:pt x="1646" y="932"/>
                </a:lnTo>
                <a:lnTo>
                  <a:pt x="1636" y="932"/>
                </a:lnTo>
                <a:lnTo>
                  <a:pt x="1642" y="932"/>
                </a:lnTo>
                <a:lnTo>
                  <a:pt x="1652" y="930"/>
                </a:lnTo>
                <a:lnTo>
                  <a:pt x="1648" y="930"/>
                </a:lnTo>
                <a:lnTo>
                  <a:pt x="1614" y="934"/>
                </a:lnTo>
                <a:lnTo>
                  <a:pt x="1614" y="934"/>
                </a:lnTo>
                <a:lnTo>
                  <a:pt x="1594" y="934"/>
                </a:lnTo>
                <a:lnTo>
                  <a:pt x="1596" y="934"/>
                </a:lnTo>
                <a:lnTo>
                  <a:pt x="1592" y="932"/>
                </a:lnTo>
                <a:lnTo>
                  <a:pt x="1592" y="932"/>
                </a:lnTo>
                <a:lnTo>
                  <a:pt x="1654" y="928"/>
                </a:lnTo>
                <a:lnTo>
                  <a:pt x="1714" y="922"/>
                </a:lnTo>
                <a:lnTo>
                  <a:pt x="1756" y="920"/>
                </a:lnTo>
                <a:lnTo>
                  <a:pt x="1756" y="920"/>
                </a:lnTo>
                <a:lnTo>
                  <a:pt x="1740" y="922"/>
                </a:lnTo>
                <a:lnTo>
                  <a:pt x="1750" y="922"/>
                </a:lnTo>
                <a:lnTo>
                  <a:pt x="1750" y="922"/>
                </a:lnTo>
                <a:lnTo>
                  <a:pt x="1802" y="920"/>
                </a:lnTo>
                <a:lnTo>
                  <a:pt x="1848" y="918"/>
                </a:lnTo>
                <a:lnTo>
                  <a:pt x="1848" y="918"/>
                </a:lnTo>
                <a:lnTo>
                  <a:pt x="1832" y="918"/>
                </a:lnTo>
                <a:lnTo>
                  <a:pt x="1846" y="916"/>
                </a:lnTo>
                <a:lnTo>
                  <a:pt x="1846" y="916"/>
                </a:lnTo>
                <a:lnTo>
                  <a:pt x="1884" y="914"/>
                </a:lnTo>
                <a:lnTo>
                  <a:pt x="1886" y="914"/>
                </a:lnTo>
                <a:lnTo>
                  <a:pt x="1899" y="914"/>
                </a:lnTo>
                <a:lnTo>
                  <a:pt x="1899" y="914"/>
                </a:lnTo>
                <a:lnTo>
                  <a:pt x="2027" y="906"/>
                </a:lnTo>
                <a:lnTo>
                  <a:pt x="2139" y="900"/>
                </a:lnTo>
                <a:lnTo>
                  <a:pt x="2101" y="900"/>
                </a:lnTo>
                <a:lnTo>
                  <a:pt x="2089" y="902"/>
                </a:lnTo>
                <a:lnTo>
                  <a:pt x="2089" y="902"/>
                </a:lnTo>
                <a:lnTo>
                  <a:pt x="2077" y="902"/>
                </a:lnTo>
                <a:lnTo>
                  <a:pt x="2083" y="900"/>
                </a:lnTo>
                <a:lnTo>
                  <a:pt x="2111" y="896"/>
                </a:lnTo>
                <a:lnTo>
                  <a:pt x="2111" y="896"/>
                </a:lnTo>
                <a:lnTo>
                  <a:pt x="2137" y="894"/>
                </a:lnTo>
                <a:lnTo>
                  <a:pt x="2147" y="894"/>
                </a:lnTo>
                <a:lnTo>
                  <a:pt x="2145" y="894"/>
                </a:lnTo>
                <a:lnTo>
                  <a:pt x="2191" y="890"/>
                </a:lnTo>
                <a:lnTo>
                  <a:pt x="2191" y="890"/>
                </a:lnTo>
                <a:lnTo>
                  <a:pt x="2173" y="892"/>
                </a:lnTo>
                <a:lnTo>
                  <a:pt x="2167" y="892"/>
                </a:lnTo>
                <a:lnTo>
                  <a:pt x="2175" y="890"/>
                </a:lnTo>
                <a:lnTo>
                  <a:pt x="2175" y="890"/>
                </a:lnTo>
                <a:lnTo>
                  <a:pt x="2209" y="890"/>
                </a:lnTo>
                <a:lnTo>
                  <a:pt x="2219" y="890"/>
                </a:lnTo>
                <a:lnTo>
                  <a:pt x="2209" y="890"/>
                </a:lnTo>
                <a:lnTo>
                  <a:pt x="2209" y="890"/>
                </a:lnTo>
                <a:lnTo>
                  <a:pt x="2247" y="888"/>
                </a:lnTo>
                <a:lnTo>
                  <a:pt x="2261" y="886"/>
                </a:lnTo>
                <a:lnTo>
                  <a:pt x="2261" y="886"/>
                </a:lnTo>
                <a:lnTo>
                  <a:pt x="2277" y="884"/>
                </a:lnTo>
                <a:lnTo>
                  <a:pt x="2271" y="886"/>
                </a:lnTo>
                <a:lnTo>
                  <a:pt x="2239" y="890"/>
                </a:lnTo>
                <a:lnTo>
                  <a:pt x="2239" y="890"/>
                </a:lnTo>
                <a:lnTo>
                  <a:pt x="2263" y="888"/>
                </a:lnTo>
                <a:lnTo>
                  <a:pt x="2257" y="890"/>
                </a:lnTo>
                <a:lnTo>
                  <a:pt x="2301" y="886"/>
                </a:lnTo>
                <a:lnTo>
                  <a:pt x="2301" y="886"/>
                </a:lnTo>
                <a:lnTo>
                  <a:pt x="2281" y="890"/>
                </a:lnTo>
                <a:lnTo>
                  <a:pt x="2281" y="890"/>
                </a:lnTo>
                <a:lnTo>
                  <a:pt x="2322" y="886"/>
                </a:lnTo>
                <a:lnTo>
                  <a:pt x="2358" y="884"/>
                </a:lnTo>
                <a:lnTo>
                  <a:pt x="2368" y="882"/>
                </a:lnTo>
                <a:lnTo>
                  <a:pt x="2368" y="882"/>
                </a:lnTo>
                <a:lnTo>
                  <a:pt x="2516" y="872"/>
                </a:lnTo>
                <a:lnTo>
                  <a:pt x="2504" y="872"/>
                </a:lnTo>
                <a:lnTo>
                  <a:pt x="2504" y="872"/>
                </a:lnTo>
                <a:lnTo>
                  <a:pt x="2534" y="870"/>
                </a:lnTo>
                <a:lnTo>
                  <a:pt x="2554" y="868"/>
                </a:lnTo>
                <a:lnTo>
                  <a:pt x="2578" y="868"/>
                </a:lnTo>
                <a:lnTo>
                  <a:pt x="2622" y="864"/>
                </a:lnTo>
                <a:lnTo>
                  <a:pt x="2622" y="864"/>
                </a:lnTo>
                <a:lnTo>
                  <a:pt x="2672" y="860"/>
                </a:lnTo>
                <a:lnTo>
                  <a:pt x="2684" y="858"/>
                </a:lnTo>
                <a:lnTo>
                  <a:pt x="2686" y="858"/>
                </a:lnTo>
                <a:lnTo>
                  <a:pt x="2686" y="856"/>
                </a:lnTo>
                <a:lnTo>
                  <a:pt x="2686" y="856"/>
                </a:lnTo>
                <a:lnTo>
                  <a:pt x="2712" y="854"/>
                </a:lnTo>
                <a:lnTo>
                  <a:pt x="2729" y="854"/>
                </a:lnTo>
                <a:lnTo>
                  <a:pt x="2729" y="854"/>
                </a:lnTo>
                <a:lnTo>
                  <a:pt x="2771" y="850"/>
                </a:lnTo>
                <a:lnTo>
                  <a:pt x="2821" y="846"/>
                </a:lnTo>
                <a:lnTo>
                  <a:pt x="2763" y="852"/>
                </a:lnTo>
                <a:lnTo>
                  <a:pt x="2763" y="852"/>
                </a:lnTo>
                <a:lnTo>
                  <a:pt x="2803" y="850"/>
                </a:lnTo>
                <a:lnTo>
                  <a:pt x="2861" y="844"/>
                </a:lnTo>
                <a:lnTo>
                  <a:pt x="2995" y="830"/>
                </a:lnTo>
                <a:lnTo>
                  <a:pt x="2995" y="830"/>
                </a:lnTo>
                <a:lnTo>
                  <a:pt x="2987" y="830"/>
                </a:lnTo>
                <a:lnTo>
                  <a:pt x="2987" y="828"/>
                </a:lnTo>
                <a:lnTo>
                  <a:pt x="2987" y="828"/>
                </a:lnTo>
                <a:lnTo>
                  <a:pt x="3021" y="822"/>
                </a:lnTo>
                <a:lnTo>
                  <a:pt x="3021" y="822"/>
                </a:lnTo>
                <a:lnTo>
                  <a:pt x="3045" y="822"/>
                </a:lnTo>
                <a:lnTo>
                  <a:pt x="3093" y="818"/>
                </a:lnTo>
                <a:lnTo>
                  <a:pt x="3093" y="818"/>
                </a:lnTo>
                <a:lnTo>
                  <a:pt x="3093" y="820"/>
                </a:lnTo>
                <a:lnTo>
                  <a:pt x="3097" y="820"/>
                </a:lnTo>
                <a:lnTo>
                  <a:pt x="3111" y="818"/>
                </a:lnTo>
                <a:lnTo>
                  <a:pt x="3117" y="820"/>
                </a:lnTo>
                <a:lnTo>
                  <a:pt x="3097" y="822"/>
                </a:lnTo>
                <a:lnTo>
                  <a:pt x="3097" y="822"/>
                </a:lnTo>
                <a:lnTo>
                  <a:pt x="3077" y="822"/>
                </a:lnTo>
                <a:lnTo>
                  <a:pt x="3053" y="824"/>
                </a:lnTo>
                <a:lnTo>
                  <a:pt x="3053" y="824"/>
                </a:lnTo>
                <a:lnTo>
                  <a:pt x="3135" y="820"/>
                </a:lnTo>
                <a:lnTo>
                  <a:pt x="3135" y="820"/>
                </a:lnTo>
                <a:lnTo>
                  <a:pt x="3095" y="824"/>
                </a:lnTo>
                <a:lnTo>
                  <a:pt x="3095" y="824"/>
                </a:lnTo>
                <a:lnTo>
                  <a:pt x="3101" y="824"/>
                </a:lnTo>
                <a:lnTo>
                  <a:pt x="3099" y="822"/>
                </a:ln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GB" dirty="0"/>
          </a:p>
        </p:txBody>
      </p:sp>
      <p:pic>
        <p:nvPicPr>
          <p:cNvPr id="22" name="Picture 7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426" y="1306170"/>
            <a:ext cx="2712434" cy="1558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457200" y="1509713"/>
            <a:ext cx="8218488" cy="45831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68313" y="1520825"/>
            <a:ext cx="8229600" cy="991041"/>
          </a:xfrm>
        </p:spPr>
        <p:txBody>
          <a:bodyPr/>
          <a:lstStyle>
            <a:lvl5pPr marL="906463" indent="-193675">
              <a:defRPr sz="1400"/>
            </a:lvl5pPr>
          </a:lstStyle>
          <a:p>
            <a:pPr lvl="0"/>
            <a:r>
              <a:rPr lang="en-GB" dirty="0" err="1" smtClean="0"/>
              <a:t>Textmasterformate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7090621" y="6620232"/>
            <a:ext cx="1176604" cy="123111"/>
          </a:xfrm>
        </p:spPr>
        <p:txBody>
          <a:bodyPr wrap="none"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About WTS · November 2016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7429B-10E1-44F2-AD8D-119E3E23233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8312" y="765175"/>
            <a:ext cx="6542087" cy="1835246"/>
          </a:xfrm>
        </p:spPr>
        <p:txBody>
          <a:bodyPr anchor="b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8313" y="2745564"/>
            <a:ext cx="6542087" cy="6966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 smtClean="0"/>
              <a:t>Subtitle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8313" y="3918387"/>
            <a:ext cx="6542087" cy="312737"/>
          </a:xfrm>
        </p:spPr>
        <p:txBody>
          <a:bodyPr/>
          <a:lstStyle>
            <a:lvl1pPr marL="0" indent="0">
              <a:buFontTx/>
              <a:buNone/>
              <a:defRPr sz="1400" baseline="0">
                <a:solidFill>
                  <a:schemeClr val="bg1"/>
                </a:solidFill>
              </a:defRPr>
            </a:lvl1pPr>
            <a:lvl2pPr marL="2160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432000" indent="0">
              <a:buFontTx/>
              <a:buNone/>
              <a:defRPr sz="1600"/>
            </a:lvl3pPr>
            <a:lvl4pPr marL="648000" indent="0">
              <a:buFontTx/>
              <a:buNone/>
              <a:defRPr sz="1600"/>
            </a:lvl4pPr>
            <a:lvl5pPr marL="864000" indent="0">
              <a:buFontTx/>
              <a:buNone/>
              <a:defRPr sz="1600"/>
            </a:lvl5pPr>
          </a:lstStyle>
          <a:p>
            <a:pPr lvl="0"/>
            <a:r>
              <a:rPr lang="de-DE" dirty="0"/>
              <a:t>Name, Date</a:t>
            </a:r>
          </a:p>
        </p:txBody>
      </p:sp>
      <p:pic>
        <p:nvPicPr>
          <p:cNvPr id="6" name="Bild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76916" y="4457700"/>
            <a:ext cx="6083300" cy="240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81223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18173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6588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3075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520825"/>
            <a:ext cx="8229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 err="1" smtClean="0"/>
              <a:t>Textmasterformate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361483" y="6619875"/>
            <a:ext cx="2895600" cy="12382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About WTS · November 2016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472488" y="6619875"/>
            <a:ext cx="203200" cy="1238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1EF5D455-B008-4BD1-9188-B21BDCB157E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68313" y="525463"/>
            <a:ext cx="820737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9" name="Grafik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58150" y="127000"/>
            <a:ext cx="595398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8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82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de-DE" sz="2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5600" indent="-1730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›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8163" indent="-1920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20725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Symbol" pitchFamily="18" charset="2"/>
        <a:buChar char="-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3934" y="3476459"/>
            <a:ext cx="7761288" cy="1314348"/>
          </a:xfrm>
        </p:spPr>
        <p:txBody>
          <a:bodyPr/>
          <a:lstStyle/>
          <a:p>
            <a:r>
              <a:rPr lang="sr-Latn-RS" sz="4200" dirty="0" smtClean="0"/>
              <a:t>WTS Porezi i Finansije </a:t>
            </a:r>
            <a:r>
              <a:rPr lang="sr-Latn-RS" sz="4200" b="1" dirty="0" smtClean="0"/>
              <a:t/>
            </a:r>
            <a:br>
              <a:rPr lang="sr-Latn-RS" sz="4200" b="1" dirty="0" smtClean="0"/>
            </a:br>
            <a:r>
              <a:rPr lang="sr-Latn-RS" sz="3600" b="1" dirty="0"/>
              <a:t/>
            </a:r>
            <a:br>
              <a:rPr lang="sr-Latn-RS" sz="3600" b="1" dirty="0"/>
            </a:br>
            <a:r>
              <a:rPr lang="sr-Latn-RS" sz="3600" b="1" dirty="0" smtClean="0"/>
              <a:t/>
            </a:r>
            <a:br>
              <a:rPr lang="sr-Latn-RS" sz="3600" b="1" dirty="0" smtClean="0"/>
            </a:br>
            <a:r>
              <a:rPr lang="sr-Latn-RS" sz="4900" b="1" dirty="0" smtClean="0"/>
              <a:t/>
            </a:r>
            <a:br>
              <a:rPr lang="sr-Latn-RS" sz="4900" b="1" dirty="0" smtClean="0"/>
            </a:br>
            <a:r>
              <a:rPr lang="sr-Latn-RS" sz="4900" b="1" dirty="0" smtClean="0"/>
              <a:t>IFRS </a:t>
            </a:r>
            <a:r>
              <a:rPr lang="sr-Latn-RS" sz="4900" b="1" dirty="0" smtClean="0"/>
              <a:t>16</a:t>
            </a:r>
            <a:r>
              <a:rPr lang="sr-Latn-RS" sz="4900" b="1" dirty="0" smtClean="0"/>
              <a:t/>
            </a:r>
            <a:br>
              <a:rPr lang="sr-Latn-RS" sz="4900" b="1" dirty="0" smtClean="0"/>
            </a:br>
            <a:r>
              <a:rPr lang="sr-Latn-RS" sz="4900" b="1" dirty="0"/>
              <a:t/>
            </a:r>
            <a:br>
              <a:rPr lang="sr-Latn-RS" sz="4900" b="1" dirty="0"/>
            </a:br>
            <a:r>
              <a:rPr lang="sr-Latn-RS" sz="1800" b="1" dirty="0" smtClean="0"/>
              <a:t>Decembar 201</a:t>
            </a:r>
            <a:r>
              <a:rPr lang="sr-Latn-RS" sz="1800" b="1" dirty="0"/>
              <a:t>9</a:t>
            </a:r>
            <a:r>
              <a:rPr lang="sr-Latn-RS" sz="1800" b="1" dirty="0" smtClean="0"/>
              <a:t>.</a:t>
            </a:r>
            <a:r>
              <a:rPr lang="en-US" sz="1800" b="1" dirty="0" smtClean="0"/>
              <a:t> </a:t>
            </a:r>
            <a:r>
              <a:rPr lang="sr-Latn-RS" sz="1800" b="1" dirty="0" smtClean="0"/>
              <a:t>godine</a:t>
            </a:r>
            <a:endParaRPr lang="de-DE" sz="1800" b="1" dirty="0"/>
          </a:p>
        </p:txBody>
      </p:sp>
    </p:spTree>
    <p:extLst>
      <p:ext uri="{BB962C8B-B14F-4D97-AF65-F5344CB8AC3E}">
        <p14:creationId xmlns:p14="http://schemas.microsoft.com/office/powerpoint/2010/main" val="2993975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373432"/>
            <a:ext cx="8068236" cy="3305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/>
              <a:t>POČETNO PRIZNAVANJE I MERENJE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dirty="0" smtClean="0"/>
              <a:t>Na </a:t>
            </a:r>
            <a:r>
              <a:rPr lang="en-US" dirty="0" err="1" smtClean="0"/>
              <a:t>prvi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trajanja</a:t>
            </a:r>
            <a:r>
              <a:rPr lang="en-US" dirty="0" smtClean="0"/>
              <a:t> </a:t>
            </a:r>
            <a:r>
              <a:rPr lang="sr-Latn-RS" dirty="0" smtClean="0"/>
              <a:t>zakupa</a:t>
            </a:r>
            <a:r>
              <a:rPr lang="en-US" dirty="0" smtClean="0"/>
              <a:t>, </a:t>
            </a:r>
            <a:r>
              <a:rPr lang="sr-Latn-RS" dirty="0" smtClean="0"/>
              <a:t>zakupac priznaje:</a:t>
            </a:r>
            <a:r>
              <a:rPr lang="en-US" dirty="0" smtClean="0"/>
              <a:t> </a:t>
            </a:r>
            <a:endParaRPr lang="sr-Latn-RS" dirty="0" smtClean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  <a:p>
            <a:pPr marL="342900" indent="-342900" eaLnBrk="0" hangingPunct="0">
              <a:spcBef>
                <a:spcPct val="20000"/>
              </a:spcBef>
              <a:buClr>
                <a:schemeClr val="accent1"/>
              </a:buClr>
              <a:buAutoNum type="arabicParenR"/>
            </a:pPr>
            <a:r>
              <a:rPr lang="en-US" b="1" u="sng" dirty="0" err="1" smtClean="0"/>
              <a:t>obavezu</a:t>
            </a:r>
            <a:r>
              <a:rPr lang="en-US" b="1" dirty="0" smtClean="0"/>
              <a:t> </a:t>
            </a:r>
            <a:r>
              <a:rPr lang="en-US" b="1" dirty="0" err="1" smtClean="0"/>
              <a:t>po</a:t>
            </a:r>
            <a:r>
              <a:rPr lang="en-US" b="1" dirty="0" smtClean="0"/>
              <a:t> </a:t>
            </a:r>
            <a:r>
              <a:rPr lang="en-US" b="1" dirty="0" err="1" smtClean="0"/>
              <a:t>osnovu</a:t>
            </a:r>
            <a:r>
              <a:rPr lang="en-US" b="1" dirty="0" smtClean="0"/>
              <a:t> tog </a:t>
            </a:r>
            <a:r>
              <a:rPr lang="sr-Latn-RS" b="1" dirty="0" smtClean="0"/>
              <a:t>zakupa </a:t>
            </a:r>
            <a:r>
              <a:rPr lang="en-US" b="1" dirty="0" err="1" smtClean="0"/>
              <a:t>po</a:t>
            </a:r>
            <a:r>
              <a:rPr lang="en-US" b="1" dirty="0" smtClean="0"/>
              <a:t> </a:t>
            </a:r>
            <a:r>
              <a:rPr lang="en-US" b="1" dirty="0" err="1" smtClean="0"/>
              <a:t>sadašnjoj</a:t>
            </a:r>
            <a:r>
              <a:rPr lang="en-US" b="1" dirty="0" smtClean="0"/>
              <a:t> </a:t>
            </a:r>
            <a:r>
              <a:rPr lang="en-US" b="1" dirty="0" err="1" smtClean="0"/>
              <a:t>vrednosti</a:t>
            </a:r>
            <a:r>
              <a:rPr lang="en-US" b="1" dirty="0" smtClean="0"/>
              <a:t> </a:t>
            </a:r>
            <a:r>
              <a:rPr lang="en-US" b="1" dirty="0" err="1" smtClean="0"/>
              <a:t>svih</a:t>
            </a:r>
            <a:r>
              <a:rPr lang="en-US" b="1" dirty="0" smtClean="0"/>
              <a:t> </a:t>
            </a:r>
            <a:r>
              <a:rPr lang="en-US" b="1" dirty="0" err="1" smtClean="0"/>
              <a:t>plaćanja</a:t>
            </a:r>
            <a:r>
              <a:rPr lang="en-US" b="1" dirty="0" smtClean="0"/>
              <a:t> u </a:t>
            </a:r>
            <a:r>
              <a:rPr lang="en-US" b="1" dirty="0" err="1" smtClean="0"/>
              <a:t>vezi</a:t>
            </a:r>
            <a:r>
              <a:rPr lang="en-US" b="1" dirty="0" smtClean="0"/>
              <a:t> s </a:t>
            </a:r>
            <a:r>
              <a:rPr lang="sr-Latn-RS" b="1" dirty="0" smtClean="0"/>
              <a:t>zakupom i  </a:t>
            </a:r>
          </a:p>
          <a:p>
            <a:pPr marL="342900" indent="-342900" eaLnBrk="0" hangingPunct="0">
              <a:spcBef>
                <a:spcPct val="20000"/>
              </a:spcBef>
              <a:buClr>
                <a:schemeClr val="accent1"/>
              </a:buClr>
              <a:buAutoNum type="arabicParenR"/>
            </a:pPr>
            <a:endParaRPr lang="sr-Latn-RS" b="1" dirty="0" smtClean="0"/>
          </a:p>
          <a:p>
            <a:pPr marL="342900" indent="-342900" eaLnBrk="0" hangingPunct="0">
              <a:spcBef>
                <a:spcPct val="20000"/>
              </a:spcBef>
              <a:buClr>
                <a:schemeClr val="accent1"/>
              </a:buClr>
              <a:buAutoNum type="arabicParenR"/>
            </a:pPr>
            <a:r>
              <a:rPr lang="sr-Latn-RS" b="1" u="sng" dirty="0" smtClean="0"/>
              <a:t>imovinu </a:t>
            </a:r>
            <a:r>
              <a:rPr lang="sr-Latn-RS" b="1" dirty="0" smtClean="0"/>
              <a:t>– pravo korišćenja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76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68270" y="114018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  <a:latin typeface="+mn-lt"/>
              </a:rPr>
              <a:t>Očekivana fiksna plaćanj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77965" y="1386467"/>
            <a:ext cx="2743157" cy="2673706"/>
          </a:xfrm>
          <a:prstGeom prst="ellipse">
            <a:avLst/>
          </a:prstGeom>
          <a:solidFill>
            <a:srgbClr val="515D69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Obaveza po osnovu lizinga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94127" y="252087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</a:rPr>
              <a:t>Varijabilna</a:t>
            </a:r>
            <a:r>
              <a:rPr lang="sr-Latn-RS" dirty="0" smtClean="0">
                <a:solidFill>
                  <a:srgbClr val="CE0033"/>
                </a:solidFill>
                <a:latin typeface="+mn-lt"/>
              </a:rPr>
              <a:t> plaćanja (zavise od stope ili izneksa)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927912" y="3844843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</a:rPr>
              <a:t>Garantovani ostatak vrednost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68269" y="517095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</a:rPr>
              <a:t>Cena korišćenja opicije otkup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9197" y="517094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</a:rPr>
              <a:t>Kazne za raskid zakup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066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build="p" animBg="1"/>
      <p:bldP spid="12" grpId="0" animBg="1"/>
      <p:bldP spid="13" grpId="0" animBg="1"/>
      <p:bldP spid="14" grpId="0" animBg="1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68270" y="114018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rgbClr val="CE0033"/>
                </a:solidFill>
                <a:latin typeface="+mn-lt"/>
              </a:rPr>
              <a:t>9 X 50,000 X diskont 5% </a:t>
            </a:r>
            <a:r>
              <a:rPr lang="en-US" dirty="0" smtClean="0">
                <a:solidFill>
                  <a:srgbClr val="CE0033"/>
                </a:solidFill>
                <a:latin typeface="+mn-lt"/>
              </a:rPr>
              <a:t>= 355,391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77965" y="1386467"/>
            <a:ext cx="2743157" cy="2673706"/>
          </a:xfrm>
          <a:prstGeom prst="ellipse">
            <a:avLst/>
          </a:prstGeom>
          <a:solidFill>
            <a:srgbClr val="515D69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Obaveza po osnovu lizinga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94127" y="252087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CE0033"/>
                </a:solidFill>
              </a:rPr>
              <a:t>Nem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927912" y="3844843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CE0033"/>
                </a:solidFill>
              </a:rPr>
              <a:t>Nem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68269" y="517095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CE0033"/>
                </a:solidFill>
              </a:rPr>
              <a:t>Nem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9197" y="517094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rgbClr val="CE0033"/>
                </a:solidFill>
              </a:rPr>
              <a:t>Nema</a:t>
            </a:r>
            <a:endParaRPr lang="sr-Latn-RS" dirty="0">
              <a:solidFill>
                <a:srgbClr val="CE003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3589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68270" y="114018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  <a:latin typeface="+mn-lt"/>
              </a:rPr>
              <a:t>Iznos početno izmerene obaveze</a:t>
            </a:r>
            <a:endParaRPr lang="sr-Latn-R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77965" y="1386467"/>
            <a:ext cx="2743157" cy="2673706"/>
          </a:xfrm>
          <a:prstGeom prst="ellipse">
            <a:avLst/>
          </a:prstGeom>
          <a:solidFill>
            <a:srgbClr val="CE0033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Pravo korišćenja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94127" y="252087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Avansna plaćanja</a:t>
            </a:r>
            <a:endParaRPr lang="sr-Latn-R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927912" y="3844843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(Minus) podsticaji ili popusti</a:t>
            </a:r>
            <a:endParaRPr lang="sr-Latn-R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68269" y="517095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Inicijalni direktni troškovi</a:t>
            </a:r>
            <a:endParaRPr lang="sr-Latn-RS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9197" y="517094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Demontaža ili obnavljanje lokacije</a:t>
            </a:r>
            <a:endParaRPr lang="sr-Latn-R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123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268270" y="114018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3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>55,391</a:t>
            </a:r>
            <a:endParaRPr lang="sr-Latn-R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77965" y="1386467"/>
            <a:ext cx="2743157" cy="2673706"/>
          </a:xfrm>
          <a:prstGeom prst="ellipse">
            <a:avLst/>
          </a:prstGeom>
          <a:solidFill>
            <a:srgbClr val="CE0033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Pravo korišćenja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94127" y="252087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50,000</a:t>
            </a:r>
            <a:endParaRPr lang="sr-Latn-R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927912" y="3844843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Nema</a:t>
            </a:r>
            <a:endParaRPr lang="sr-Latn-R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268269" y="517095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20,000</a:t>
            </a:r>
            <a:endParaRPr lang="sr-Latn-RS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09197" y="517094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10,000</a:t>
            </a:r>
            <a:endParaRPr lang="sr-Latn-R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637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0" grpId="0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23079" y="1369038"/>
            <a:ext cx="8161361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b="1" dirty="0" smtClean="0"/>
              <a:t>PRIMER 1:</a:t>
            </a:r>
          </a:p>
          <a:p>
            <a:endParaRPr lang="sr-Latn-RS" dirty="0" smtClean="0"/>
          </a:p>
          <a:p>
            <a:r>
              <a:rPr lang="sr-Latn-RS" dirty="0" smtClean="0"/>
              <a:t>Z</a:t>
            </a:r>
            <a:r>
              <a:rPr lang="en-US" dirty="0" err="1" smtClean="0"/>
              <a:t>akupac</a:t>
            </a:r>
            <a:r>
              <a:rPr lang="sr-Latn-RS" dirty="0" smtClean="0"/>
              <a:t> </a:t>
            </a:r>
            <a:r>
              <a:rPr lang="en-US" dirty="0" err="1" smtClean="0"/>
              <a:t>ulazi</a:t>
            </a:r>
            <a:r>
              <a:rPr lang="en-US" dirty="0" smtClean="0"/>
              <a:t> </a:t>
            </a:r>
            <a:r>
              <a:rPr lang="en-US" dirty="0"/>
              <a:t>u 5‐godišnji </a:t>
            </a:r>
            <a:r>
              <a:rPr lang="en-US" dirty="0" err="1"/>
              <a:t>zakup</a:t>
            </a:r>
            <a:r>
              <a:rPr lang="en-US" dirty="0"/>
              <a:t> </a:t>
            </a:r>
            <a:r>
              <a:rPr lang="en-US" dirty="0" err="1"/>
              <a:t>sprata</a:t>
            </a:r>
            <a:r>
              <a:rPr lang="en-US" dirty="0"/>
              <a:t> </a:t>
            </a:r>
            <a:r>
              <a:rPr lang="en-US" dirty="0" err="1"/>
              <a:t>zgrade</a:t>
            </a:r>
            <a:r>
              <a:rPr lang="en-US" dirty="0"/>
              <a:t>,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opcijom</a:t>
            </a:r>
            <a:r>
              <a:rPr lang="en-US" dirty="0"/>
              <a:t> da se on</a:t>
            </a:r>
          </a:p>
          <a:p>
            <a:r>
              <a:rPr lang="en-US" dirty="0" err="1"/>
              <a:t>produži</a:t>
            </a:r>
            <a:r>
              <a:rPr lang="en-US" dirty="0"/>
              <a:t> na </a:t>
            </a:r>
            <a:r>
              <a:rPr lang="en-US" dirty="0" err="1"/>
              <a:t>još</a:t>
            </a:r>
            <a:r>
              <a:rPr lang="en-US" dirty="0"/>
              <a:t> 5 </a:t>
            </a:r>
            <a:r>
              <a:rPr lang="en-US" dirty="0" err="1"/>
              <a:t>godina</a:t>
            </a:r>
            <a:r>
              <a:rPr lang="en-US" dirty="0"/>
              <a:t>. Rate </a:t>
            </a:r>
            <a:r>
              <a:rPr lang="en-US" dirty="0" err="1"/>
              <a:t>zakupnine</a:t>
            </a:r>
            <a:r>
              <a:rPr lang="en-US" dirty="0"/>
              <a:t> </a:t>
            </a:r>
            <a:r>
              <a:rPr lang="en-US" dirty="0" err="1"/>
              <a:t>iznose</a:t>
            </a:r>
            <a:r>
              <a:rPr lang="en-US" dirty="0"/>
              <a:t> $50,000 </a:t>
            </a:r>
            <a:r>
              <a:rPr lang="en-US" dirty="0" err="1"/>
              <a:t>godišnje</a:t>
            </a:r>
            <a:r>
              <a:rPr lang="en-US" dirty="0"/>
              <a:t> (</a:t>
            </a:r>
            <a:r>
              <a:rPr lang="en-US" dirty="0" err="1"/>
              <a:t>uključujući</a:t>
            </a:r>
            <a:r>
              <a:rPr lang="en-US" dirty="0"/>
              <a:t> i</a:t>
            </a:r>
          </a:p>
          <a:p>
            <a:r>
              <a:rPr lang="en-US" dirty="0"/>
              <a:t>period </a:t>
            </a:r>
            <a:r>
              <a:rPr lang="en-US" dirty="0" err="1"/>
              <a:t>produženja</a:t>
            </a:r>
            <a:r>
              <a:rPr lang="en-US" dirty="0"/>
              <a:t>), a </a:t>
            </a:r>
            <a:r>
              <a:rPr lang="en-US" dirty="0" err="1"/>
              <a:t>sve</a:t>
            </a:r>
            <a:r>
              <a:rPr lang="en-US" dirty="0"/>
              <a:t> se </a:t>
            </a:r>
            <a:r>
              <a:rPr lang="en-US" dirty="0" err="1"/>
              <a:t>plaćaju</a:t>
            </a:r>
            <a:r>
              <a:rPr lang="en-US" dirty="0"/>
              <a:t> na </a:t>
            </a:r>
            <a:r>
              <a:rPr lang="en-US" dirty="0" err="1"/>
              <a:t>početku</a:t>
            </a:r>
            <a:r>
              <a:rPr lang="en-US" dirty="0"/>
              <a:t> </a:t>
            </a:r>
            <a:r>
              <a:rPr lang="en-US" dirty="0" err="1"/>
              <a:t>svake</a:t>
            </a:r>
            <a:r>
              <a:rPr lang="en-US" dirty="0"/>
              <a:t> </a:t>
            </a:r>
            <a:r>
              <a:rPr lang="en-US" dirty="0" err="1"/>
              <a:t>godine</a:t>
            </a:r>
            <a:r>
              <a:rPr lang="en-US" dirty="0"/>
              <a:t>. </a:t>
            </a:r>
            <a:r>
              <a:rPr lang="en-US" dirty="0" err="1"/>
              <a:t>Za</a:t>
            </a:r>
            <a:r>
              <a:rPr lang="en-US" dirty="0"/>
              <a:t> </a:t>
            </a:r>
            <a:r>
              <a:rPr lang="en-US" dirty="0" err="1"/>
              <a:t>pribavljanje</a:t>
            </a:r>
            <a:endParaRPr lang="en-US" dirty="0"/>
          </a:p>
          <a:p>
            <a:r>
              <a:rPr lang="pl-PL" dirty="0"/>
              <a:t>zakupa, zakupac će imati direktne troškove u iznosu od $20,000 (iznos od</a:t>
            </a:r>
          </a:p>
          <a:p>
            <a:r>
              <a:rPr lang="en-US" dirty="0"/>
              <a:t>$15,000 </a:t>
            </a:r>
            <a:r>
              <a:rPr lang="en-US" dirty="0" err="1"/>
              <a:t>koji</a:t>
            </a:r>
            <a:r>
              <a:rPr lang="en-US" dirty="0"/>
              <a:t> se </a:t>
            </a:r>
            <a:r>
              <a:rPr lang="en-US" dirty="0" err="1"/>
              <a:t>isplaćuje</a:t>
            </a:r>
            <a:r>
              <a:rPr lang="en-US" dirty="0"/>
              <a:t> </a:t>
            </a:r>
            <a:r>
              <a:rPr lang="en-US" dirty="0" err="1"/>
              <a:t>bivšem</a:t>
            </a:r>
            <a:r>
              <a:rPr lang="en-US" dirty="0"/>
              <a:t> </a:t>
            </a:r>
            <a:r>
              <a:rPr lang="en-US" dirty="0" err="1"/>
              <a:t>zakupcu</a:t>
            </a:r>
            <a:r>
              <a:rPr lang="en-US" dirty="0"/>
              <a:t> </a:t>
            </a:r>
            <a:r>
              <a:rPr lang="en-US" dirty="0" err="1"/>
              <a:t>koji</a:t>
            </a:r>
            <a:r>
              <a:rPr lang="en-US" dirty="0"/>
              <a:t> </a:t>
            </a:r>
            <a:r>
              <a:rPr lang="en-US" dirty="0" err="1"/>
              <a:t>trenutno</a:t>
            </a:r>
            <a:r>
              <a:rPr lang="en-US" dirty="0"/>
              <a:t> </a:t>
            </a:r>
            <a:r>
              <a:rPr lang="en-US" dirty="0" err="1"/>
              <a:t>iznajmljuje</a:t>
            </a:r>
            <a:r>
              <a:rPr lang="en-US" dirty="0"/>
              <a:t> sprat i </a:t>
            </a:r>
            <a:r>
              <a:rPr lang="en-US" dirty="0" err="1"/>
              <a:t>iznos</a:t>
            </a:r>
            <a:endParaRPr lang="en-US" dirty="0"/>
          </a:p>
          <a:p>
            <a:r>
              <a:rPr lang="pl-PL" dirty="0"/>
              <a:t>od $5,000 za naknade agenciji za nekretnine). </a:t>
            </a:r>
            <a:r>
              <a:rPr lang="en-US" dirty="0" err="1" smtClean="0"/>
              <a:t>Tr</a:t>
            </a:r>
            <a:r>
              <a:rPr lang="sr-Latn-RS" dirty="0" smtClean="0"/>
              <a:t>oškovi demontaže opreme koja nije u funkciji su </a:t>
            </a:r>
            <a:r>
              <a:rPr lang="en-US" dirty="0"/>
              <a:t>$</a:t>
            </a:r>
            <a:r>
              <a:rPr lang="en-US" dirty="0" smtClean="0"/>
              <a:t>1</a:t>
            </a:r>
            <a:r>
              <a:rPr lang="sr-Latn-RS" dirty="0" smtClean="0"/>
              <a:t>0</a:t>
            </a:r>
            <a:r>
              <a:rPr lang="en-US" dirty="0" smtClean="0"/>
              <a:t>,000</a:t>
            </a:r>
            <a:r>
              <a:rPr lang="sr-Latn-RS" dirty="0" smtClean="0"/>
              <a:t>.</a:t>
            </a:r>
            <a:r>
              <a:rPr lang="en-US" dirty="0" smtClean="0"/>
              <a:t> </a:t>
            </a:r>
            <a:endParaRPr lang="pl-PL" dirty="0" smtClean="0"/>
          </a:p>
          <a:p>
            <a:endParaRPr lang="pl-PL" dirty="0"/>
          </a:p>
          <a:p>
            <a:r>
              <a:rPr lang="pl-PL" dirty="0" smtClean="0">
                <a:solidFill>
                  <a:srgbClr val="CC0033"/>
                </a:solidFill>
              </a:rPr>
              <a:t>Uslovi </a:t>
            </a:r>
            <a:r>
              <a:rPr lang="pl-PL" dirty="0">
                <a:solidFill>
                  <a:srgbClr val="CC0033"/>
                </a:solidFill>
              </a:rPr>
              <a:t>zakupa takođe zahtevaju </a:t>
            </a:r>
            <a:r>
              <a:rPr lang="pl-PL" dirty="0" smtClean="0">
                <a:solidFill>
                  <a:srgbClr val="CC0033"/>
                </a:solidFill>
              </a:rPr>
              <a:t>da </a:t>
            </a:r>
            <a:r>
              <a:rPr lang="en-US" dirty="0">
                <a:solidFill>
                  <a:srgbClr val="CC0033"/>
                </a:solidFill>
              </a:rPr>
              <a:t>Z</a:t>
            </a:r>
            <a:r>
              <a:rPr lang="pl-PL" dirty="0" smtClean="0">
                <a:solidFill>
                  <a:srgbClr val="CC0033"/>
                </a:solidFill>
              </a:rPr>
              <a:t>akupac godišnje </a:t>
            </a:r>
            <a:r>
              <a:rPr lang="pl-PL" dirty="0">
                <a:solidFill>
                  <a:srgbClr val="CC0033"/>
                </a:solidFill>
              </a:rPr>
              <a:t>uplaćuje Zakupodavcu 2% bruto prihoda od </a:t>
            </a:r>
            <a:r>
              <a:rPr lang="pl-PL" dirty="0" smtClean="0">
                <a:solidFill>
                  <a:srgbClr val="CC0033"/>
                </a:solidFill>
              </a:rPr>
              <a:t>prodaje</a:t>
            </a:r>
            <a:r>
              <a:rPr lang="en-US" dirty="0" smtClean="0">
                <a:solidFill>
                  <a:srgbClr val="CC0033"/>
                </a:solidFill>
              </a:rPr>
              <a:t> </a:t>
            </a:r>
            <a:r>
              <a:rPr lang="pl-PL" dirty="0" smtClean="0">
                <a:solidFill>
                  <a:srgbClr val="CC0033"/>
                </a:solidFill>
              </a:rPr>
              <a:t>ostvarenog </a:t>
            </a:r>
            <a:r>
              <a:rPr lang="pl-PL" dirty="0">
                <a:solidFill>
                  <a:srgbClr val="CC0033"/>
                </a:solidFill>
              </a:rPr>
              <a:t>u prostoru koji se zakupljuje</a:t>
            </a:r>
            <a:r>
              <a:rPr lang="pl-PL" dirty="0" smtClean="0">
                <a:solidFill>
                  <a:srgbClr val="CC0033"/>
                </a:solidFill>
              </a:rPr>
              <a:t>.</a:t>
            </a:r>
          </a:p>
          <a:p>
            <a:endParaRPr lang="pl-PL" dirty="0"/>
          </a:p>
          <a:p>
            <a:r>
              <a:rPr lang="sr-Latn-RS" dirty="0" smtClean="0"/>
              <a:t>Zakupac </a:t>
            </a:r>
            <a:r>
              <a:rPr lang="en-US" dirty="0" err="1" smtClean="0"/>
              <a:t>zaključuje</a:t>
            </a:r>
            <a:r>
              <a:rPr lang="en-US" dirty="0" smtClean="0"/>
              <a:t> </a:t>
            </a:r>
            <a:r>
              <a:rPr lang="en-US" dirty="0"/>
              <a:t>da je </a:t>
            </a:r>
            <a:r>
              <a:rPr lang="en-US" dirty="0" err="1"/>
              <a:t>razumno</a:t>
            </a:r>
            <a:r>
              <a:rPr lang="en-US" dirty="0"/>
              <a:t> </a:t>
            </a:r>
            <a:r>
              <a:rPr lang="en-US" dirty="0" smtClean="0"/>
              <a:t>da </a:t>
            </a:r>
            <a:r>
              <a:rPr lang="en-US" dirty="0" err="1"/>
              <a:t>će</a:t>
            </a:r>
            <a:r>
              <a:rPr lang="en-US" dirty="0"/>
              <a:t> </a:t>
            </a:r>
            <a:r>
              <a:rPr lang="en-US" dirty="0" err="1"/>
              <a:t>koristiti</a:t>
            </a:r>
            <a:r>
              <a:rPr lang="en-US" dirty="0"/>
              <a:t> </a:t>
            </a:r>
            <a:r>
              <a:rPr lang="en-US" dirty="0" err="1"/>
              <a:t>opciju</a:t>
            </a:r>
            <a:r>
              <a:rPr lang="en-US" dirty="0"/>
              <a:t> </a:t>
            </a:r>
            <a:r>
              <a:rPr lang="en-US" dirty="0" err="1"/>
              <a:t>produženja</a:t>
            </a:r>
            <a:endParaRPr lang="en-US" dirty="0"/>
          </a:p>
          <a:p>
            <a:r>
              <a:rPr lang="en-US" dirty="0" err="1"/>
              <a:t>zakupa</a:t>
            </a:r>
            <a:r>
              <a:rPr lang="en-US" dirty="0"/>
              <a:t>.</a:t>
            </a:r>
          </a:p>
          <a:p>
            <a:endParaRPr lang="sr-Latn-RS" dirty="0" smtClean="0"/>
          </a:p>
          <a:p>
            <a:r>
              <a:rPr lang="en-US" dirty="0" err="1" smtClean="0"/>
              <a:t>Zakupac</a:t>
            </a:r>
            <a:r>
              <a:rPr lang="en-US" dirty="0" smtClean="0"/>
              <a:t> </a:t>
            </a:r>
            <a:r>
              <a:rPr lang="en-US" dirty="0"/>
              <a:t>je </a:t>
            </a:r>
            <a:r>
              <a:rPr lang="en-US" dirty="0" err="1"/>
              <a:t>utvrdio</a:t>
            </a:r>
            <a:r>
              <a:rPr lang="en-US" dirty="0"/>
              <a:t> da </a:t>
            </a:r>
            <a:r>
              <a:rPr lang="en-US" dirty="0" smtClean="0"/>
              <a:t>je</a:t>
            </a:r>
            <a:r>
              <a:rPr lang="sr-Latn-RS" dirty="0" smtClean="0"/>
              <a:t> </a:t>
            </a:r>
            <a:r>
              <a:rPr lang="pl-PL" dirty="0" smtClean="0"/>
              <a:t>njegova </a:t>
            </a:r>
            <a:r>
              <a:rPr lang="pl-PL" dirty="0"/>
              <a:t>inkrementalna kamatna stopa pozajmljivanja procenjena na </a:t>
            </a:r>
            <a:r>
              <a:rPr lang="pl-PL" dirty="0" smtClean="0"/>
              <a:t>5% </a:t>
            </a:r>
            <a:r>
              <a:rPr lang="en-US" dirty="0" err="1" smtClean="0"/>
              <a:t>godišnj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09907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23079" y="1369038"/>
            <a:ext cx="81613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b="1" dirty="0" smtClean="0"/>
              <a:t>PRIMER 1:</a:t>
            </a:r>
          </a:p>
        </p:txBody>
      </p:sp>
      <p:sp>
        <p:nvSpPr>
          <p:cNvPr id="3" name="Rectangle 2"/>
          <p:cNvSpPr/>
          <p:nvPr/>
        </p:nvSpPr>
        <p:spPr>
          <a:xfrm>
            <a:off x="525439" y="2089835"/>
            <a:ext cx="70763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Inicijalno</a:t>
            </a:r>
            <a:r>
              <a:rPr lang="en-US" dirty="0"/>
              <a:t> </a:t>
            </a:r>
            <a:r>
              <a:rPr lang="en-US" dirty="0" err="1"/>
              <a:t>knjiženje</a:t>
            </a:r>
            <a:r>
              <a:rPr lang="en-US" dirty="0"/>
              <a:t> </a:t>
            </a:r>
            <a:r>
              <a:rPr lang="en-US" dirty="0" err="1"/>
              <a:t>imovine</a:t>
            </a:r>
            <a:r>
              <a:rPr lang="en-US" dirty="0"/>
              <a:t> i </a:t>
            </a:r>
            <a:r>
              <a:rPr lang="en-US" dirty="0" err="1"/>
              <a:t>obaveza</a:t>
            </a:r>
            <a:r>
              <a:rPr lang="en-US" dirty="0" smtClean="0"/>
              <a:t>:</a:t>
            </a:r>
            <a:endParaRPr lang="sr-Latn-RS" dirty="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2509574"/>
              </p:ext>
            </p:extLst>
          </p:nvPr>
        </p:nvGraphicFramePr>
        <p:xfrm>
          <a:off x="630259" y="2977819"/>
          <a:ext cx="7747000" cy="13182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350"/>
                <a:gridCol w="761688"/>
                <a:gridCol w="761688"/>
                <a:gridCol w="3132848"/>
                <a:gridCol w="1211946"/>
                <a:gridCol w="1269480"/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KONTO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Opis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</a:rPr>
                        <a:t>Duguje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Potražuj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Latn-R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</a:rPr>
                        <a:t>0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Imovina sa pravom korišćenj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435,911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1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baveze po osnovu zakup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                </a:t>
                      </a:r>
                      <a:r>
                        <a:rPr lang="en-US" sz="1400" u="none" strike="noStrike" dirty="0" smtClean="0">
                          <a:effectLst/>
                        </a:rPr>
                        <a:t>355,391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3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Dobavaljači u zemlj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       </a:t>
                      </a:r>
                      <a:r>
                        <a:rPr lang="en-US" sz="1400" u="none" strike="noStrike" dirty="0" smtClean="0">
                          <a:effectLst/>
                        </a:rPr>
                        <a:t>            </a:t>
                      </a:r>
                      <a:r>
                        <a:rPr lang="en-US" sz="1400" u="none" strike="noStrike" dirty="0">
                          <a:effectLst/>
                        </a:rPr>
                        <a:t>80,00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0668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" grpId="0"/>
      <p:bldP spid="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373432"/>
            <a:ext cx="8068236" cy="33055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/>
              <a:t>POČETNO PRIZNAVANJE I MERENJE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/>
              <a:t>V</a:t>
            </a:r>
            <a:r>
              <a:rPr lang="en-US" dirty="0" err="1" smtClean="0"/>
              <a:t>arijabilna</a:t>
            </a:r>
            <a:r>
              <a:rPr lang="en-US" dirty="0" smtClean="0"/>
              <a:t> </a:t>
            </a:r>
            <a:r>
              <a:rPr lang="en-US" dirty="0" err="1" smtClean="0"/>
              <a:t>pla</a:t>
            </a:r>
            <a:r>
              <a:rPr lang="sr-Latn-RS" dirty="0" smtClean="0"/>
              <a:t>ćanja primeri: 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solidFill>
                <a:srgbClr val="CE0033"/>
              </a:solidFill>
            </a:endParaRP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i="1" dirty="0" smtClean="0">
                <a:solidFill>
                  <a:srgbClr val="CE0033"/>
                </a:solidFill>
              </a:rPr>
              <a:t>Visina zakupa određena na bazi % od prometa</a:t>
            </a: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i="1" dirty="0">
              <a:solidFill>
                <a:srgbClr val="CE0033"/>
              </a:solidFill>
            </a:endParaRP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i="1" dirty="0" smtClean="0">
                <a:solidFill>
                  <a:srgbClr val="CE0033"/>
                </a:solidFill>
              </a:rPr>
              <a:t>Visina zakupa uslovno određena (Ako zakupac ostvari promet veći oc X zakupnina iznosi Y)</a:t>
            </a: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i="1" dirty="0">
              <a:solidFill>
                <a:srgbClr val="CE0033"/>
              </a:solidFill>
            </a:endParaRP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i="1" dirty="0" smtClean="0">
                <a:solidFill>
                  <a:srgbClr val="CE0033"/>
                </a:solidFill>
              </a:rPr>
              <a:t>Visina zakupa se usklađuje u skladu sa rastom cena na malo</a:t>
            </a:r>
            <a:endParaRPr lang="en-US" i="1" dirty="0">
              <a:solidFill>
                <a:srgbClr val="CE0033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37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373432"/>
            <a:ext cx="8068236" cy="41919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/>
              <a:t>POČETNO PRIZNAVANJE I MERENJE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/>
              <a:t>Da bi se svela na sadašnju vrednost p</a:t>
            </a:r>
            <a:r>
              <a:rPr lang="en-US" dirty="0" err="1" smtClean="0"/>
              <a:t>laćanja</a:t>
            </a:r>
            <a:r>
              <a:rPr lang="en-US" dirty="0" smtClean="0"/>
              <a:t> se</a:t>
            </a:r>
            <a:r>
              <a:rPr lang="sr-Latn-RS" dirty="0" smtClean="0"/>
              <a:t> diskontuju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/>
              <a:t>I</a:t>
            </a:r>
            <a:r>
              <a:rPr lang="en-US" dirty="0" smtClean="0"/>
              <a:t>n</a:t>
            </a:r>
            <a:r>
              <a:rPr lang="sr-Latn-RS" dirty="0" smtClean="0"/>
              <a:t>krementalna stopa: 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solidFill>
                <a:srgbClr val="CE0033"/>
              </a:solidFill>
            </a:endParaRP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i="1" dirty="0" smtClean="0">
                <a:solidFill>
                  <a:srgbClr val="CE0033"/>
                </a:solidFill>
              </a:rPr>
              <a:t>ona kamata koju bi zakupac morao da plati da u sličnom roku i pod sličnim uslovima </a:t>
            </a:r>
            <a:r>
              <a:rPr lang="sr-Latn-RS" b="1" i="1" u="sng" dirty="0" smtClean="0">
                <a:solidFill>
                  <a:srgbClr val="CE0033"/>
                </a:solidFill>
              </a:rPr>
              <a:t>pozajm</a:t>
            </a:r>
            <a:r>
              <a:rPr lang="en-US" b="1" i="1" u="sng" dirty="0" smtClean="0">
                <a:solidFill>
                  <a:srgbClr val="CE0033"/>
                </a:solidFill>
              </a:rPr>
              <a:t>i</a:t>
            </a:r>
            <a:r>
              <a:rPr lang="sr-Latn-RS" b="1" i="1" u="sng" dirty="0" smtClean="0">
                <a:solidFill>
                  <a:srgbClr val="CE0033"/>
                </a:solidFill>
              </a:rPr>
              <a:t> sredstva </a:t>
            </a:r>
            <a:r>
              <a:rPr lang="sr-Latn-RS" i="1" dirty="0" smtClean="0">
                <a:solidFill>
                  <a:srgbClr val="CE0033"/>
                </a:solidFill>
              </a:rPr>
              <a:t>neopodna za nabavku imovine slične vrednosti sa pravom korišćenja u sličnom ekonomskom okruženju</a:t>
            </a: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i="1" dirty="0">
              <a:solidFill>
                <a:srgbClr val="CE0033"/>
              </a:solidFill>
            </a:endParaRPr>
          </a:p>
          <a:p>
            <a:pPr marL="74771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i="1" dirty="0" smtClean="0">
                <a:solidFill>
                  <a:srgbClr val="CE0033"/>
                </a:solidFill>
              </a:rPr>
              <a:t>Intrena uporediovst ili metod zidanja</a:t>
            </a:r>
            <a:endParaRPr lang="en-US" i="1" dirty="0">
              <a:solidFill>
                <a:srgbClr val="CE0033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035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477061" y="1204248"/>
            <a:ext cx="632460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>
                <a:solidFill>
                  <a:schemeClr val="bg1"/>
                </a:solidFill>
              </a:rPr>
              <a:t>BILANS STANJA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7061" y="1737648"/>
            <a:ext cx="2895600" cy="1712279"/>
          </a:xfrm>
          <a:prstGeom prst="rect">
            <a:avLst/>
          </a:prstGeom>
          <a:solidFill>
            <a:srgbClr val="82909E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/>
              <a:t>IMOVINA</a:t>
            </a:r>
          </a:p>
          <a:p>
            <a:pPr algn="ctr"/>
            <a:r>
              <a:rPr lang="sr-Latn-RS" dirty="0" smtClean="0"/>
              <a:t>pravo korišćenja (kontrol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601261" y="1737648"/>
            <a:ext cx="3200400" cy="851667"/>
          </a:xfrm>
          <a:prstGeom prst="rect">
            <a:avLst/>
          </a:prstGeom>
          <a:solidFill>
            <a:srgbClr val="82909E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dirty="0" smtClean="0"/>
              <a:t>DUGOROČNE OBAVEZE</a:t>
            </a:r>
          </a:p>
          <a:p>
            <a:r>
              <a:rPr lang="sr-Latn-RS" dirty="0" smtClean="0"/>
              <a:t>obaveze iz lizing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601261" y="2671098"/>
            <a:ext cx="3200400" cy="778829"/>
          </a:xfrm>
          <a:prstGeom prst="rect">
            <a:avLst/>
          </a:prstGeom>
          <a:solidFill>
            <a:srgbClr val="82909E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dirty="0" smtClean="0"/>
              <a:t>KRATKOROČNE OBAVEZE</a:t>
            </a:r>
          </a:p>
          <a:p>
            <a:r>
              <a:rPr lang="sr-Latn-RS" dirty="0" smtClean="0"/>
              <a:t>obaveze iz lizinga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453353" y="5065262"/>
            <a:ext cx="3229550" cy="522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i="1" dirty="0" smtClean="0">
                <a:solidFill>
                  <a:srgbClr val="CE0033"/>
                </a:solidFill>
              </a:rPr>
              <a:t>Koeficijenti zaduženosti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019793" y="4396245"/>
            <a:ext cx="3650892" cy="522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sr-Latn-RS" i="1" dirty="0" smtClean="0">
                <a:solidFill>
                  <a:srgbClr val="CE0033"/>
                </a:solidFill>
              </a:rPr>
              <a:t>Ušeće kapitala u ukunoj pasivi</a:t>
            </a:r>
          </a:p>
        </p:txBody>
      </p:sp>
      <p:sp>
        <p:nvSpPr>
          <p:cNvPr id="2" name="Down Arrow 1"/>
          <p:cNvSpPr/>
          <p:nvPr/>
        </p:nvSpPr>
        <p:spPr>
          <a:xfrm>
            <a:off x="7836276" y="4435654"/>
            <a:ext cx="475129" cy="513250"/>
          </a:xfrm>
          <a:prstGeom prst="downArrow">
            <a:avLst/>
          </a:prstGeom>
          <a:solidFill>
            <a:srgbClr val="CE00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Down Arrow 23"/>
          <p:cNvSpPr/>
          <p:nvPr/>
        </p:nvSpPr>
        <p:spPr>
          <a:xfrm rot="10800000">
            <a:off x="7836275" y="5131536"/>
            <a:ext cx="475129" cy="513250"/>
          </a:xfrm>
          <a:prstGeom prst="downArrow">
            <a:avLst/>
          </a:prstGeom>
          <a:solidFill>
            <a:srgbClr val="CE00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477061" y="3701505"/>
            <a:ext cx="2895600" cy="2419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/>
              <a:t>Prikazuje se </a:t>
            </a:r>
            <a:r>
              <a:rPr lang="en-US" dirty="0" err="1"/>
              <a:t>odvojeno</a:t>
            </a:r>
            <a:r>
              <a:rPr lang="en-US" dirty="0"/>
              <a:t> od </a:t>
            </a:r>
            <a:r>
              <a:rPr lang="en-US" dirty="0" err="1"/>
              <a:t>ostale</a:t>
            </a:r>
            <a:r>
              <a:rPr lang="en-US" dirty="0"/>
              <a:t> </a:t>
            </a:r>
            <a:r>
              <a:rPr lang="en-US" dirty="0" err="1"/>
              <a:t>imovine</a:t>
            </a:r>
            <a:r>
              <a:rPr lang="sr-Latn-RS" dirty="0"/>
              <a:t> ili </a:t>
            </a:r>
            <a:r>
              <a:rPr lang="en-US" dirty="0"/>
              <a:t> </a:t>
            </a: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/>
              <a:t>U okviru one </a:t>
            </a:r>
            <a:r>
              <a:rPr lang="en-US" dirty="0" err="1"/>
              <a:t>stavk</a:t>
            </a:r>
            <a:r>
              <a:rPr lang="sr-Latn-RS" dirty="0"/>
              <a:t>e</a:t>
            </a:r>
            <a:r>
              <a:rPr lang="en-US" dirty="0"/>
              <a:t> pod </a:t>
            </a:r>
            <a:r>
              <a:rPr lang="en-US" dirty="0" err="1"/>
              <a:t>kojom</a:t>
            </a:r>
            <a:r>
              <a:rPr lang="en-US" dirty="0"/>
              <a:t> bi </a:t>
            </a:r>
            <a:r>
              <a:rPr lang="en-US" dirty="0" err="1"/>
              <a:t>odgovarajuća</a:t>
            </a:r>
            <a:r>
              <a:rPr lang="en-US" dirty="0"/>
              <a:t> </a:t>
            </a:r>
            <a:r>
              <a:rPr lang="en-US" dirty="0" err="1"/>
              <a:t>imovina</a:t>
            </a:r>
            <a:r>
              <a:rPr lang="en-US" dirty="0"/>
              <a:t> </a:t>
            </a:r>
            <a:r>
              <a:rPr lang="en-US" dirty="0" err="1"/>
              <a:t>bila</a:t>
            </a:r>
            <a:r>
              <a:rPr lang="en-US" dirty="0"/>
              <a:t> </a:t>
            </a:r>
            <a:r>
              <a:rPr lang="en-US" dirty="0" err="1"/>
              <a:t>prikazana</a:t>
            </a:r>
            <a:r>
              <a:rPr lang="en-US" dirty="0"/>
              <a:t> u </a:t>
            </a:r>
            <a:r>
              <a:rPr lang="en-US" dirty="0" err="1"/>
              <a:t>slučaju</a:t>
            </a:r>
            <a:r>
              <a:rPr lang="en-US" dirty="0"/>
              <a:t> da je u </a:t>
            </a:r>
            <a:r>
              <a:rPr lang="en-US" dirty="0" err="1"/>
              <a:t>vlasništvu</a:t>
            </a:r>
            <a:r>
              <a:rPr lang="en-US" dirty="0"/>
              <a:t> </a:t>
            </a:r>
            <a:r>
              <a:rPr lang="sr-Latn-RS" dirty="0" smtClean="0"/>
              <a:t>Zakupc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952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8" grpId="0"/>
      <p:bldP spid="16" grpId="0"/>
      <p:bldP spid="2" grpId="0" animBg="1"/>
      <p:bldP spid="24" grpId="0" animBg="1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6980" y="1053334"/>
            <a:ext cx="8068236" cy="485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latin typeface="Arial" pitchFamily="34" charset="0"/>
                <a:cs typeface="Arial" pitchFamily="34" charset="0"/>
              </a:rPr>
              <a:t>POČETAK PRIMENE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Standard </a:t>
            </a:r>
            <a:r>
              <a:rPr lang="sr-Latn-RS" dirty="0">
                <a:latin typeface="Arial" pitchFamily="34" charset="0"/>
                <a:cs typeface="Arial" pitchFamily="34" charset="0"/>
              </a:rPr>
              <a:t>menja dosadašnji </a:t>
            </a:r>
            <a:r>
              <a:rPr lang="sr-Latn-RS" dirty="0" smtClean="0">
                <a:latin typeface="Arial" pitchFamily="34" charset="0"/>
                <a:cs typeface="Arial" pitchFamily="34" charset="0"/>
              </a:rPr>
              <a:t>IAS </a:t>
            </a:r>
            <a:r>
              <a:rPr lang="sr-Latn-RS" dirty="0">
                <a:latin typeface="Arial" pitchFamily="34" charset="0"/>
                <a:cs typeface="Arial" pitchFamily="34" charset="0"/>
              </a:rPr>
              <a:t>17 – </a:t>
            </a:r>
            <a:r>
              <a:rPr lang="sr-Latn-RS" dirty="0" smtClean="0">
                <a:latin typeface="Arial" pitchFamily="34" charset="0"/>
                <a:cs typeface="Arial" pitchFamily="34" charset="0"/>
              </a:rPr>
              <a:t>Lizing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>
                <a:latin typeface="Arial" pitchFamily="34" charset="0"/>
                <a:cs typeface="Arial" pitchFamily="34" charset="0"/>
              </a:rPr>
              <a:t>Dozvoljena primena IFRS 16 i pre zvaničnog prevoda, ali samo ako se primenjuje i IFRS 15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>
                <a:latin typeface="Arial" pitchFamily="34" charset="0"/>
                <a:cs typeface="Arial" pitchFamily="34" charset="0"/>
              </a:rPr>
              <a:t>Dozvoljena primena IFRS 16 i pre zvaničnog prevoda, ali samo ako se primenjuje i IFRS 15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>
              <a:latin typeface="Arial" pitchFamily="34" charset="0"/>
              <a:cs typeface="Arial" pitchFamily="34" charset="0"/>
            </a:endParaRP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NEZVANIČNA INFORMACIJA IZ MF: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>
              <a:latin typeface="Arial" pitchFamily="34" charset="0"/>
              <a:cs typeface="Arial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Standard će biti u primeni za sve periode koji počinju u 2020.godini ako se prevod uradi u toku 2020.</a:t>
            </a:r>
          </a:p>
          <a:p>
            <a:pPr marL="285750" indent="-28575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Standard je preveden, čeka se potpis Ministra</a:t>
            </a: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6164" y="856073"/>
            <a:ext cx="8207375" cy="394521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63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472874" y="1922927"/>
            <a:ext cx="6324600" cy="457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>
                <a:solidFill>
                  <a:schemeClr val="bg1"/>
                </a:solidFill>
              </a:rPr>
              <a:t>BILANS USPEHA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72874" y="2528048"/>
            <a:ext cx="3068185" cy="522215"/>
          </a:xfrm>
          <a:prstGeom prst="rect">
            <a:avLst/>
          </a:prstGeom>
          <a:solidFill>
            <a:srgbClr val="8290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/>
              <a:t>Troškovi zakupa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756213" y="4365810"/>
            <a:ext cx="3041262" cy="522215"/>
          </a:xfrm>
          <a:prstGeom prst="rect">
            <a:avLst/>
          </a:prstGeom>
          <a:solidFill>
            <a:srgbClr val="8290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/>
              <a:t>Troškovi kamat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0448" y="1443318"/>
            <a:ext cx="3090611" cy="34963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600" dirty="0" smtClean="0"/>
              <a:t>MRS 17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756212" y="1443318"/>
            <a:ext cx="3041262" cy="34963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600" dirty="0" smtClean="0"/>
              <a:t>MSFI 16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2874" y="3135367"/>
            <a:ext cx="6347026" cy="522215"/>
          </a:xfrm>
          <a:prstGeom prst="rect">
            <a:avLst/>
          </a:prstGeom>
          <a:solidFill>
            <a:srgbClr val="77777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/>
              <a:t>EBITDA</a:t>
            </a:r>
            <a:r>
              <a:rPr lang="en-US" dirty="0" smtClean="0"/>
              <a:t>               </a:t>
            </a:r>
            <a:r>
              <a:rPr lang="en-US" sz="3600" dirty="0" smtClean="0"/>
              <a:t>&lt;       </a:t>
            </a:r>
            <a:r>
              <a:rPr lang="en-US" dirty="0" smtClean="0"/>
              <a:t> </a:t>
            </a:r>
            <a:r>
              <a:rPr lang="sr-Latn-RS" dirty="0" smtClean="0"/>
              <a:t>EBITDA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81838" y="4996725"/>
            <a:ext cx="6338062" cy="522215"/>
          </a:xfrm>
          <a:prstGeom prst="rect">
            <a:avLst/>
          </a:prstGeom>
          <a:solidFill>
            <a:srgbClr val="77777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/>
              <a:t>Dobitak         </a:t>
            </a:r>
            <a:r>
              <a:rPr lang="en-US" dirty="0" smtClean="0"/>
              <a:t>  </a:t>
            </a:r>
            <a:r>
              <a:rPr lang="sr-Latn-RS" dirty="0" smtClean="0"/>
              <a:t>      </a:t>
            </a:r>
            <a:r>
              <a:rPr lang="en-US" sz="3600" dirty="0"/>
              <a:t>&gt;</a:t>
            </a:r>
            <a:r>
              <a:rPr lang="sr-Latn-RS" dirty="0" smtClean="0"/>
              <a:t>   </a:t>
            </a:r>
            <a:r>
              <a:rPr lang="en-US" dirty="0" smtClean="0"/>
              <a:t> </a:t>
            </a:r>
            <a:r>
              <a:rPr lang="sr-Latn-RS" dirty="0" smtClean="0"/>
              <a:t>            Dobitak       </a:t>
            </a:r>
            <a:endParaRPr lang="sr-Latn-RS" dirty="0"/>
          </a:p>
        </p:txBody>
      </p:sp>
      <p:sp>
        <p:nvSpPr>
          <p:cNvPr id="27" name="Rectangle 26"/>
          <p:cNvSpPr/>
          <p:nvPr/>
        </p:nvSpPr>
        <p:spPr>
          <a:xfrm>
            <a:off x="3756212" y="3765178"/>
            <a:ext cx="3041262" cy="522215"/>
          </a:xfrm>
          <a:prstGeom prst="rect">
            <a:avLst/>
          </a:prstGeom>
          <a:solidFill>
            <a:srgbClr val="8290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/>
              <a:t>Trošak </a:t>
            </a:r>
            <a:r>
              <a:rPr lang="sr-Latn-RS" dirty="0" smtClean="0"/>
              <a:t>amortizacije</a:t>
            </a:r>
            <a:endParaRPr lang="sr-Latn-RS" dirty="0"/>
          </a:p>
        </p:txBody>
      </p:sp>
      <p:sp>
        <p:nvSpPr>
          <p:cNvPr id="28" name="Rectangle 27"/>
          <p:cNvSpPr/>
          <p:nvPr/>
        </p:nvSpPr>
        <p:spPr>
          <a:xfrm>
            <a:off x="5072829" y="2459495"/>
            <a:ext cx="8383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sz="3500" dirty="0">
                <a:latin typeface="Arial" pitchFamily="34" charset="0"/>
                <a:cs typeface="Arial" pitchFamily="34" charset="0"/>
              </a:rPr>
              <a:t>X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809691" y="4243465"/>
            <a:ext cx="8383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sz="3500" dirty="0">
                <a:latin typeface="Arial" pitchFamily="34" charset="0"/>
                <a:cs typeface="Arial" pitchFamily="34" charset="0"/>
              </a:rPr>
              <a:t>X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809688" y="3734868"/>
            <a:ext cx="8383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sz="3500" dirty="0">
                <a:latin typeface="Arial" pitchFamily="34" charset="0"/>
                <a:cs typeface="Arial" pitchFamily="34" charset="0"/>
              </a:rPr>
              <a:t>X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635174" y="5809825"/>
            <a:ext cx="3229550" cy="522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i="1" dirty="0" smtClean="0">
                <a:solidFill>
                  <a:srgbClr val="CE0033"/>
                </a:solidFill>
              </a:rPr>
              <a:t>Porez na dobit</a:t>
            </a:r>
          </a:p>
        </p:txBody>
      </p:sp>
      <p:sp>
        <p:nvSpPr>
          <p:cNvPr id="21" name="Down Arrow 20"/>
          <p:cNvSpPr/>
          <p:nvPr/>
        </p:nvSpPr>
        <p:spPr>
          <a:xfrm>
            <a:off x="5874497" y="5876099"/>
            <a:ext cx="475129" cy="513250"/>
          </a:xfrm>
          <a:prstGeom prst="downArrow">
            <a:avLst/>
          </a:prstGeom>
          <a:solidFill>
            <a:srgbClr val="CE00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9149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16" grpId="0" animBg="1"/>
      <p:bldP spid="24" grpId="0" animBg="1"/>
      <p:bldP spid="25" grpId="0" animBg="1"/>
      <p:bldP spid="26" grpId="0" animBg="1"/>
      <p:bldP spid="27" grpId="0" animBg="1"/>
      <p:bldP spid="28" grpId="0"/>
      <p:bldP spid="29" grpId="0"/>
      <p:bldP spid="30" grpId="0"/>
      <p:bldP spid="20" grpId="0"/>
      <p:bldP spid="2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625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172" y="1727811"/>
            <a:ext cx="7751657" cy="3634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122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20" y="1935163"/>
            <a:ext cx="8184491" cy="3228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 bwMode="gray">
          <a:xfrm>
            <a:off x="620713" y="8112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52520" y="5379440"/>
            <a:ext cx="8005680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Tokom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riod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sr-Latn-RS" dirty="0" smtClean="0">
                <a:solidFill>
                  <a:schemeClr val="tx1"/>
                </a:solidFill>
              </a:rPr>
              <a:t>zakupa, pravo korišćenja se umanjuje za iznos amortizacije, dok se obaveza umanjuje za glavnicu (ukupne isplate – kamata perioda)</a:t>
            </a:r>
          </a:p>
        </p:txBody>
      </p:sp>
    </p:spTree>
    <p:extLst>
      <p:ext uri="{BB962C8B-B14F-4D97-AF65-F5344CB8AC3E}">
        <p14:creationId xmlns:p14="http://schemas.microsoft.com/office/powerpoint/2010/main" val="1136033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373432"/>
            <a:ext cx="8068236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/>
              <a:t>AMORTIZACIJA 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dirty="0" smtClean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6" name="Rechteck 38"/>
          <p:cNvSpPr>
            <a:spLocks noChangeAspect="1"/>
          </p:cNvSpPr>
          <p:nvPr/>
        </p:nvSpPr>
        <p:spPr>
          <a:xfrm>
            <a:off x="1721156" y="2079131"/>
            <a:ext cx="5019363" cy="12460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prstClr val="white"/>
                </a:solidFill>
              </a:rPr>
              <a:t>ODREĐIVANJE VEKA TRAJANJA</a:t>
            </a:r>
          </a:p>
        </p:txBody>
      </p:sp>
      <p:sp>
        <p:nvSpPr>
          <p:cNvPr id="9" name="Oval 8"/>
          <p:cNvSpPr/>
          <p:nvPr/>
        </p:nvSpPr>
        <p:spPr>
          <a:xfrm>
            <a:off x="5368940" y="5086349"/>
            <a:ext cx="1515359" cy="1476993"/>
          </a:xfrm>
          <a:prstGeom prst="ellipse">
            <a:avLst/>
          </a:prstGeom>
          <a:solidFill>
            <a:srgbClr val="515D69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Period zakupa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721156" y="5090158"/>
            <a:ext cx="1515359" cy="1476993"/>
          </a:xfrm>
          <a:prstGeom prst="ellipse">
            <a:avLst/>
          </a:prstGeom>
          <a:solidFill>
            <a:srgbClr val="515D69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solidFill>
                  <a:schemeClr val="bg1"/>
                </a:solidFill>
              </a:rPr>
              <a:t>Korisni vek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03558" y="3677640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Trošak ukazuje na korišćenje opcije otkup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45657" y="3677639"/>
            <a:ext cx="2480692" cy="922677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 smtClean="0">
                <a:solidFill>
                  <a:schemeClr val="tx1"/>
                </a:solidFill>
              </a:rPr>
              <a:t>Procena da neće biti otkupa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483553" y="4601111"/>
            <a:ext cx="345747" cy="576679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12" idx="2"/>
          </p:cNvCxnSpPr>
          <p:nvPr/>
        </p:nvCxnSpPr>
        <p:spPr>
          <a:xfrm flipH="1">
            <a:off x="2754630" y="4600317"/>
            <a:ext cx="189274" cy="577473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7035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12" grpId="0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20713" y="1214650"/>
            <a:ext cx="7834535" cy="5890843"/>
          </a:xfrm>
        </p:spPr>
        <p:txBody>
          <a:bodyPr/>
          <a:lstStyle/>
          <a:p>
            <a:pPr marL="0" indent="0">
              <a:buNone/>
            </a:pPr>
            <a:endParaRPr lang="sr-Latn-RS" sz="1800" dirty="0" smtClean="0"/>
          </a:p>
          <a:p>
            <a:r>
              <a:rPr lang="sr-Latn-RS" sz="1800" dirty="0"/>
              <a:t>Potrebno posebno regulisanje poreske </a:t>
            </a:r>
            <a:r>
              <a:rPr lang="sr-Latn-RS" sz="1800" dirty="0" smtClean="0"/>
              <a:t>amortizacije </a:t>
            </a:r>
            <a:r>
              <a:rPr lang="sr-Latn-RS" sz="1800" dirty="0"/>
              <a:t>novim </a:t>
            </a:r>
            <a:r>
              <a:rPr lang="sr-Latn-RS" sz="1800" dirty="0" smtClean="0"/>
              <a:t>Pravilnikom? Ili dopuna zakona – za pravo korišćenja priznaje se računovodstena amortizacija</a:t>
            </a:r>
          </a:p>
          <a:p>
            <a:endParaRPr lang="sr-Latn-RS" sz="1800" dirty="0"/>
          </a:p>
          <a:p>
            <a:r>
              <a:rPr lang="sr-Latn-RS" sz="1800" dirty="0" smtClean="0"/>
              <a:t>Amortizacija sredstva uzetih u lizing u poreske svrhe -  isti tretman kao amortizacija nematerijalne imovine</a:t>
            </a:r>
          </a:p>
          <a:p>
            <a:endParaRPr lang="sr-Latn-RS" sz="1800" dirty="0" smtClean="0"/>
          </a:p>
          <a:p>
            <a:r>
              <a:rPr lang="sr-Latn-RS" sz="1800" dirty="0" smtClean="0"/>
              <a:t>Poreska amortizacija = računovodstvenoj amortizaciji</a:t>
            </a:r>
          </a:p>
          <a:p>
            <a:endParaRPr lang="sr-Latn-RS" sz="1800" dirty="0" smtClean="0"/>
          </a:p>
          <a:p>
            <a:r>
              <a:rPr lang="sr-Latn-RS" sz="1800" dirty="0" smtClean="0"/>
              <a:t>Ovakvim regulisanjem se izbegava negativan efekat prevremenog prekida Ugovora (lizinga)</a:t>
            </a:r>
          </a:p>
          <a:p>
            <a:endParaRPr lang="sr-Latn-RS" sz="1800" dirty="0" smtClean="0"/>
          </a:p>
          <a:p>
            <a:pPr marL="0" indent="0">
              <a:buNone/>
            </a:pPr>
            <a:endParaRPr lang="sr-Latn-RS" sz="1800" i="1" dirty="0" smtClean="0"/>
          </a:p>
          <a:p>
            <a:pPr marL="0" indent="0">
              <a:buNone/>
            </a:pPr>
            <a:endParaRPr lang="sr-Latn-RS" sz="1800" i="1" dirty="0"/>
          </a:p>
          <a:p>
            <a:pPr marL="0" indent="0">
              <a:buNone/>
            </a:pPr>
            <a:endParaRPr lang="sr-Latn-RS" sz="1800" i="1" dirty="0" smtClean="0"/>
          </a:p>
          <a:p>
            <a:pPr marL="0" indent="0">
              <a:buNone/>
            </a:pPr>
            <a:r>
              <a:rPr lang="sr-Latn-RS" sz="1800" i="1" dirty="0" smtClean="0"/>
              <a:t>*navedene informacije predstavljaju nezvaničan stav Ministarstva finansija</a:t>
            </a:r>
            <a:endParaRPr lang="sr-Latn-RS" sz="1800" i="1" dirty="0"/>
          </a:p>
          <a:p>
            <a:pPr marL="0" indent="0">
              <a:buNone/>
            </a:pPr>
            <a:endParaRPr lang="en-US" dirty="0"/>
          </a:p>
          <a:p>
            <a:endParaRPr lang="de-DE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gray">
          <a:xfrm>
            <a:off x="620713" y="8112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– LIZING – PORESKI EFEKAT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40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20713" y="2063090"/>
            <a:ext cx="7583523" cy="1970984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sr-Latn-RS" sz="1800" dirty="0"/>
          </a:p>
          <a:p>
            <a:pPr marL="917575"/>
            <a:r>
              <a:rPr lang="sr-Latn-RS" sz="1800" dirty="0" smtClean="0"/>
              <a:t>Troškovi kamate i amor</a:t>
            </a:r>
            <a:r>
              <a:rPr lang="en-US" sz="1800" dirty="0" smtClean="0"/>
              <a:t>t</a:t>
            </a:r>
            <a:r>
              <a:rPr lang="sr-Latn-RS" sz="1800" dirty="0" smtClean="0"/>
              <a:t>izacije po transfernim cenama</a:t>
            </a:r>
            <a:endParaRPr lang="en-US" sz="1800" dirty="0" smtClean="0"/>
          </a:p>
          <a:p>
            <a:pPr marL="917575"/>
            <a:endParaRPr lang="en-US" sz="1800" dirty="0"/>
          </a:p>
          <a:p>
            <a:pPr marL="917575"/>
            <a:r>
              <a:rPr lang="en-US" sz="1800" dirty="0" err="1" smtClean="0"/>
              <a:t>Definicija</a:t>
            </a:r>
            <a:r>
              <a:rPr lang="en-US" sz="1800" dirty="0" smtClean="0"/>
              <a:t> TC : </a:t>
            </a:r>
            <a:r>
              <a:rPr lang="vi-VN" sz="1800" dirty="0"/>
              <a:t>Transfernom cenom smatra se cena nastala u vezi sa transakcijama sredstvima ili stvaranjem obaveza među povezanim licima.</a:t>
            </a:r>
            <a:endParaRPr lang="sr-Latn-RS" sz="1800" dirty="0" smtClean="0"/>
          </a:p>
          <a:p>
            <a:pPr marL="0" indent="0">
              <a:buNone/>
            </a:pPr>
            <a:endParaRPr lang="sr-Latn-RS" sz="1800" dirty="0" smtClean="0"/>
          </a:p>
          <a:p>
            <a:endParaRPr lang="sr-Latn-RS" sz="1800" dirty="0"/>
          </a:p>
          <a:p>
            <a:pPr marL="0" indent="0">
              <a:buNone/>
            </a:pPr>
            <a:endParaRPr lang="en-US" dirty="0"/>
          </a:p>
          <a:p>
            <a:endParaRPr lang="de-DE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gray">
          <a:xfrm>
            <a:off x="620713" y="8112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– LIZING – PORESKI EFEKAT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10" name="Freihandform: Form 12"/>
          <p:cNvSpPr>
            <a:spLocks noChangeAspect="1"/>
          </p:cNvSpPr>
          <p:nvPr/>
        </p:nvSpPr>
        <p:spPr>
          <a:xfrm rot="8100030">
            <a:off x="4047542" y="4109997"/>
            <a:ext cx="366592" cy="366592"/>
          </a:xfrm>
          <a:custGeom>
            <a:avLst/>
            <a:gdLst>
              <a:gd name="connsiteX0" fmla="*/ 2081084 w 2266823"/>
              <a:gd name="connsiteY0" fmla="*/ 2266823 h 2266823"/>
              <a:gd name="connsiteX1" fmla="*/ 2081085 w 2266823"/>
              <a:gd name="connsiteY1" fmla="*/ 2266822 h 2266823"/>
              <a:gd name="connsiteX2" fmla="*/ 2081085 w 2266823"/>
              <a:gd name="connsiteY2" fmla="*/ 2266822 h 2266823"/>
              <a:gd name="connsiteX3" fmla="*/ 0 w 2266823"/>
              <a:gd name="connsiteY3" fmla="*/ 185737 h 2266823"/>
              <a:gd name="connsiteX4" fmla="*/ 0 w 2266823"/>
              <a:gd name="connsiteY4" fmla="*/ 185737 h 2266823"/>
              <a:gd name="connsiteX5" fmla="*/ 0 w 2266823"/>
              <a:gd name="connsiteY5" fmla="*/ 185738 h 2266823"/>
              <a:gd name="connsiteX6" fmla="*/ 54402 w 2266823"/>
              <a:gd name="connsiteY6" fmla="*/ 54402 h 2266823"/>
              <a:gd name="connsiteX7" fmla="*/ 185738 w 2266823"/>
              <a:gd name="connsiteY7" fmla="*/ 0 h 2266823"/>
              <a:gd name="connsiteX8" fmla="*/ 2078195 w 2266823"/>
              <a:gd name="connsiteY8" fmla="*/ 0 h 2266823"/>
              <a:gd name="connsiteX9" fmla="*/ 2209532 w 2266823"/>
              <a:gd name="connsiteY9" fmla="*/ 54402 h 2266823"/>
              <a:gd name="connsiteX10" fmla="*/ 2210695 w 2266823"/>
              <a:gd name="connsiteY10" fmla="*/ 56128 h 2266823"/>
              <a:gd name="connsiteX11" fmla="*/ 2212421 w 2266823"/>
              <a:gd name="connsiteY11" fmla="*/ 57291 h 2266823"/>
              <a:gd name="connsiteX12" fmla="*/ 2266822 w 2266823"/>
              <a:gd name="connsiteY12" fmla="*/ 188628 h 2266823"/>
              <a:gd name="connsiteX13" fmla="*/ 2266823 w 2266823"/>
              <a:gd name="connsiteY13" fmla="*/ 2081085 h 2266823"/>
              <a:gd name="connsiteX14" fmla="*/ 2153382 w 2266823"/>
              <a:gd name="connsiteY14" fmla="*/ 2252226 h 2266823"/>
              <a:gd name="connsiteX15" fmla="*/ 2081085 w 2266823"/>
              <a:gd name="connsiteY15" fmla="*/ 2266822 h 2266823"/>
              <a:gd name="connsiteX16" fmla="*/ 2008788 w 2266823"/>
              <a:gd name="connsiteY16" fmla="*/ 2252226 h 2266823"/>
              <a:gd name="connsiteX17" fmla="*/ 1895348 w 2266823"/>
              <a:gd name="connsiteY17" fmla="*/ 2081085 h 2266823"/>
              <a:gd name="connsiteX18" fmla="*/ 1895347 w 2266823"/>
              <a:gd name="connsiteY18" fmla="*/ 371476 h 2266823"/>
              <a:gd name="connsiteX19" fmla="*/ 185738 w 2266823"/>
              <a:gd name="connsiteY19" fmla="*/ 371475 h 2266823"/>
              <a:gd name="connsiteX20" fmla="*/ 14596 w 2266823"/>
              <a:gd name="connsiteY20" fmla="*/ 258035 h 2266823"/>
              <a:gd name="connsiteX21" fmla="*/ 0 w 2266823"/>
              <a:gd name="connsiteY21" fmla="*/ 185737 h 2266823"/>
              <a:gd name="connsiteX22" fmla="*/ 14596 w 2266823"/>
              <a:gd name="connsiteY22" fmla="*/ 113441 h 2266823"/>
              <a:gd name="connsiteX23" fmla="*/ 54402 w 2266823"/>
              <a:gd name="connsiteY23" fmla="*/ 54402 h 226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266823" h="2266823">
                <a:moveTo>
                  <a:pt x="2081084" y="2266823"/>
                </a:moveTo>
                <a:lnTo>
                  <a:pt x="2081085" y="2266822"/>
                </a:lnTo>
                <a:lnTo>
                  <a:pt x="2081085" y="2266822"/>
                </a:lnTo>
                <a:close/>
                <a:moveTo>
                  <a:pt x="0" y="185737"/>
                </a:moveTo>
                <a:lnTo>
                  <a:pt x="0" y="185737"/>
                </a:lnTo>
                <a:lnTo>
                  <a:pt x="0" y="185738"/>
                </a:lnTo>
                <a:close/>
                <a:moveTo>
                  <a:pt x="54402" y="54402"/>
                </a:moveTo>
                <a:cubicBezTo>
                  <a:pt x="88014" y="20789"/>
                  <a:pt x="134448" y="0"/>
                  <a:pt x="185738" y="0"/>
                </a:cubicBezTo>
                <a:lnTo>
                  <a:pt x="2078195" y="0"/>
                </a:lnTo>
                <a:cubicBezTo>
                  <a:pt x="2129485" y="0"/>
                  <a:pt x="2175920" y="20789"/>
                  <a:pt x="2209532" y="54402"/>
                </a:cubicBezTo>
                <a:lnTo>
                  <a:pt x="2210695" y="56128"/>
                </a:lnTo>
                <a:lnTo>
                  <a:pt x="2212421" y="57291"/>
                </a:lnTo>
                <a:cubicBezTo>
                  <a:pt x="2246033" y="90903"/>
                  <a:pt x="2266822" y="137338"/>
                  <a:pt x="2266822" y="188628"/>
                </a:cubicBezTo>
                <a:lnTo>
                  <a:pt x="2266823" y="2081085"/>
                </a:lnTo>
                <a:cubicBezTo>
                  <a:pt x="2266823" y="2158019"/>
                  <a:pt x="2220046" y="2224030"/>
                  <a:pt x="2153382" y="2252226"/>
                </a:cubicBezTo>
                <a:lnTo>
                  <a:pt x="2081085" y="2266822"/>
                </a:lnTo>
                <a:lnTo>
                  <a:pt x="2008788" y="2252226"/>
                </a:lnTo>
                <a:cubicBezTo>
                  <a:pt x="1942124" y="2224029"/>
                  <a:pt x="1895347" y="2158019"/>
                  <a:pt x="1895348" y="2081085"/>
                </a:cubicBezTo>
                <a:lnTo>
                  <a:pt x="1895347" y="371476"/>
                </a:lnTo>
                <a:lnTo>
                  <a:pt x="185738" y="371475"/>
                </a:lnTo>
                <a:cubicBezTo>
                  <a:pt x="108803" y="371475"/>
                  <a:pt x="42793" y="324699"/>
                  <a:pt x="14596" y="258035"/>
                </a:cubicBezTo>
                <a:lnTo>
                  <a:pt x="0" y="185737"/>
                </a:lnTo>
                <a:lnTo>
                  <a:pt x="14596" y="113441"/>
                </a:lnTo>
                <a:cubicBezTo>
                  <a:pt x="23995" y="91219"/>
                  <a:pt x="37595" y="71208"/>
                  <a:pt x="54402" y="5440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spcBef>
                <a:spcPts val="600"/>
              </a:spcBef>
            </a:pPr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20713" y="1425575"/>
            <a:ext cx="5905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b="1" dirty="0"/>
              <a:t>Zakup od povezanog </a:t>
            </a:r>
            <a:r>
              <a:rPr lang="sr-Latn-RS" b="1" dirty="0" smtClean="0"/>
              <a:t>lica / povezanom licu</a:t>
            </a:r>
            <a:endParaRPr lang="sr-Latn-RS" b="1" dirty="0"/>
          </a:p>
        </p:txBody>
      </p:sp>
      <p:sp>
        <p:nvSpPr>
          <p:cNvPr id="11" name="Rechteck 38"/>
          <p:cNvSpPr>
            <a:spLocks noChangeAspect="1"/>
          </p:cNvSpPr>
          <p:nvPr/>
        </p:nvSpPr>
        <p:spPr>
          <a:xfrm>
            <a:off x="1721156" y="4742321"/>
            <a:ext cx="5019363" cy="124609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solidFill>
                  <a:prstClr val="white"/>
                </a:solidFill>
              </a:rPr>
              <a:t>Isputuje</a:t>
            </a:r>
            <a:r>
              <a:rPr lang="en-US" sz="1600" b="1" dirty="0" smtClean="0">
                <a:solidFill>
                  <a:prstClr val="white"/>
                </a:solidFill>
              </a:rPr>
              <a:t> se </a:t>
            </a:r>
            <a:r>
              <a:rPr lang="en-US" sz="1600" b="1" dirty="0" err="1" smtClean="0">
                <a:solidFill>
                  <a:prstClr val="white"/>
                </a:solidFill>
              </a:rPr>
              <a:t>cena</a:t>
            </a:r>
            <a:r>
              <a:rPr lang="en-US" sz="1600" b="1" dirty="0" smtClean="0">
                <a:solidFill>
                  <a:prstClr val="white"/>
                </a:solidFill>
              </a:rPr>
              <a:t> </a:t>
            </a:r>
            <a:r>
              <a:rPr lang="en-US" sz="1600" b="1" dirty="0" err="1" smtClean="0">
                <a:solidFill>
                  <a:prstClr val="white"/>
                </a:solidFill>
              </a:rPr>
              <a:t>transakcije</a:t>
            </a:r>
            <a:r>
              <a:rPr lang="en-US" sz="1600" b="1" dirty="0" smtClean="0">
                <a:solidFill>
                  <a:prstClr val="white"/>
                </a:solidFill>
              </a:rPr>
              <a:t> – </a:t>
            </a:r>
            <a:r>
              <a:rPr lang="en-US" sz="1600" b="1" u="sng" dirty="0" err="1" smtClean="0">
                <a:solidFill>
                  <a:prstClr val="white"/>
                </a:solidFill>
              </a:rPr>
              <a:t>suma</a:t>
            </a:r>
            <a:r>
              <a:rPr lang="en-US" sz="1600" b="1" u="sng" dirty="0" smtClean="0">
                <a:solidFill>
                  <a:prstClr val="white"/>
                </a:solidFill>
              </a:rPr>
              <a:t> </a:t>
            </a:r>
            <a:r>
              <a:rPr lang="en-US" sz="1600" b="1" u="sng" dirty="0" err="1" smtClean="0">
                <a:solidFill>
                  <a:prstClr val="white"/>
                </a:solidFill>
              </a:rPr>
              <a:t>ukupnih</a:t>
            </a:r>
            <a:r>
              <a:rPr lang="en-US" sz="1600" b="1" u="sng" dirty="0" smtClean="0">
                <a:solidFill>
                  <a:prstClr val="white"/>
                </a:solidFill>
              </a:rPr>
              <a:t> </a:t>
            </a:r>
            <a:r>
              <a:rPr lang="sr-Latn-RS" sz="1600" b="1" u="sng" dirty="0" smtClean="0">
                <a:solidFill>
                  <a:prstClr val="white"/>
                </a:solidFill>
              </a:rPr>
              <a:t>računa dobavljača </a:t>
            </a:r>
            <a:r>
              <a:rPr lang="en-US" sz="1600" b="1" dirty="0" smtClean="0">
                <a:solidFill>
                  <a:prstClr val="white"/>
                </a:solidFill>
              </a:rPr>
              <a:t> </a:t>
            </a:r>
            <a:r>
              <a:rPr lang="sr-Latn-RS" sz="1600" b="1" dirty="0" smtClean="0">
                <a:solidFill>
                  <a:prstClr val="white"/>
                </a:solidFill>
              </a:rPr>
              <a:t>pa se potom obračunavaju efekti  na kamatu</a:t>
            </a:r>
          </a:p>
          <a:p>
            <a:pPr marL="285750" indent="-285750">
              <a:buFont typeface="Arial" pitchFamily="34" charset="0"/>
              <a:buChar char="•"/>
            </a:pPr>
            <a:endParaRPr lang="sr-Latn-RS" sz="1600" b="1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749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/>
      <p:bldP spid="10" grpId="0" animBg="1"/>
      <p:bldP spid="1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20713" y="2063091"/>
            <a:ext cx="7583523" cy="1144929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sr-Latn-RS" sz="1800" dirty="0"/>
          </a:p>
          <a:p>
            <a:pPr marL="917575"/>
            <a:r>
              <a:rPr lang="sr-Latn-RS" sz="1800" dirty="0" smtClean="0"/>
              <a:t>Koliko bi iznosili troškovi kamata i amortizacije u skladu sa „načelom van dohvata ruke“?</a:t>
            </a:r>
            <a:endParaRPr lang="en-US" dirty="0"/>
          </a:p>
          <a:p>
            <a:endParaRPr lang="de-DE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gray">
          <a:xfrm>
            <a:off x="620713" y="8112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– LIZING – PORESKI EFEKAT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620713" y="1425575"/>
            <a:ext cx="5905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b="1" dirty="0"/>
              <a:t>Zakup od povezanog </a:t>
            </a:r>
            <a:r>
              <a:rPr lang="sr-Latn-RS" b="1" dirty="0" smtClean="0"/>
              <a:t>lica / povezanom licu</a:t>
            </a:r>
            <a:endParaRPr lang="sr-Latn-RS" b="1" dirty="0"/>
          </a:p>
        </p:txBody>
      </p:sp>
      <p:sp>
        <p:nvSpPr>
          <p:cNvPr id="12" name="Rechteck 38"/>
          <p:cNvSpPr>
            <a:spLocks noChangeAspect="1"/>
          </p:cNvSpPr>
          <p:nvPr/>
        </p:nvSpPr>
        <p:spPr>
          <a:xfrm>
            <a:off x="620713" y="3507881"/>
            <a:ext cx="3570934" cy="49261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600" b="1" dirty="0" smtClean="0">
                <a:solidFill>
                  <a:prstClr val="white"/>
                </a:solidFill>
              </a:rPr>
              <a:t>Metod uporedive cene</a:t>
            </a:r>
          </a:p>
        </p:txBody>
      </p:sp>
      <p:sp>
        <p:nvSpPr>
          <p:cNvPr id="13" name="Rechteck 38"/>
          <p:cNvSpPr>
            <a:spLocks noChangeAspect="1"/>
          </p:cNvSpPr>
          <p:nvPr/>
        </p:nvSpPr>
        <p:spPr>
          <a:xfrm>
            <a:off x="4625023" y="3507881"/>
            <a:ext cx="3570934" cy="49261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1600" b="1" dirty="0" smtClean="0">
                <a:solidFill>
                  <a:prstClr val="white"/>
                </a:solidFill>
              </a:rPr>
              <a:t>Metod TNM</a:t>
            </a:r>
          </a:p>
        </p:txBody>
      </p:sp>
    </p:spTree>
    <p:extLst>
      <p:ext uri="{BB962C8B-B14F-4D97-AF65-F5344CB8AC3E}">
        <p14:creationId xmlns:p14="http://schemas.microsoft.com/office/powerpoint/2010/main" val="2247662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/>
      <p:bldP spid="12" grpId="0" animBg="1"/>
      <p:bldP spid="1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620713" y="1214650"/>
            <a:ext cx="7834535" cy="3951851"/>
          </a:xfrm>
        </p:spPr>
        <p:txBody>
          <a:bodyPr/>
          <a:lstStyle/>
          <a:p>
            <a:pPr marL="0" indent="0">
              <a:buNone/>
            </a:pPr>
            <a:endParaRPr lang="sr-Latn-RS" sz="1800" dirty="0" smtClean="0"/>
          </a:p>
          <a:p>
            <a:r>
              <a:rPr lang="sr-Latn-RS" sz="1800" dirty="0" smtClean="0"/>
              <a:t>Prilikom </a:t>
            </a:r>
            <a:r>
              <a:rPr lang="sr-Latn-RS" sz="1800" dirty="0"/>
              <a:t>prelaska moguće je izabrati dva pristupa:</a:t>
            </a:r>
          </a:p>
          <a:p>
            <a:pPr marL="0" indent="0">
              <a:buNone/>
            </a:pPr>
            <a:endParaRPr lang="sr-Latn-RS" sz="1800" dirty="0"/>
          </a:p>
          <a:p>
            <a:pPr marL="342900" indent="-342900">
              <a:buFont typeface="+mj-lt"/>
              <a:buAutoNum type="arabicParenR"/>
            </a:pPr>
            <a:r>
              <a:rPr lang="sr-Latn-RS" sz="1800" dirty="0"/>
              <a:t>Potpuno retrospektivni pristup u okviru kog se MSFI 16 primenjuje na svaki </a:t>
            </a:r>
            <a:r>
              <a:rPr lang="sr-Latn-RS" sz="1800" b="1" dirty="0"/>
              <a:t>prethodni izveštajni period</a:t>
            </a:r>
            <a:r>
              <a:rPr lang="sr-Latn-RS" sz="1800" dirty="0"/>
              <a:t>, pri čemu se uporedni podaci koriguju</a:t>
            </a:r>
            <a:r>
              <a:rPr lang="sr-Latn-RS" sz="1800" dirty="0" smtClean="0"/>
              <a:t>;</a:t>
            </a:r>
          </a:p>
          <a:p>
            <a:pPr marL="342900" indent="-342900">
              <a:buFont typeface="+mj-lt"/>
              <a:buAutoNum type="arabicParenR"/>
            </a:pPr>
            <a:endParaRPr lang="sr-Latn-RS" sz="1800" dirty="0"/>
          </a:p>
          <a:p>
            <a:pPr marL="342900" indent="-342900">
              <a:buFont typeface="+mj-lt"/>
              <a:buAutoNum type="arabicParenR"/>
            </a:pPr>
            <a:r>
              <a:rPr lang="sr-Latn-RS" sz="1800" dirty="0"/>
              <a:t>Kumulativni catch-up pristup u okviru kog se MSFI 16 retrospektivno primenjuje uz kumulativni efekat koji se priznaje kao </a:t>
            </a:r>
            <a:r>
              <a:rPr lang="sr-Latn-RS" sz="1800" b="1" dirty="0"/>
              <a:t>korekcija</a:t>
            </a:r>
            <a:r>
              <a:rPr lang="sr-Latn-RS" sz="1800" dirty="0"/>
              <a:t> na dan 1. januara </a:t>
            </a:r>
            <a:r>
              <a:rPr lang="sr-Latn-RS" sz="1800" dirty="0" smtClean="0"/>
              <a:t>201X. </a:t>
            </a:r>
            <a:r>
              <a:rPr lang="sr-Latn-RS" sz="1800" dirty="0"/>
              <a:t>godine, pri čemu se uporedni podaci ne </a:t>
            </a:r>
            <a:r>
              <a:rPr lang="sr-Latn-RS" sz="1800" dirty="0" smtClean="0"/>
              <a:t>koriguju.</a:t>
            </a:r>
            <a:endParaRPr lang="sr-Latn-RS" sz="1800" dirty="0"/>
          </a:p>
          <a:p>
            <a:pPr marL="0" indent="0">
              <a:buNone/>
            </a:pPr>
            <a:endParaRPr lang="sr-Latn-RS" sz="1800" i="1" dirty="0"/>
          </a:p>
          <a:p>
            <a:pPr marL="0" indent="0">
              <a:buNone/>
            </a:pPr>
            <a:endParaRPr lang="sr-Latn-RS" sz="1800" i="1" dirty="0" smtClean="0"/>
          </a:p>
          <a:p>
            <a:pPr marL="0" indent="0">
              <a:buNone/>
            </a:pPr>
            <a:endParaRPr lang="en-US" dirty="0"/>
          </a:p>
          <a:p>
            <a:endParaRPr lang="de-DE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gray">
          <a:xfrm>
            <a:off x="620712" y="811213"/>
            <a:ext cx="82073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0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– LIZING – PRELAZAK NA STANDARD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12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266334" y="2712313"/>
            <a:ext cx="6542087" cy="369332"/>
          </a:xfrm>
        </p:spPr>
        <p:txBody>
          <a:bodyPr/>
          <a:lstStyle/>
          <a:p>
            <a:pPr algn="ctr"/>
            <a:r>
              <a:rPr lang="sr-Latn-RS" dirty="0" smtClean="0"/>
              <a:t>www.wtsserbia.com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2060620" y="1493947"/>
            <a:ext cx="49841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3200" dirty="0" smtClean="0">
                <a:solidFill>
                  <a:schemeClr val="bg1"/>
                </a:solidFill>
              </a:rPr>
              <a:t>HVALA NA PAŽNJI!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9319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4276" y="1067420"/>
            <a:ext cx="80682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latin typeface="Arial" pitchFamily="34" charset="0"/>
                <a:cs typeface="Arial" pitchFamily="34" charset="0"/>
              </a:rPr>
              <a:t>Izuzimanja </a:t>
            </a:r>
            <a:r>
              <a:rPr lang="sr-Latn-RS" b="1" dirty="0">
                <a:latin typeface="Arial" pitchFamily="34" charset="0"/>
                <a:cs typeface="Arial" pitchFamily="34" charset="0"/>
              </a:rPr>
              <a:t>od primene IFRS 16:</a:t>
            </a:r>
          </a:p>
          <a:p>
            <a:pPr marL="68580" indent="0" algn="just">
              <a:buNone/>
            </a:pPr>
            <a:endParaRPr lang="sr-Latn-RS" b="1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440049" y="1563893"/>
            <a:ext cx="1943570" cy="1943570"/>
          </a:xfrm>
          <a:prstGeom prst="ellipse">
            <a:avLst/>
          </a:prstGeom>
          <a:solidFill>
            <a:srgbClr val="CE0033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1600" b="1" dirty="0" smtClean="0">
                <a:solidFill>
                  <a:schemeClr val="bg1"/>
                </a:solidFill>
              </a:rPr>
              <a:t>Kratkoročni liz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440049" y="4061445"/>
            <a:ext cx="1943570" cy="1943570"/>
          </a:xfrm>
          <a:prstGeom prst="ellipse">
            <a:avLst/>
          </a:prstGeom>
          <a:solidFill>
            <a:srgbClr val="777777"/>
          </a:solidFill>
          <a:ln w="1143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Latn-RS" sz="1600" b="1" dirty="0" smtClean="0">
                <a:solidFill>
                  <a:schemeClr val="bg1"/>
                </a:solidFill>
              </a:rPr>
              <a:t>Lizing male vrednosti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868030" y="1582858"/>
            <a:ext cx="5798297" cy="1610714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ü"/>
            </a:pPr>
            <a:r>
              <a:rPr lang="sr-Latn-RS" dirty="0" smtClean="0">
                <a:solidFill>
                  <a:schemeClr val="tx1"/>
                </a:solidFill>
              </a:rPr>
              <a:t>Dogovoren rok </a:t>
            </a:r>
            <a:r>
              <a:rPr lang="sr-Latn-RS" dirty="0">
                <a:solidFill>
                  <a:schemeClr val="tx1"/>
                </a:solidFill>
              </a:rPr>
              <a:t>dospeća do 12 </a:t>
            </a:r>
            <a:r>
              <a:rPr lang="sr-Latn-RS" dirty="0" smtClean="0">
                <a:solidFill>
                  <a:schemeClr val="tx1"/>
                </a:solidFill>
              </a:rPr>
              <a:t>meseci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sr-Latn-RS" dirty="0" smtClean="0">
                <a:solidFill>
                  <a:schemeClr val="tx1"/>
                </a:solidFill>
              </a:rPr>
              <a:t>Ne </a:t>
            </a:r>
            <a:r>
              <a:rPr lang="sr-Latn-RS" dirty="0">
                <a:solidFill>
                  <a:schemeClr val="tx1"/>
                </a:solidFill>
              </a:rPr>
              <a:t>sadrži opciju </a:t>
            </a:r>
            <a:r>
              <a:rPr lang="sr-Latn-RS" dirty="0" smtClean="0">
                <a:solidFill>
                  <a:schemeClr val="tx1"/>
                </a:solidFill>
              </a:rPr>
              <a:t>otkupa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sr-Latn-RS" dirty="0" smtClean="0">
                <a:solidFill>
                  <a:schemeClr val="tx1"/>
                </a:solidFill>
                <a:latin typeface="+mn-lt"/>
              </a:rPr>
              <a:t>Šta u slučaju dogovora na 12 meseci nakon čega se ponovo produžava period</a:t>
            </a:r>
            <a:endParaRPr lang="sr-Latn-R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68030" y="3507463"/>
            <a:ext cx="5798297" cy="3152644"/>
          </a:xfrm>
          <a:prstGeom prst="rect">
            <a:avLst/>
          </a:prstGeom>
          <a:noFill/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ü"/>
            </a:pPr>
            <a:r>
              <a:rPr lang="sr-Latn-RS" dirty="0" smtClean="0">
                <a:solidFill>
                  <a:schemeClr val="tx1"/>
                </a:solidFill>
              </a:rPr>
              <a:t>Šta je mala vrednost? – MANJE OD 5K USD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 err="1">
                <a:solidFill>
                  <a:schemeClr val="tx1"/>
                </a:solidFill>
              </a:rPr>
              <a:t>Najmov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movine</a:t>
            </a:r>
            <a:r>
              <a:rPr lang="en-US" dirty="0">
                <a:solidFill>
                  <a:schemeClr val="tx1"/>
                </a:solidFill>
              </a:rPr>
              <a:t> male </a:t>
            </a:r>
            <a:r>
              <a:rPr lang="en-US" dirty="0" err="1" smtClean="0">
                <a:solidFill>
                  <a:schemeClr val="tx1"/>
                </a:solidFill>
              </a:rPr>
              <a:t>vrednost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sr-Latn-RS" dirty="0" smtClean="0">
                <a:solidFill>
                  <a:schemeClr val="tx1"/>
                </a:solidFill>
              </a:rPr>
              <a:t>mogu se priznati kao rashod </a:t>
            </a:r>
            <a:r>
              <a:rPr lang="en-US" dirty="0" err="1" smtClean="0">
                <a:solidFill>
                  <a:schemeClr val="tx1"/>
                </a:solidFill>
              </a:rPr>
              <a:t>bez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obzira</a:t>
            </a:r>
            <a:r>
              <a:rPr lang="en-US" dirty="0">
                <a:solidFill>
                  <a:schemeClr val="tx1"/>
                </a:solidFill>
              </a:rPr>
              <a:t> na to da li </a:t>
            </a:r>
            <a:r>
              <a:rPr lang="en-US" dirty="0" err="1">
                <a:solidFill>
                  <a:schemeClr val="tx1"/>
                </a:solidFill>
              </a:rPr>
              <a:t>su</a:t>
            </a:r>
            <a:r>
              <a:rPr lang="en-US" dirty="0">
                <a:solidFill>
                  <a:schemeClr val="tx1"/>
                </a:solidFill>
              </a:rPr>
              <a:t> od </a:t>
            </a:r>
            <a:r>
              <a:rPr lang="en-US" dirty="0" err="1">
                <a:solidFill>
                  <a:schemeClr val="tx1"/>
                </a:solidFill>
              </a:rPr>
              <a:t>materijalnog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značaj</a:t>
            </a:r>
            <a:r>
              <a:rPr lang="sr-Latn-RS" dirty="0" smtClean="0">
                <a:solidFill>
                  <a:schemeClr val="tx1"/>
                </a:solidFill>
              </a:rPr>
              <a:t>a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sr-Latn-RS" dirty="0" smtClean="0">
                <a:solidFill>
                  <a:schemeClr val="tx1"/>
                </a:solidFill>
                <a:latin typeface="+mn-lt"/>
              </a:rPr>
              <a:t>Regulisati u računovodstvenim politikama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vi-VN" dirty="0" smtClean="0">
                <a:solidFill>
                  <a:schemeClr val="tx1"/>
                </a:solidFill>
              </a:rPr>
              <a:t>Primeri </a:t>
            </a:r>
            <a:r>
              <a:rPr lang="vi-VN" dirty="0">
                <a:solidFill>
                  <a:schemeClr val="tx1"/>
                </a:solidFill>
              </a:rPr>
              <a:t>imovine male </a:t>
            </a:r>
            <a:r>
              <a:rPr lang="vi-VN" dirty="0" smtClean="0">
                <a:solidFill>
                  <a:schemeClr val="tx1"/>
                </a:solidFill>
              </a:rPr>
              <a:t>vrednosti </a:t>
            </a:r>
            <a:r>
              <a:rPr lang="vi-VN" dirty="0">
                <a:solidFill>
                  <a:schemeClr val="tx1"/>
                </a:solidFill>
              </a:rPr>
              <a:t>mogu uključivati tablete i personalne </a:t>
            </a:r>
            <a:r>
              <a:rPr lang="vi-VN" dirty="0" smtClean="0">
                <a:solidFill>
                  <a:schemeClr val="tx1"/>
                </a:solidFill>
              </a:rPr>
              <a:t>računare</a:t>
            </a:r>
            <a:endParaRPr lang="sr-Latn-RS" dirty="0" smtClean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dirty="0" err="1" smtClean="0">
                <a:solidFill>
                  <a:schemeClr val="tx1"/>
                </a:solidFill>
              </a:rPr>
              <a:t>Imovina</a:t>
            </a:r>
            <a:r>
              <a:rPr lang="sr-Latn-RS" dirty="0" smtClean="0">
                <a:solidFill>
                  <a:schemeClr val="tx1"/>
                </a:solidFill>
              </a:rPr>
              <a:t> koj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nije</a:t>
            </a:r>
            <a:r>
              <a:rPr lang="en-US" dirty="0">
                <a:solidFill>
                  <a:schemeClr val="tx1"/>
                </a:solidFill>
              </a:rPr>
              <a:t> u </a:t>
            </a:r>
            <a:r>
              <a:rPr lang="en-US" dirty="0" err="1">
                <a:solidFill>
                  <a:schemeClr val="tx1"/>
                </a:solidFill>
              </a:rPr>
              <a:t>velikoj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mer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zavisna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l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uzajamno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ovezana</a:t>
            </a:r>
            <a:r>
              <a:rPr lang="en-US" dirty="0">
                <a:solidFill>
                  <a:schemeClr val="tx1"/>
                </a:solidFill>
              </a:rPr>
              <a:t> s </a:t>
            </a:r>
            <a:r>
              <a:rPr lang="en-US" dirty="0" err="1">
                <a:solidFill>
                  <a:schemeClr val="tx1"/>
                </a:solidFill>
              </a:rPr>
              <a:t>drugo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imovinom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vi-VN" dirty="0" smtClean="0">
                <a:solidFill>
                  <a:schemeClr val="tx1"/>
                </a:solidFill>
              </a:rPr>
              <a:t> </a:t>
            </a:r>
            <a:endParaRPr lang="sr-Latn-R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224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1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149307"/>
            <a:ext cx="8068236" cy="4136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Standard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e </a:t>
            </a:r>
            <a:r>
              <a:rPr lang="sr-Latn-RS" dirty="0" smtClean="0">
                <a:latin typeface="Arial" pitchFamily="34" charset="0"/>
                <a:cs typeface="Arial" pitchFamily="34" charset="0"/>
              </a:rPr>
              <a:t>ne primenjuje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na:</a:t>
            </a: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en-US" dirty="0" smtClean="0">
              <a:latin typeface="Arial" pitchFamily="34" charset="0"/>
              <a:cs typeface="Arial" pitchFamily="34" charset="0"/>
            </a:endParaRPr>
          </a:p>
          <a:p>
            <a:pPr marL="457200" indent="-457200">
              <a:buAutoNum type="alphaLcParenBoth"/>
            </a:pPr>
            <a:r>
              <a:rPr lang="sr-Latn-RS" b="1" i="1" dirty="0" smtClean="0"/>
              <a:t>zakup </a:t>
            </a:r>
            <a:r>
              <a:rPr lang="sr-Latn-RS" b="1" i="1" dirty="0"/>
              <a:t>za potrebe </a:t>
            </a:r>
            <a:r>
              <a:rPr lang="sr-Latn-RS" i="1" dirty="0"/>
              <a:t>istraživanja ili korišćenja </a:t>
            </a:r>
            <a:r>
              <a:rPr lang="sr-Latn-RS" b="1" i="1" dirty="0"/>
              <a:t>minerala, nafte</a:t>
            </a:r>
            <a:r>
              <a:rPr lang="sr-Latn-RS" i="1" dirty="0"/>
              <a:t>, prirodnog gasa i sličnih neobnovljivih prirodnih resursa; </a:t>
            </a:r>
            <a:endParaRPr lang="sr-Latn-RS" i="1" dirty="0" smtClean="0"/>
          </a:p>
          <a:p>
            <a:pPr marL="457200" indent="-457200">
              <a:buAutoNum type="alphaLcParenBoth"/>
            </a:pPr>
            <a:r>
              <a:rPr lang="sr-Latn-RS" i="1" dirty="0" smtClean="0"/>
              <a:t>zakupa </a:t>
            </a:r>
            <a:r>
              <a:rPr lang="sr-Latn-RS" b="1" i="1" dirty="0"/>
              <a:t>biološke imovine </a:t>
            </a:r>
            <a:r>
              <a:rPr lang="sr-Latn-RS" i="1" dirty="0"/>
              <a:t>iz delokruga MRS 41 </a:t>
            </a:r>
            <a:r>
              <a:rPr lang="sr-Latn-RS" i="1" dirty="0" smtClean="0"/>
              <a:t>- Poljoprivreda </a:t>
            </a:r>
            <a:r>
              <a:rPr lang="sr-Latn-RS" i="1" dirty="0"/>
              <a:t>koju drži zakupac; </a:t>
            </a:r>
          </a:p>
          <a:p>
            <a:pPr marL="457200" indent="-457200">
              <a:buAutoNum type="alphaLcParenBoth"/>
            </a:pPr>
            <a:r>
              <a:rPr lang="sr-Latn-RS" i="1" dirty="0" smtClean="0"/>
              <a:t>sporazume </a:t>
            </a:r>
            <a:r>
              <a:rPr lang="sr-Latn-RS" i="1" dirty="0"/>
              <a:t>o </a:t>
            </a:r>
            <a:r>
              <a:rPr lang="sr-Latn-RS" b="1" i="1" dirty="0"/>
              <a:t>koncesijama</a:t>
            </a:r>
            <a:r>
              <a:rPr lang="sr-Latn-RS" i="1" dirty="0"/>
              <a:t> za pružanje usluga iz </a:t>
            </a:r>
            <a:r>
              <a:rPr lang="sr-Latn-RS" i="1" dirty="0" smtClean="0"/>
              <a:t>delokruga </a:t>
            </a:r>
            <a:r>
              <a:rPr lang="sr-Latn-RS" i="1" dirty="0"/>
              <a:t>IFRIC 12 Sporazumi o koncesijama za pružanje usluga; </a:t>
            </a:r>
          </a:p>
          <a:p>
            <a:pPr marL="457200" indent="-457200">
              <a:buAutoNum type="alphaLcParenBoth"/>
            </a:pPr>
            <a:r>
              <a:rPr lang="sr-Latn-RS" b="1" i="1" dirty="0" smtClean="0"/>
              <a:t>licenci</a:t>
            </a:r>
            <a:r>
              <a:rPr lang="sr-Latn-RS" i="1" dirty="0" smtClean="0"/>
              <a:t> </a:t>
            </a:r>
            <a:r>
              <a:rPr lang="sr-Latn-RS" i="1" dirty="0"/>
              <a:t>kojima zakupodavac ustupa pravo korišćenja intelektualnog </a:t>
            </a:r>
            <a:r>
              <a:rPr lang="sr-Latn-RS" i="1" dirty="0" smtClean="0"/>
              <a:t>vlasništva, </a:t>
            </a:r>
            <a:r>
              <a:rPr lang="sr-Latn-RS" i="1" dirty="0"/>
              <a:t>a koje su uređene MSFI 15 Prihodi od ugovora s kupcima; i </a:t>
            </a:r>
          </a:p>
          <a:p>
            <a:pPr marL="457200" indent="-457200">
              <a:buAutoNum type="alphaLcParenBoth"/>
            </a:pPr>
            <a:r>
              <a:rPr lang="sr-Latn-RS" i="1" dirty="0"/>
              <a:t>prava koja drži zakupac prema licencnim ugovorima iz delokruga MRS 38 Nematerijalna imovina kao što su </a:t>
            </a:r>
            <a:r>
              <a:rPr lang="sr-Latn-RS" i="1" dirty="0" smtClean="0"/>
              <a:t>patenti </a:t>
            </a:r>
            <a:r>
              <a:rPr lang="sr-Latn-RS" i="1" dirty="0"/>
              <a:t>i autorska </a:t>
            </a:r>
            <a:r>
              <a:rPr lang="sr-Latn-RS" i="1" dirty="0" smtClean="0"/>
              <a:t>prava i drugo  </a:t>
            </a:r>
            <a:endParaRPr lang="sr-Latn-RS" i="1" dirty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en-US" i="1" dirty="0">
              <a:solidFill>
                <a:srgbClr val="CE0033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571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8740" y="753078"/>
            <a:ext cx="8068236" cy="2529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" indent="0" algn="just">
              <a:buNone/>
            </a:pPr>
            <a:endParaRPr lang="sr-Latn-RS" dirty="0" smtClean="0"/>
          </a:p>
          <a:p>
            <a:pPr marL="68580" indent="0" algn="just">
              <a:buNone/>
            </a:pPr>
            <a:r>
              <a:rPr lang="sr-Latn-RS" b="1" dirty="0" smtClean="0"/>
              <a:t>Identifikovanje lizinga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/>
              <a:t>Lizing </a:t>
            </a:r>
            <a:r>
              <a:rPr lang="sr-Latn-RS" dirty="0"/>
              <a:t>je definisan kao ugovor na osnovu koga zajmodavac prenosi na zakupca </a:t>
            </a:r>
            <a:r>
              <a:rPr lang="sr-Latn-RS" u="sng" dirty="0"/>
              <a:t>pravo </a:t>
            </a:r>
            <a:r>
              <a:rPr lang="sr-Latn-RS" u="sng" dirty="0" smtClean="0"/>
              <a:t>korišćenja </a:t>
            </a:r>
            <a:r>
              <a:rPr lang="sr-Latn-RS" b="1" u="sng" dirty="0" smtClean="0"/>
              <a:t>(kontrole)</a:t>
            </a:r>
            <a:r>
              <a:rPr lang="sr-Latn-RS" b="1" dirty="0" smtClean="0"/>
              <a:t> </a:t>
            </a:r>
            <a:r>
              <a:rPr lang="sr-Latn-RS" dirty="0" smtClean="0"/>
              <a:t>imovine </a:t>
            </a:r>
            <a:r>
              <a:rPr lang="sr-Latn-RS" dirty="0"/>
              <a:t>u dogovorenom periodu u zamenu za protivčinidbu. </a:t>
            </a: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6164" y="856073"/>
            <a:ext cx="8207375" cy="394521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55093" y="2743194"/>
            <a:ext cx="5336274" cy="382144"/>
          </a:xfrm>
          <a:prstGeom prst="rect">
            <a:avLst/>
          </a:prstGeom>
          <a:solidFill>
            <a:srgbClr val="777777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>
                <a:solidFill>
                  <a:schemeClr val="bg1"/>
                </a:solidFill>
              </a:rPr>
              <a:t>Da li se može identifikovati imovina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55093" y="3673512"/>
            <a:ext cx="5336274" cy="598235"/>
          </a:xfrm>
          <a:prstGeom prst="rect">
            <a:avLst/>
          </a:prstGeom>
          <a:solidFill>
            <a:srgbClr val="777777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>
                <a:solidFill>
                  <a:schemeClr val="bg1"/>
                </a:solidFill>
              </a:rPr>
              <a:t>Da li korisnik lizinga stiče suštinski sve ekonomske koristi od korišćenja imovine?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55093" y="4749734"/>
            <a:ext cx="5336274" cy="641127"/>
          </a:xfrm>
          <a:prstGeom prst="rect">
            <a:avLst/>
          </a:prstGeom>
          <a:solidFill>
            <a:srgbClr val="777777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it-IT" b="1" dirty="0">
                <a:solidFill>
                  <a:schemeClr val="bg1"/>
                </a:solidFill>
              </a:rPr>
              <a:t>Da li korisnik lizinga ima pravo određivanja načina korišćenja imovine?</a:t>
            </a:r>
            <a:endParaRPr lang="sr-Latn-RS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5093" y="5871127"/>
            <a:ext cx="5336274" cy="641127"/>
          </a:xfrm>
          <a:prstGeom prst="rect">
            <a:avLst/>
          </a:prstGeom>
          <a:solidFill>
            <a:srgbClr val="00B050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solidFill>
                  <a:schemeClr val="bg1"/>
                </a:solidFill>
              </a:rPr>
              <a:t>UGOVOR SADRŽI LIZING</a:t>
            </a:r>
            <a:endParaRPr lang="sr-Latn-RS" b="1" dirty="0">
              <a:solidFill>
                <a:schemeClr val="bg1"/>
              </a:solidFill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>
            <a:off x="6209731" y="3057098"/>
            <a:ext cx="1296538" cy="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232240" y="3198113"/>
            <a:ext cx="0" cy="489047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6191533" y="5184029"/>
            <a:ext cx="1296538" cy="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6209731" y="4129579"/>
            <a:ext cx="1296538" cy="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3232236" y="4285395"/>
            <a:ext cx="0" cy="489047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3232240" y="5390861"/>
            <a:ext cx="0" cy="489047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507467" y="3237916"/>
            <a:ext cx="818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DA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3503984" y="5450718"/>
            <a:ext cx="818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DA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3503985" y="4306989"/>
            <a:ext cx="818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DA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6489512" y="2660470"/>
            <a:ext cx="566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NE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6489512" y="3700264"/>
            <a:ext cx="566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NE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6489512" y="4774442"/>
            <a:ext cx="566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NE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6948724" y="3413950"/>
            <a:ext cx="2634862" cy="1100606"/>
          </a:xfrm>
          <a:prstGeom prst="rect">
            <a:avLst/>
          </a:prstGeom>
          <a:solidFill>
            <a:srgbClr val="CC0033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solidFill>
                  <a:schemeClr val="bg1"/>
                </a:solidFill>
              </a:rPr>
              <a:t>UGOVOR NE SADRŽI LIZING</a:t>
            </a:r>
            <a:endParaRPr lang="sr-Latn-RS" b="1" dirty="0">
              <a:solidFill>
                <a:schemeClr val="bg1"/>
              </a:solidFill>
            </a:endParaRPr>
          </a:p>
        </p:txBody>
      </p:sp>
      <p:cxnSp>
        <p:nvCxnSpPr>
          <p:cNvPr id="28" name="Straight Arrow Connector 27"/>
          <p:cNvCxnSpPr/>
          <p:nvPr/>
        </p:nvCxnSpPr>
        <p:spPr>
          <a:xfrm>
            <a:off x="8266149" y="5365837"/>
            <a:ext cx="0" cy="489047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6489512" y="5871127"/>
            <a:ext cx="2326946" cy="641127"/>
          </a:xfrm>
          <a:prstGeom prst="rect">
            <a:avLst/>
          </a:prstGeom>
          <a:solidFill>
            <a:srgbClr val="CC0033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solidFill>
                  <a:schemeClr val="bg1"/>
                </a:solidFill>
              </a:rPr>
              <a:t>PRIMENITI DRUGI IFRS</a:t>
            </a:r>
            <a:endParaRPr lang="sr-Latn-R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615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 animBg="1"/>
      <p:bldP spid="11" grpId="0" animBg="1"/>
      <p:bldP spid="12" grpId="0" animBg="1"/>
      <p:bldP spid="13" grpId="0" animBg="1"/>
      <p:bldP spid="21" grpId="0"/>
      <p:bldP spid="22" grpId="0"/>
      <p:bldP spid="23" grpId="0"/>
      <p:bldP spid="24" grpId="0"/>
      <p:bldP spid="25" grpId="0"/>
      <p:bldP spid="26" grpId="0"/>
      <p:bldP spid="27" grpId="0" animBg="1"/>
      <p:bldP spid="2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053334"/>
            <a:ext cx="8068236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sz="1600" b="1" i="1" dirty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latin typeface="Arial" pitchFamily="34" charset="0"/>
                <a:cs typeface="Arial" pitchFamily="34" charset="0"/>
              </a:rPr>
              <a:t>Identifikovanje imovine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b="1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Da bi se odredilo ko kontroliše imovinu prvobitno se ista mora identifikovati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Eksplicitno definisanje imovine (ugovorom) ili implicitno (neophodno njeno postojanje da bi se ugovor uopšete primenjivao)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Lizingom se smatra i deo imovine ukoliko je fizički odvojiv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Pri identifikovanju imovine i određivanju ko je kontroliše mora se razmatrati i pravo supstitucije imovine od strane </a:t>
            </a:r>
            <a:r>
              <a:rPr lang="sr-Latn-RS" b="1" dirty="0" smtClean="0">
                <a:latin typeface="Arial" pitchFamily="34" charset="0"/>
                <a:cs typeface="Arial" pitchFamily="34" charset="0"/>
              </a:rPr>
              <a:t>zakupodavca</a:t>
            </a:r>
            <a:endParaRPr lang="sr-Latn-RS" b="1" dirty="0">
              <a:latin typeface="Arial" pitchFamily="34" charset="0"/>
              <a:cs typeface="Arial" pitchFamily="34" charset="0"/>
            </a:endParaRP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6164" y="856073"/>
            <a:ext cx="8207375" cy="394521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279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164" y="1053334"/>
            <a:ext cx="8068236" cy="4881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sz="1600" b="1" i="1" dirty="0"/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latin typeface="Arial" pitchFamily="34" charset="0"/>
                <a:cs typeface="Arial" pitchFamily="34" charset="0"/>
              </a:rPr>
              <a:t>Identifikovanje imovine</a:t>
            </a: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endParaRPr lang="sr-Latn-RS" b="1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Zakupodavac ima pravo supstitucije ako: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b="1" dirty="0">
              <a:latin typeface="Arial" pitchFamily="34" charset="0"/>
              <a:cs typeface="Arial" pitchFamily="34" charset="0"/>
            </a:endParaRPr>
          </a:p>
          <a:p>
            <a:pPr marL="342900" lvl="0" indent="-342900" algn="just">
              <a:buFont typeface="+mj-lt"/>
              <a:buAutoNum type="arabicParenR"/>
            </a:pPr>
            <a:r>
              <a:rPr lang="de-DE" dirty="0" smtClean="0"/>
              <a:t>z</a:t>
            </a:r>
            <a:r>
              <a:rPr lang="en-US" dirty="0"/>
              <a:t>а</a:t>
            </a:r>
            <a:r>
              <a:rPr lang="de-DE" dirty="0"/>
              <a:t>kup</a:t>
            </a:r>
            <a:r>
              <a:rPr lang="en-US" dirty="0"/>
              <a:t>о</a:t>
            </a:r>
            <a:r>
              <a:rPr lang="de-DE" dirty="0"/>
              <a:t>d</a:t>
            </a:r>
            <a:r>
              <a:rPr lang="en-US" dirty="0"/>
              <a:t>а</a:t>
            </a:r>
            <a:r>
              <a:rPr lang="de-DE" dirty="0"/>
              <a:t>v</a:t>
            </a:r>
            <a:r>
              <a:rPr lang="en-US" dirty="0"/>
              <a:t>а</a:t>
            </a:r>
            <a:r>
              <a:rPr lang="de-DE" dirty="0"/>
              <a:t>c im</a:t>
            </a:r>
            <a:r>
              <a:rPr lang="en-US" dirty="0"/>
              <a:t>а </a:t>
            </a:r>
            <a:r>
              <a:rPr lang="de-DE" dirty="0"/>
              <a:t>sp</a:t>
            </a:r>
            <a:r>
              <a:rPr lang="en-US" dirty="0"/>
              <a:t>о</a:t>
            </a:r>
            <a:r>
              <a:rPr lang="de-DE" dirty="0"/>
              <a:t>s</a:t>
            </a:r>
            <a:r>
              <a:rPr lang="en-US" dirty="0"/>
              <a:t>о</a:t>
            </a:r>
            <a:r>
              <a:rPr lang="de-DE" dirty="0"/>
              <a:t>bn</a:t>
            </a:r>
            <a:r>
              <a:rPr lang="en-US" dirty="0"/>
              <a:t>о</a:t>
            </a:r>
            <a:r>
              <a:rPr lang="de-DE" dirty="0"/>
              <a:t>st d</a:t>
            </a:r>
            <a:r>
              <a:rPr lang="en-US" dirty="0"/>
              <a:t>а </a:t>
            </a:r>
            <a:r>
              <a:rPr lang="de-DE" dirty="0"/>
              <a:t>z</a:t>
            </a:r>
            <a:r>
              <a:rPr lang="en-US" dirty="0"/>
              <a:t>а</a:t>
            </a:r>
            <a:r>
              <a:rPr lang="de-DE" dirty="0"/>
              <a:t>m</a:t>
            </a:r>
            <a:r>
              <a:rPr lang="en-US" dirty="0"/>
              <a:t>е</a:t>
            </a:r>
            <a:r>
              <a:rPr lang="de-DE" dirty="0"/>
              <a:t>ni im</a:t>
            </a:r>
            <a:r>
              <a:rPr lang="en-US" dirty="0"/>
              <a:t>о</a:t>
            </a:r>
            <a:r>
              <a:rPr lang="de-DE" dirty="0"/>
              <a:t>vinu t</a:t>
            </a:r>
            <a:r>
              <a:rPr lang="en-US" dirty="0"/>
              <a:t>о</a:t>
            </a:r>
            <a:r>
              <a:rPr lang="de-DE" dirty="0"/>
              <a:t>k</a:t>
            </a:r>
            <a:r>
              <a:rPr lang="en-US" dirty="0"/>
              <a:t>о</a:t>
            </a:r>
            <a:r>
              <a:rPr lang="de-DE" dirty="0"/>
              <a:t>m tr</a:t>
            </a:r>
            <a:r>
              <a:rPr lang="en-US" dirty="0" err="1"/>
              <a:t>аја</a:t>
            </a:r>
            <a:r>
              <a:rPr lang="de-DE" dirty="0"/>
              <a:t>nj</a:t>
            </a:r>
            <a:r>
              <a:rPr lang="en-US" dirty="0"/>
              <a:t>а </a:t>
            </a:r>
            <a:r>
              <a:rPr lang="de-DE" dirty="0"/>
              <a:t>lizing</a:t>
            </a:r>
            <a:r>
              <a:rPr lang="en-US" dirty="0"/>
              <a:t>а</a:t>
            </a:r>
            <a:r>
              <a:rPr lang="de-DE" dirty="0"/>
              <a:t> (npr. z</a:t>
            </a:r>
            <a:r>
              <a:rPr lang="en-US" dirty="0"/>
              <a:t>а</a:t>
            </a:r>
            <a:r>
              <a:rPr lang="de-DE" dirty="0"/>
              <a:t>kup</a:t>
            </a:r>
            <a:r>
              <a:rPr lang="en-US" dirty="0"/>
              <a:t>а</a:t>
            </a:r>
            <a:r>
              <a:rPr lang="de-DE" dirty="0"/>
              <a:t>c n</a:t>
            </a:r>
            <a:r>
              <a:rPr lang="en-US" dirty="0"/>
              <a:t>е </a:t>
            </a:r>
            <a:r>
              <a:rPr lang="de-DE" dirty="0"/>
              <a:t>m</a:t>
            </a:r>
            <a:r>
              <a:rPr lang="en-US" dirty="0"/>
              <a:t>о</a:t>
            </a:r>
            <a:r>
              <a:rPr lang="de-DE" dirty="0"/>
              <a:t>ž</a:t>
            </a:r>
            <a:r>
              <a:rPr lang="en-US" dirty="0"/>
              <a:t>е </a:t>
            </a:r>
            <a:r>
              <a:rPr lang="de-DE" dirty="0"/>
              <a:t>d</a:t>
            </a:r>
            <a:r>
              <a:rPr lang="en-US" dirty="0"/>
              <a:t>а </a:t>
            </a:r>
            <a:r>
              <a:rPr lang="de-DE" dirty="0"/>
              <a:t>spr</a:t>
            </a:r>
            <a:r>
              <a:rPr lang="en-US" dirty="0"/>
              <a:t>е</a:t>
            </a:r>
            <a:r>
              <a:rPr lang="de-DE" dirty="0"/>
              <a:t>či z</a:t>
            </a:r>
            <a:r>
              <a:rPr lang="en-US" dirty="0"/>
              <a:t>а</a:t>
            </a:r>
            <a:r>
              <a:rPr lang="de-DE" dirty="0"/>
              <a:t>m</a:t>
            </a:r>
            <a:r>
              <a:rPr lang="en-US" dirty="0"/>
              <a:t>е</a:t>
            </a:r>
            <a:r>
              <a:rPr lang="de-DE" dirty="0"/>
              <a:t>nu im</a:t>
            </a:r>
            <a:r>
              <a:rPr lang="en-US" dirty="0"/>
              <a:t>о</a:t>
            </a:r>
            <a:r>
              <a:rPr lang="de-DE" dirty="0"/>
              <a:t>vin</a:t>
            </a:r>
            <a:r>
              <a:rPr lang="en-US" dirty="0"/>
              <a:t>е </a:t>
            </a:r>
            <a:r>
              <a:rPr lang="de-DE" dirty="0"/>
              <a:t>i z</a:t>
            </a:r>
            <a:r>
              <a:rPr lang="en-US" dirty="0"/>
              <a:t>а</a:t>
            </a:r>
            <a:r>
              <a:rPr lang="de-DE" dirty="0"/>
              <a:t>kup</a:t>
            </a:r>
            <a:r>
              <a:rPr lang="en-US" dirty="0"/>
              <a:t>о</a:t>
            </a:r>
            <a:r>
              <a:rPr lang="de-DE" dirty="0"/>
              <a:t>d</a:t>
            </a:r>
            <a:r>
              <a:rPr lang="en-US" dirty="0"/>
              <a:t>а</a:t>
            </a:r>
            <a:r>
              <a:rPr lang="de-DE" dirty="0"/>
              <a:t>vcu </a:t>
            </a:r>
            <a:r>
              <a:rPr lang="en-US" dirty="0" err="1"/>
              <a:t>је</a:t>
            </a:r>
            <a:r>
              <a:rPr lang="en-US" dirty="0"/>
              <a:t> а</a:t>
            </a:r>
            <a:r>
              <a:rPr lang="de-DE" dirty="0"/>
              <a:t>lt</a:t>
            </a:r>
            <a:r>
              <a:rPr lang="en-US" dirty="0"/>
              <a:t>е</a:t>
            </a:r>
            <a:r>
              <a:rPr lang="de-DE" dirty="0"/>
              <a:t>rn</a:t>
            </a:r>
            <a:r>
              <a:rPr lang="en-US" dirty="0"/>
              <a:t>а</a:t>
            </a:r>
            <a:r>
              <a:rPr lang="de-DE" dirty="0"/>
              <a:t>tivn</a:t>
            </a:r>
            <a:r>
              <a:rPr lang="en-US" dirty="0"/>
              <a:t>а </a:t>
            </a:r>
            <a:r>
              <a:rPr lang="de-DE" dirty="0"/>
              <a:t>im</a:t>
            </a:r>
            <a:r>
              <a:rPr lang="en-US" dirty="0"/>
              <a:t>о</a:t>
            </a:r>
            <a:r>
              <a:rPr lang="de-DE" dirty="0"/>
              <a:t>vin</a:t>
            </a:r>
            <a:r>
              <a:rPr lang="en-US" dirty="0"/>
              <a:t>а </a:t>
            </a:r>
            <a:r>
              <a:rPr lang="de-DE" dirty="0"/>
              <a:t>l</a:t>
            </a:r>
            <a:r>
              <a:rPr lang="en-US" dirty="0"/>
              <a:t>а</a:t>
            </a:r>
            <a:r>
              <a:rPr lang="de-DE" dirty="0"/>
              <a:t>k</a:t>
            </a:r>
            <a:r>
              <a:rPr lang="en-US" dirty="0"/>
              <a:t>о </a:t>
            </a:r>
            <a:r>
              <a:rPr lang="de-DE" dirty="0"/>
              <a:t>d</a:t>
            </a:r>
            <a:r>
              <a:rPr lang="en-US" dirty="0"/>
              <a:t>о</a:t>
            </a:r>
            <a:r>
              <a:rPr lang="de-DE" dirty="0"/>
              <a:t>stupn</a:t>
            </a:r>
            <a:r>
              <a:rPr lang="en-US" dirty="0"/>
              <a:t>а</a:t>
            </a:r>
            <a:r>
              <a:rPr lang="de-DE" dirty="0"/>
              <a:t>) </a:t>
            </a:r>
            <a:r>
              <a:rPr lang="de-DE" dirty="0" smtClean="0"/>
              <a:t>i</a:t>
            </a:r>
            <a:endParaRPr lang="sr-Latn-RS" dirty="0" smtClean="0"/>
          </a:p>
          <a:p>
            <a:pPr marL="342900" lvl="0" indent="-342900" algn="just">
              <a:buFont typeface="+mj-lt"/>
              <a:buAutoNum type="arabicParenR"/>
            </a:pPr>
            <a:endParaRPr lang="en-US" dirty="0"/>
          </a:p>
          <a:p>
            <a:pPr marL="342900" indent="-342900" algn="just">
              <a:buFont typeface="+mj-lt"/>
              <a:buAutoNum type="arabicParenR"/>
            </a:pPr>
            <a:r>
              <a:rPr lang="sr-Latn-RS" dirty="0"/>
              <a:t>b</a:t>
            </a:r>
            <a:r>
              <a:rPr lang="sr-Latn-RS" dirty="0" smtClean="0"/>
              <a:t>i </a:t>
            </a:r>
            <a:r>
              <a:rPr lang="de-DE" dirty="0" smtClean="0"/>
              <a:t>z</a:t>
            </a:r>
            <a:r>
              <a:rPr lang="en-US" dirty="0"/>
              <a:t>а</a:t>
            </a:r>
            <a:r>
              <a:rPr lang="de-DE" dirty="0"/>
              <a:t>kup</a:t>
            </a:r>
            <a:r>
              <a:rPr lang="en-US" dirty="0"/>
              <a:t>о</a:t>
            </a:r>
            <a:r>
              <a:rPr lang="de-DE" dirty="0"/>
              <a:t>d</a:t>
            </a:r>
            <a:r>
              <a:rPr lang="en-US" dirty="0"/>
              <a:t>а</a:t>
            </a:r>
            <a:r>
              <a:rPr lang="de-DE" dirty="0"/>
              <a:t>v</a:t>
            </a:r>
            <a:r>
              <a:rPr lang="en-US" dirty="0"/>
              <a:t>а</a:t>
            </a:r>
            <a:r>
              <a:rPr lang="de-DE" dirty="0" smtClean="0"/>
              <a:t>c</a:t>
            </a:r>
            <a:r>
              <a:rPr lang="sr-Latn-RS" dirty="0" smtClean="0"/>
              <a:t> </a:t>
            </a:r>
            <a:r>
              <a:rPr lang="de-DE" dirty="0" smtClean="0"/>
              <a:t>im</a:t>
            </a:r>
            <a:r>
              <a:rPr lang="en-US" dirty="0" err="1"/>
              <a:t>ао</a:t>
            </a:r>
            <a:r>
              <a:rPr lang="en-US" dirty="0"/>
              <a:t> е</a:t>
            </a:r>
            <a:r>
              <a:rPr lang="de-DE" dirty="0"/>
              <a:t>k</a:t>
            </a:r>
            <a:r>
              <a:rPr lang="en-US" dirty="0"/>
              <a:t>о</a:t>
            </a:r>
            <a:r>
              <a:rPr lang="de-DE" dirty="0"/>
              <a:t>n</a:t>
            </a:r>
            <a:r>
              <a:rPr lang="en-US" dirty="0"/>
              <a:t>о</a:t>
            </a:r>
            <a:r>
              <a:rPr lang="de-DE" dirty="0"/>
              <a:t>msk</a:t>
            </a:r>
            <a:r>
              <a:rPr lang="en-US" dirty="0"/>
              <a:t>е </a:t>
            </a:r>
            <a:r>
              <a:rPr lang="de-DE" dirty="0"/>
              <a:t>k</a:t>
            </a:r>
            <a:r>
              <a:rPr lang="en-US" dirty="0"/>
              <a:t>о</a:t>
            </a:r>
            <a:r>
              <a:rPr lang="de-DE" dirty="0"/>
              <a:t>risti </a:t>
            </a:r>
            <a:r>
              <a:rPr lang="en-US" dirty="0"/>
              <a:t>о</a:t>
            </a:r>
            <a:r>
              <a:rPr lang="de-DE" dirty="0"/>
              <a:t>d z</a:t>
            </a:r>
            <a:r>
              <a:rPr lang="en-US" dirty="0"/>
              <a:t>а</a:t>
            </a:r>
            <a:r>
              <a:rPr lang="de-DE" dirty="0"/>
              <a:t>m</a:t>
            </a:r>
            <a:r>
              <a:rPr lang="en-US" dirty="0"/>
              <a:t>е</a:t>
            </a:r>
            <a:r>
              <a:rPr lang="de-DE" dirty="0"/>
              <a:t>n</a:t>
            </a:r>
            <a:r>
              <a:rPr lang="en-US" dirty="0"/>
              <a:t>е </a:t>
            </a:r>
            <a:r>
              <a:rPr lang="de-DE" dirty="0"/>
              <a:t>im</a:t>
            </a:r>
            <a:r>
              <a:rPr lang="en-US" dirty="0"/>
              <a:t>о</a:t>
            </a:r>
            <a:r>
              <a:rPr lang="de-DE" dirty="0"/>
              <a:t>vin</a:t>
            </a:r>
            <a:r>
              <a:rPr lang="en-US" dirty="0"/>
              <a:t>е</a:t>
            </a:r>
            <a:r>
              <a:rPr lang="de-DE" dirty="0"/>
              <a:t> (t</a:t>
            </a:r>
            <a:r>
              <a:rPr lang="en-US" dirty="0"/>
              <a:t>ј</a:t>
            </a:r>
            <a:r>
              <a:rPr lang="de-DE" dirty="0"/>
              <a:t>. k</a:t>
            </a:r>
            <a:r>
              <a:rPr lang="en-US" dirty="0"/>
              <a:t>о</a:t>
            </a:r>
            <a:r>
              <a:rPr lang="de-DE" dirty="0"/>
              <a:t>risti </a:t>
            </a:r>
            <a:r>
              <a:rPr lang="en-US" dirty="0"/>
              <a:t>о</a:t>
            </a:r>
            <a:r>
              <a:rPr lang="de-DE" dirty="0"/>
              <a:t>d z</a:t>
            </a:r>
            <a:r>
              <a:rPr lang="en-US" dirty="0"/>
              <a:t>а</a:t>
            </a:r>
            <a:r>
              <a:rPr lang="de-DE" dirty="0"/>
              <a:t>m</a:t>
            </a:r>
            <a:r>
              <a:rPr lang="en-US" dirty="0"/>
              <a:t>е</a:t>
            </a:r>
            <a:r>
              <a:rPr lang="de-DE" dirty="0"/>
              <a:t>n</a:t>
            </a:r>
            <a:r>
              <a:rPr lang="en-US" dirty="0"/>
              <a:t>е </a:t>
            </a:r>
            <a:r>
              <a:rPr lang="de-DE" dirty="0"/>
              <a:t>bi bil</a:t>
            </a:r>
            <a:r>
              <a:rPr lang="en-US" dirty="0"/>
              <a:t>е </a:t>
            </a:r>
            <a:r>
              <a:rPr lang="de-DE" dirty="0"/>
              <a:t>viš</a:t>
            </a:r>
            <a:r>
              <a:rPr lang="en-US" dirty="0"/>
              <a:t>е о</a:t>
            </a:r>
            <a:r>
              <a:rPr lang="de-DE" dirty="0"/>
              <a:t>d tr</a:t>
            </a:r>
            <a:r>
              <a:rPr lang="en-US" dirty="0"/>
              <a:t>о</a:t>
            </a:r>
            <a:r>
              <a:rPr lang="de-DE" dirty="0"/>
              <a:t>šk</a:t>
            </a:r>
            <a:r>
              <a:rPr lang="en-US" dirty="0"/>
              <a:t>о</a:t>
            </a:r>
            <a:r>
              <a:rPr lang="de-DE" dirty="0"/>
              <a:t>v</a:t>
            </a:r>
            <a:r>
              <a:rPr lang="en-US" dirty="0"/>
              <a:t>а </a:t>
            </a:r>
            <a:r>
              <a:rPr lang="de-DE" dirty="0"/>
              <a:t>p</a:t>
            </a:r>
            <a:r>
              <a:rPr lang="en-US" dirty="0"/>
              <a:t>о</a:t>
            </a:r>
            <a:r>
              <a:rPr lang="de-DE" dirty="0"/>
              <a:t>v</a:t>
            </a:r>
            <a:r>
              <a:rPr lang="en-US" dirty="0"/>
              <a:t>е</a:t>
            </a:r>
            <a:r>
              <a:rPr lang="de-DE" dirty="0"/>
              <a:t>z</a:t>
            </a:r>
            <a:r>
              <a:rPr lang="en-US" dirty="0"/>
              <a:t>а</a:t>
            </a:r>
            <a:r>
              <a:rPr lang="de-DE" dirty="0"/>
              <a:t>nih s</a:t>
            </a:r>
            <a:r>
              <a:rPr lang="en-US" dirty="0"/>
              <a:t>а </a:t>
            </a:r>
            <a:r>
              <a:rPr lang="de-DE" dirty="0"/>
              <a:t>z</a:t>
            </a:r>
            <a:r>
              <a:rPr lang="en-US" dirty="0"/>
              <a:t>а</a:t>
            </a:r>
            <a:r>
              <a:rPr lang="de-DE" dirty="0"/>
              <a:t>m</a:t>
            </a:r>
            <a:r>
              <a:rPr lang="en-US" dirty="0"/>
              <a:t>е</a:t>
            </a:r>
            <a:r>
              <a:rPr lang="de-DE" dirty="0"/>
              <a:t>n</a:t>
            </a:r>
            <a:r>
              <a:rPr lang="en-US" dirty="0"/>
              <a:t>о</a:t>
            </a:r>
            <a:r>
              <a:rPr lang="de-DE" dirty="0"/>
              <a:t>m im</a:t>
            </a:r>
            <a:r>
              <a:rPr lang="en-US" dirty="0"/>
              <a:t>о</a:t>
            </a:r>
            <a:r>
              <a:rPr lang="de-DE" dirty="0"/>
              <a:t>vin</a:t>
            </a:r>
            <a:r>
              <a:rPr lang="en-US" dirty="0"/>
              <a:t>е</a:t>
            </a:r>
            <a:r>
              <a:rPr lang="de-DE" dirty="0" smtClean="0"/>
              <a:t>)</a:t>
            </a:r>
            <a:endParaRPr lang="sr-Latn-RS" dirty="0" smtClean="0"/>
          </a:p>
          <a:p>
            <a:pPr algn="just"/>
            <a:endParaRPr lang="sr-Latn-RS" dirty="0"/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Ukoliko su ispunjena oba uslova </a:t>
            </a:r>
            <a:r>
              <a:rPr lang="sr-Latn-RS" b="1" dirty="0" smtClean="0">
                <a:latin typeface="Arial" pitchFamily="34" charset="0"/>
                <a:cs typeface="Arial" pitchFamily="34" charset="0"/>
              </a:rPr>
              <a:t>lizing ne postoji (bitna je suština ne forma)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b="1" dirty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6164" y="856073"/>
            <a:ext cx="8207375" cy="394521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173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</a:t>
            </a:r>
            <a:r>
              <a:rPr lang="sr-Latn-RS" b="1" dirty="0">
                <a:solidFill>
                  <a:srgbClr val="CE0033"/>
                </a:solidFill>
              </a:rPr>
              <a:t/>
            </a:r>
            <a:br>
              <a:rPr lang="sr-Latn-RS" b="1" dirty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87638" y="2338180"/>
            <a:ext cx="1828197" cy="2031325"/>
          </a:xfrm>
          <a:prstGeom prst="rect">
            <a:avLst/>
          </a:prstGeom>
          <a:solidFill>
            <a:srgbClr val="515D6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sr-Latn-RS" dirty="0">
              <a:solidFill>
                <a:schemeClr val="bg1"/>
              </a:solidFill>
            </a:endParaRPr>
          </a:p>
          <a:p>
            <a:pPr algn="ctr"/>
            <a:r>
              <a:rPr lang="sr-Latn-RS" dirty="0" smtClean="0">
                <a:solidFill>
                  <a:schemeClr val="bg1"/>
                </a:solidFill>
              </a:rPr>
              <a:t>Neopozivi period trajanja zakupa</a:t>
            </a:r>
          </a:p>
          <a:p>
            <a:pPr algn="ctr"/>
            <a:endParaRPr lang="sr-Latn-RS" dirty="0">
              <a:solidFill>
                <a:schemeClr val="bg1"/>
              </a:solidFill>
            </a:endParaRPr>
          </a:p>
          <a:p>
            <a:pPr algn="ctr"/>
            <a:endParaRPr lang="sr-Latn-RS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88790" y="2342021"/>
            <a:ext cx="2424504" cy="2031325"/>
          </a:xfrm>
          <a:prstGeom prst="rect">
            <a:avLst/>
          </a:prstGeom>
          <a:solidFill>
            <a:srgbClr val="515D6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sr-Latn-RS" dirty="0" smtClean="0">
                <a:solidFill>
                  <a:schemeClr val="bg1"/>
                </a:solidFill>
              </a:rPr>
              <a:t>P</a:t>
            </a:r>
            <a:r>
              <a:rPr lang="en-US" dirty="0" err="1" smtClean="0">
                <a:solidFill>
                  <a:schemeClr val="bg1"/>
                </a:solidFill>
              </a:rPr>
              <a:t>eriod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obuhvaće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opcijom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oduženj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sr-Latn-RS" dirty="0" smtClean="0">
                <a:solidFill>
                  <a:schemeClr val="bg1"/>
                </a:solidFill>
              </a:rPr>
              <a:t>zakupa </a:t>
            </a:r>
            <a:r>
              <a:rPr lang="en-US" dirty="0" err="1" smtClean="0">
                <a:solidFill>
                  <a:schemeClr val="bg1"/>
                </a:solidFill>
              </a:rPr>
              <a:t>ukoliko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ostoj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ealn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verovatnoć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da </a:t>
            </a:r>
            <a:r>
              <a:rPr lang="en-US" dirty="0" err="1">
                <a:solidFill>
                  <a:schemeClr val="bg1"/>
                </a:solidFill>
              </a:rPr>
              <a:t>ć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sr-Latn-RS" dirty="0" smtClean="0">
                <a:solidFill>
                  <a:schemeClr val="bg1"/>
                </a:solidFill>
              </a:rPr>
              <a:t>zakupac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skoristit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opciju</a:t>
            </a:r>
            <a:endParaRPr lang="sr-Latn-RS" dirty="0" smtClean="0">
              <a:solidFill>
                <a:schemeClr val="bg1"/>
              </a:solidFill>
            </a:endParaRP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85394" y="3120751"/>
            <a:ext cx="83834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sz="4500" dirty="0" smtClean="0">
                <a:latin typeface="Arial" pitchFamily="34" charset="0"/>
                <a:cs typeface="Arial" pitchFamily="34" charset="0"/>
              </a:rPr>
              <a:t>+</a:t>
            </a:r>
            <a:endParaRPr lang="sr-Latn-RS" sz="4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632002" y="3090962"/>
            <a:ext cx="83834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sz="4500" dirty="0"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235395" y="2347143"/>
            <a:ext cx="2424504" cy="2031325"/>
          </a:xfrm>
          <a:prstGeom prst="rect">
            <a:avLst/>
          </a:prstGeom>
          <a:solidFill>
            <a:srgbClr val="515D6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Period</a:t>
            </a:r>
            <a:endParaRPr lang="sr-Latn-RS" dirty="0" smtClean="0">
              <a:solidFill>
                <a:schemeClr val="bg1"/>
              </a:solidFill>
            </a:endParaRPr>
          </a:p>
          <a:p>
            <a:pPr algn="ctr"/>
            <a:r>
              <a:rPr lang="en-US" dirty="0" err="1" smtClean="0">
                <a:solidFill>
                  <a:schemeClr val="bg1"/>
                </a:solidFill>
              </a:rPr>
              <a:t>obuhvaće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opcijom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askidanj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sr-Latn-RS" dirty="0" smtClean="0">
                <a:solidFill>
                  <a:schemeClr val="bg1"/>
                </a:solidFill>
              </a:rPr>
              <a:t>zakup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ukoliko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ostoj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ealn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 smtClean="0">
                <a:solidFill>
                  <a:schemeClr val="bg1"/>
                </a:solidFill>
              </a:rPr>
              <a:t>verovatnoća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da </a:t>
            </a:r>
            <a:r>
              <a:rPr lang="sr-Latn-RS" dirty="0" smtClean="0">
                <a:solidFill>
                  <a:schemeClr val="bg1"/>
                </a:solidFill>
              </a:rPr>
              <a:t>zakupac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ć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skoristit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pciju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3" name="Rectangle 2"/>
          <p:cNvSpPr/>
          <p:nvPr/>
        </p:nvSpPr>
        <p:spPr>
          <a:xfrm>
            <a:off x="519551" y="4567032"/>
            <a:ext cx="80413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/>
              <a:t>Neopozivi period</a:t>
            </a:r>
            <a:r>
              <a:rPr lang="en-US" dirty="0" smtClean="0"/>
              <a:t> </a:t>
            </a:r>
            <a:r>
              <a:rPr lang="en-US" dirty="0"/>
              <a:t>je period u </a:t>
            </a:r>
            <a:r>
              <a:rPr lang="en-US" dirty="0" err="1"/>
              <a:t>kome</a:t>
            </a:r>
            <a:r>
              <a:rPr lang="en-US" dirty="0"/>
              <a:t> </a:t>
            </a:r>
            <a:r>
              <a:rPr lang="en-US" dirty="0" err="1"/>
              <a:t>stavke</a:t>
            </a:r>
            <a:r>
              <a:rPr lang="en-US" dirty="0"/>
              <a:t> </a:t>
            </a:r>
            <a:r>
              <a:rPr lang="en-US" dirty="0" err="1"/>
              <a:t>ugovora</a:t>
            </a:r>
            <a:r>
              <a:rPr lang="en-US" dirty="0"/>
              <a:t> </a:t>
            </a:r>
            <a:r>
              <a:rPr lang="en-US" dirty="0" err="1"/>
              <a:t>va</a:t>
            </a:r>
            <a:r>
              <a:rPr lang="sr-Latn-RS" dirty="0"/>
              <a:t>že sve dok obe strane (zakupac i zakupodavac) ne steknu pravo da ga raskinu</a:t>
            </a:r>
            <a:r>
              <a:rPr lang="sr-Latn-RS" dirty="0" smtClean="0"/>
              <a:t>.</a:t>
            </a:r>
            <a:endParaRPr lang="en-US" altLang="en-US" dirty="0"/>
          </a:p>
        </p:txBody>
      </p:sp>
      <p:sp>
        <p:nvSpPr>
          <p:cNvPr id="12" name="Rectangle 11"/>
          <p:cNvSpPr/>
          <p:nvPr/>
        </p:nvSpPr>
        <p:spPr>
          <a:xfrm>
            <a:off x="587637" y="1512075"/>
            <a:ext cx="8072261" cy="641127"/>
          </a:xfrm>
          <a:prstGeom prst="rect">
            <a:avLst/>
          </a:prstGeom>
          <a:solidFill>
            <a:srgbClr val="CC0033"/>
          </a:solidFill>
          <a:ln w="19050">
            <a:solidFill>
              <a:srgbClr val="515D69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solidFill>
                  <a:schemeClr val="bg1"/>
                </a:solidFill>
              </a:rPr>
              <a:t>PERIOD ZAKUPA</a:t>
            </a:r>
            <a:endParaRPr lang="sr-Latn-R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262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9" grpId="0" animBg="1"/>
      <p:bldP spid="11" grpId="0" animBg="1"/>
      <p:bldP spid="13" grpId="0"/>
      <p:bldP spid="14" grpId="0"/>
      <p:bldP spid="15" grpId="0" animBg="1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7429B-10E1-44F2-AD8D-119E3E232338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7762512" y="6620475"/>
            <a:ext cx="62677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sr-Latn-RS" dirty="0" smtClean="0">
                <a:solidFill>
                  <a:prstClr val="black"/>
                </a:solidFill>
              </a:rPr>
              <a:t>www.wts.com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468313" y="658813"/>
            <a:ext cx="8207375" cy="614362"/>
          </a:xfrm>
        </p:spPr>
        <p:txBody>
          <a:bodyPr/>
          <a:lstStyle/>
          <a:p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/>
            </a:r>
            <a:br>
              <a:rPr lang="sr-Latn-RS" b="1" dirty="0" smtClean="0">
                <a:solidFill>
                  <a:srgbClr val="CE0033"/>
                </a:solidFill>
              </a:rPr>
            </a:br>
            <a:r>
              <a:rPr lang="sr-Latn-RS" b="1" dirty="0" smtClean="0">
                <a:solidFill>
                  <a:srgbClr val="CE0033"/>
                </a:solidFill>
              </a:rPr>
              <a:t>IFRS 16 - LIZING </a:t>
            </a:r>
            <a:br>
              <a:rPr lang="sr-Latn-RS" b="1" dirty="0" smtClean="0">
                <a:solidFill>
                  <a:srgbClr val="CE0033"/>
                </a:solidFill>
              </a:rPr>
            </a:b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93058" y="1193332"/>
            <a:ext cx="8086165" cy="5244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>
                <a:latin typeface="Arial" pitchFamily="34" charset="0"/>
                <a:cs typeface="Arial" pitchFamily="34" charset="0"/>
              </a:rPr>
              <a:t>Kod procene perioda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subjekt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uzima</a:t>
            </a:r>
            <a:r>
              <a:rPr lang="en-US" dirty="0">
                <a:latin typeface="Arial" pitchFamily="34" charset="0"/>
                <a:cs typeface="Arial" pitchFamily="34" charset="0"/>
              </a:rPr>
              <a:t> u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bzir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sv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merodavn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činjenice</a:t>
            </a:r>
            <a:r>
              <a:rPr lang="en-US" dirty="0">
                <a:latin typeface="Arial" pitchFamily="34" charset="0"/>
                <a:cs typeface="Arial" pitchFamily="34" charset="0"/>
              </a:rPr>
              <a:t> i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kolnost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koje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stvaraju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ekonomsk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odsticaj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z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sr-Latn-RS" dirty="0">
                <a:latin typeface="Arial" pitchFamily="34" charset="0"/>
                <a:cs typeface="Arial" pitchFamily="34" charset="0"/>
              </a:rPr>
              <a:t>zakupca</a:t>
            </a:r>
            <a:r>
              <a:rPr lang="en-US" dirty="0">
                <a:latin typeface="Arial" pitchFamily="34" charset="0"/>
                <a:cs typeface="Arial" pitchFamily="34" charset="0"/>
              </a:rPr>
              <a:t> da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iskorist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pciju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produženj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sr-Latn-RS" dirty="0">
                <a:latin typeface="Arial" pitchFamily="34" charset="0"/>
                <a:cs typeface="Arial" pitchFamily="34" charset="0"/>
              </a:rPr>
              <a:t>zakupa</a:t>
            </a:r>
            <a:r>
              <a:rPr lang="en-US" dirty="0">
                <a:latin typeface="Arial" pitchFamily="34" charset="0"/>
                <a:cs typeface="Arial" pitchFamily="34" charset="0"/>
              </a:rPr>
              <a:t>,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dnosno</a:t>
            </a:r>
            <a:r>
              <a:rPr lang="en-US" dirty="0">
                <a:latin typeface="Arial" pitchFamily="34" charset="0"/>
                <a:cs typeface="Arial" pitchFamily="34" charset="0"/>
              </a:rPr>
              <a:t> ne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iskoristi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opciju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>
                <a:latin typeface="Arial" pitchFamily="34" charset="0"/>
                <a:cs typeface="Arial" pitchFamily="34" charset="0"/>
              </a:rPr>
              <a:t>raskidanja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sr-Latn-RS" dirty="0">
                <a:latin typeface="Arial" pitchFamily="34" charset="0"/>
                <a:cs typeface="Arial" pitchFamily="34" charset="0"/>
              </a:rPr>
              <a:t>zakupa</a:t>
            </a:r>
            <a:r>
              <a:rPr lang="sr-Latn-RS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b="1" dirty="0">
              <a:latin typeface="Arial" pitchFamily="34" charset="0"/>
              <a:cs typeface="Arial" pitchFamily="34" charset="0"/>
            </a:endParaRPr>
          </a:p>
          <a:p>
            <a:pPr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sr-Latn-RS" b="1" dirty="0" smtClean="0">
                <a:latin typeface="Arial" pitchFamily="34" charset="0"/>
                <a:cs typeface="Arial" pitchFamily="34" charset="0"/>
              </a:rPr>
              <a:t>ČINJENICE ZA RAZMATRANJE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u="sng" dirty="0" smtClean="0">
                <a:latin typeface="Arial" pitchFamily="34" charset="0"/>
                <a:cs typeface="Arial" pitchFamily="34" charset="0"/>
              </a:rPr>
              <a:t>Stepen u</a:t>
            </a:r>
            <a:r>
              <a:rPr lang="vi-VN" u="sng" dirty="0" smtClean="0">
                <a:latin typeface="Arial" pitchFamily="34" charset="0"/>
                <a:cs typeface="Arial" pitchFamily="34" charset="0"/>
              </a:rPr>
              <a:t>laganja </a:t>
            </a:r>
            <a:r>
              <a:rPr lang="vi-VN" dirty="0">
                <a:latin typeface="Arial" pitchFamily="34" charset="0"/>
                <a:cs typeface="Arial" pitchFamily="34" charset="0"/>
              </a:rPr>
              <a:t>u zakupljene predmete sa ekonomskom koristi za zakupca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vi-VN" dirty="0">
                <a:latin typeface="Arial" pitchFamily="34" charset="0"/>
                <a:cs typeface="Arial" pitchFamily="34" charset="0"/>
              </a:rPr>
              <a:t>Troškovi koji se odnose </a:t>
            </a:r>
            <a:r>
              <a:rPr lang="vi-VN" dirty="0" smtClean="0">
                <a:latin typeface="Arial" pitchFamily="34" charset="0"/>
                <a:cs typeface="Arial" pitchFamily="34" charset="0"/>
              </a:rPr>
              <a:t>na</a:t>
            </a:r>
            <a:r>
              <a:rPr lang="sr-Latn-RS" dirty="0" smtClean="0">
                <a:latin typeface="Arial" pitchFamily="34" charset="0"/>
                <a:cs typeface="Arial" pitchFamily="34" charset="0"/>
              </a:rPr>
              <a:t> eventualno</a:t>
            </a:r>
            <a:r>
              <a:rPr lang="vi-VN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vi-VN" u="sng" dirty="0" smtClean="0">
                <a:latin typeface="Arial" pitchFamily="34" charset="0"/>
                <a:cs typeface="Arial" pitchFamily="34" charset="0"/>
              </a:rPr>
              <a:t>raskidanje</a:t>
            </a:r>
            <a:r>
              <a:rPr lang="sr-Latn-RS" u="sng" dirty="0" smtClean="0">
                <a:latin typeface="Arial" pitchFamily="34" charset="0"/>
                <a:cs typeface="Arial" pitchFamily="34" charset="0"/>
              </a:rPr>
              <a:t> ugovora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u="sng" dirty="0" smtClean="0">
                <a:latin typeface="Arial" pitchFamily="34" charset="0"/>
                <a:cs typeface="Arial" pitchFamily="34" charset="0"/>
              </a:rPr>
              <a:t>Očekivana tržišna kretanja u vezi sa cenom zakupa</a:t>
            </a:r>
            <a:endParaRPr lang="vi-VN" u="sng" dirty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Relevantnost</a:t>
            </a:r>
            <a:r>
              <a:rPr lang="vi-VN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vi-VN" dirty="0">
                <a:latin typeface="Arial" pitchFamily="34" charset="0"/>
                <a:cs typeface="Arial" pitchFamily="34" charset="0"/>
              </a:rPr>
              <a:t>predmetnog sredstva za </a:t>
            </a:r>
            <a:r>
              <a:rPr lang="vi-VN" u="sng" dirty="0">
                <a:latin typeface="Arial" pitchFamily="34" charset="0"/>
                <a:cs typeface="Arial" pitchFamily="34" charset="0"/>
              </a:rPr>
              <a:t>poslovanje</a:t>
            </a:r>
            <a:r>
              <a:rPr lang="vi-VN" dirty="0">
                <a:latin typeface="Arial" pitchFamily="34" charset="0"/>
                <a:cs typeface="Arial" pitchFamily="34" charset="0"/>
              </a:rPr>
              <a:t> zakupca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Da li bi </a:t>
            </a:r>
            <a:r>
              <a:rPr lang="en-US" u="sng" dirty="0" err="1" smtClean="0">
                <a:latin typeface="Arial" pitchFamily="34" charset="0"/>
                <a:cs typeface="Arial" pitchFamily="34" charset="0"/>
              </a:rPr>
              <a:t>promen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predmet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zakup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utical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na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poslovanje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zakupca</a:t>
            </a: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sr-Latn-RS" dirty="0" smtClean="0">
                <a:latin typeface="Arial" pitchFamily="34" charset="0"/>
                <a:cs typeface="Arial" pitchFamily="34" charset="0"/>
              </a:rPr>
              <a:t>Opcija kupovine na kraju isteka perioda zakupa po povoljnijoj ceni od tržišne</a:t>
            </a:r>
            <a:endParaRPr lang="vi-VN" dirty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r>
              <a:rPr lang="vi-VN" dirty="0">
                <a:latin typeface="Arial" pitchFamily="34" charset="0"/>
                <a:cs typeface="Arial" pitchFamily="34" charset="0"/>
              </a:rPr>
              <a:t>Istorijska praksa</a:t>
            </a: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sr-Latn-RS" dirty="0" smtClean="0">
              <a:latin typeface="Arial" pitchFamily="34" charset="0"/>
              <a:cs typeface="Arial" pitchFamily="34" charset="0"/>
            </a:endParaRPr>
          </a:p>
          <a:p>
            <a:pPr marL="182563" indent="-182563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95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ARTICULATE_SLIDE_COUNT" val="32"/>
  <p:tag name="ARTICULATE_PROJECT_OPEN" val="0"/>
  <p:tag name="MEKKOFORMATS" val="&lt;?xml version=&quot;1.0&quot; encoding=&quot;utf-8&quot;?&gt;&lt;MekkoFormats&gt;&lt;NumberFormat DecimalSeparator=&quot;.&quot; ThousandSeparator=&quot;,&quot; NegativeNumberFormat=&quot;1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ts">
  <a:themeElements>
    <a:clrScheme name="WT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CC0033"/>
      </a:accent1>
      <a:accent2>
        <a:srgbClr val="515D69"/>
      </a:accent2>
      <a:accent3>
        <a:srgbClr val="F6A400"/>
      </a:accent3>
      <a:accent4>
        <a:srgbClr val="728006"/>
      </a:accent4>
      <a:accent5>
        <a:srgbClr val="00698E"/>
      </a:accent5>
      <a:accent6>
        <a:srgbClr val="932E24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22</TotalTime>
  <Words>5463</Words>
  <Application>Microsoft Office PowerPoint</Application>
  <PresentationFormat>On-screen Show (4:3)</PresentationFormat>
  <Paragraphs>457</Paragraphs>
  <Slides>28</Slides>
  <Notes>2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wts</vt:lpstr>
      <vt:lpstr>think-cell Folie</vt:lpstr>
      <vt:lpstr>WTS Porezi i Finansije     IFRS 16  Decembar 2019. godine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</vt:lpstr>
      <vt:lpstr>  IFRS 16 - LIZING  </vt:lpstr>
      <vt:lpstr>  IFRS 16 - LIZING  </vt:lpstr>
      <vt:lpstr>  IFRS 16 - LIZING  </vt:lpstr>
      <vt:lpstr>PowerPoint Presentation</vt:lpstr>
      <vt:lpstr>  IFRS 16 - LIZING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NN</dc:creator>
  <cp:lastModifiedBy>Windows User</cp:lastModifiedBy>
  <cp:revision>1360</cp:revision>
  <cp:lastPrinted>2016-03-21T08:03:30Z</cp:lastPrinted>
  <dcterms:created xsi:type="dcterms:W3CDTF">2012-06-02T12:26:36Z</dcterms:created>
  <dcterms:modified xsi:type="dcterms:W3CDTF">2020-02-17T06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E32193B-752F-4732-9C96-1EA0144D34D8</vt:lpwstr>
  </property>
  <property fmtid="{D5CDD505-2E9C-101B-9397-08002B2CF9AE}" pid="3" name="ArticulatePath">
    <vt:lpwstr>20150520_WTS_Unternehmenspraesentation_englisch</vt:lpwstr>
  </property>
</Properties>
</file>